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3.xml" ContentType="application/vnd.openxmlformats-officedocument.theme+xml"/>
  <Override PartName="/ppt/tags/tag12.xml" ContentType="application/vnd.openxmlformats-officedocument.presentationml.tags+xml"/>
  <Override PartName="/ppt/tags/tag13.xml" ContentType="application/vnd.openxmlformats-officedocument.presentationml.tags+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4.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5.xml" ContentType="application/vnd.openxmlformats-officedocument.theme+xml"/>
  <Override PartName="/ppt/tags/tag16.xml" ContentType="application/vnd.openxmlformats-officedocument.presentationml.tags+xml"/>
  <Override PartName="/ppt/tags/tag17.xml" ContentType="application/vnd.openxmlformats-officedocument.presentationml.tags+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6.xml" ContentType="application/vnd.openxmlformats-officedocument.them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7.xml" ContentType="application/vnd.openxmlformats-officedocument.them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8.xml" ContentType="application/vnd.openxmlformats-officedocument.theme+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9.xml" ContentType="application/vnd.openxmlformats-officedocument.theme+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slideLayouts/slideLayout61.xml" ContentType="application/vnd.openxmlformats-officedocument.presentationml.slideLayout+xml"/>
  <Override PartName="/ppt/theme/theme10.xml" ContentType="application/vnd.openxmlformats-officedocument.theme+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theme/theme11.xml" ContentType="application/vnd.openxmlformats-officedocument.theme+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theme/theme12.xml" ContentType="application/vnd.openxmlformats-officedocument.theme+xml"/>
  <Override PartName="/ppt/tags/tag46.xml" ContentType="application/vnd.openxmlformats-officedocument.presentationml.tags+xml"/>
  <Override PartName="/ppt/tags/tag47.xml" ContentType="application/vnd.openxmlformats-officedocument.presentationml.tags+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theme/theme13.xml" ContentType="application/vnd.openxmlformats-officedocument.theme+xml"/>
  <Override PartName="/ppt/tags/tag48.xml" ContentType="application/vnd.openxmlformats-officedocument.presentationml.tags+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theme/theme14.xml" ContentType="application/vnd.openxmlformats-officedocument.theme+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theme/theme15.xml" ContentType="application/vnd.openxmlformats-officedocument.theme+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theme/theme16.xml" ContentType="application/vnd.openxmlformats-officedocument.theme+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heme/theme17.xml" ContentType="application/vnd.openxmlformats-officedocument.theme+xml"/>
  <Override PartName="/ppt/theme/theme18.xml" ContentType="application/vnd.openxmlformats-officedocument.theme+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notesSlides/notesSlide1.xml" ContentType="application/vnd.openxmlformats-officedocument.presentationml.notesSlide+xml"/>
  <Override PartName="/ppt/tags/tag70.xml" ContentType="application/vnd.openxmlformats-officedocument.presentationml.tags+xml"/>
  <Override PartName="/ppt/tags/tag71.xml" ContentType="application/vnd.openxmlformats-officedocument.presentationml.tags+xml"/>
  <Override PartName="/ppt/notesSlides/notesSlide2.xml" ContentType="application/vnd.openxmlformats-officedocument.presentationml.notesSlide+xml"/>
  <Override PartName="/ppt/tags/tag72.xml" ContentType="application/vnd.openxmlformats-officedocument.presentationml.tags+xml"/>
  <Override PartName="/ppt/tags/tag73.xml" ContentType="application/vnd.openxmlformats-officedocument.presentationml.tags+xml"/>
  <Override PartName="/ppt/notesSlides/notesSlide3.xml" ContentType="application/vnd.openxmlformats-officedocument.presentationml.notesSlide+xml"/>
  <Override PartName="/ppt/tags/tag74.xml" ContentType="application/vnd.openxmlformats-officedocument.presentationml.tags+xml"/>
  <Override PartName="/ppt/tags/tag75.xml" ContentType="application/vnd.openxmlformats-officedocument.presentationml.tags+xml"/>
  <Override PartName="/ppt/notesSlides/notesSlide4.xml" ContentType="application/vnd.openxmlformats-officedocument.presentationml.notesSlide+xml"/>
  <Override PartName="/ppt/tags/tag76.xml" ContentType="application/vnd.openxmlformats-officedocument.presentationml.tags+xml"/>
  <Override PartName="/ppt/tags/tag77.xml" ContentType="application/vnd.openxmlformats-officedocument.presentationml.tags+xml"/>
  <Override PartName="/ppt/notesSlides/notesSlide5.xml" ContentType="application/vnd.openxmlformats-officedocument.presentationml.notesSlide+xml"/>
  <Override PartName="/ppt/tags/tag78.xml" ContentType="application/vnd.openxmlformats-officedocument.presentationml.tags+xml"/>
  <Override PartName="/ppt/tags/tag79.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80.xml" ContentType="application/vnd.openxmlformats-officedocument.presentationml.tags+xml"/>
  <Override PartName="/ppt/tags/tag81.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82.xml" ContentType="application/vnd.openxmlformats-officedocument.presentationml.tags+xml"/>
  <Override PartName="/ppt/tags/tag83.xml" ContentType="application/vnd.openxmlformats-officedocument.presentationml.tags+xml"/>
  <Override PartName="/ppt/notesSlides/notesSlide15.xml" ContentType="application/vnd.openxmlformats-officedocument.presentationml.notesSlide+xml"/>
  <Override PartName="/ppt/tags/tag84.xml" ContentType="application/vnd.openxmlformats-officedocument.presentationml.tags+xml"/>
  <Override PartName="/ppt/tags/tag85.xml" ContentType="application/vnd.openxmlformats-officedocument.presentationml.tags+xml"/>
  <Override PartName="/ppt/notesSlides/notesSlide16.xml" ContentType="application/vnd.openxmlformats-officedocument.presentationml.notesSlide+xml"/>
  <Override PartName="/ppt/tags/tag86.xml" ContentType="application/vnd.openxmlformats-officedocument.presentationml.tags+xml"/>
  <Override PartName="/ppt/tags/tag87.xml" ContentType="application/vnd.openxmlformats-officedocument.presentationml.tags+xml"/>
  <Override PartName="/ppt/notesSlides/notesSlide17.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p:sldMasterIdLst>
    <p:sldMasterId id="2147484098" r:id="rId4"/>
    <p:sldMasterId id="2147484117" r:id="rId5"/>
    <p:sldMasterId id="2147484126" r:id="rId6"/>
    <p:sldMasterId id="2147484143" r:id="rId7"/>
    <p:sldMasterId id="2147484159" r:id="rId8"/>
    <p:sldMasterId id="2147484204" r:id="rId9"/>
    <p:sldMasterId id="2147484210" r:id="rId10"/>
    <p:sldMasterId id="2147484216" r:id="rId11"/>
    <p:sldMasterId id="2147484222" r:id="rId12"/>
    <p:sldMasterId id="2147484228" r:id="rId13"/>
    <p:sldMasterId id="2147484230" r:id="rId14"/>
    <p:sldMasterId id="2147484246" r:id="rId15"/>
    <p:sldMasterId id="2147484249" r:id="rId16"/>
    <p:sldMasterId id="2147484256" r:id="rId17"/>
    <p:sldMasterId id="2147484264" r:id="rId18"/>
    <p:sldMasterId id="2147484272" r:id="rId19"/>
  </p:sldMasterIdLst>
  <p:notesMasterIdLst>
    <p:notesMasterId r:id="rId49"/>
  </p:notesMasterIdLst>
  <p:handoutMasterIdLst>
    <p:handoutMasterId r:id="rId50"/>
  </p:handoutMasterIdLst>
  <p:sldIdLst>
    <p:sldId id="5388" r:id="rId20"/>
    <p:sldId id="141169109" r:id="rId21"/>
    <p:sldId id="141168880" r:id="rId22"/>
    <p:sldId id="141168881" r:id="rId23"/>
    <p:sldId id="141168929" r:id="rId24"/>
    <p:sldId id="141168922" r:id="rId25"/>
    <p:sldId id="141168973" r:id="rId26"/>
    <p:sldId id="141168939" r:id="rId27"/>
    <p:sldId id="141168943" r:id="rId28"/>
    <p:sldId id="141169102" r:id="rId29"/>
    <p:sldId id="141168996" r:id="rId30"/>
    <p:sldId id="141168995" r:id="rId31"/>
    <p:sldId id="141168935" r:id="rId32"/>
    <p:sldId id="141169106" r:id="rId33"/>
    <p:sldId id="141169097" r:id="rId34"/>
    <p:sldId id="141168932" r:id="rId35"/>
    <p:sldId id="141169105" r:id="rId36"/>
    <p:sldId id="5803" r:id="rId37"/>
    <p:sldId id="141169107" r:id="rId38"/>
    <p:sldId id="141169098" r:id="rId39"/>
    <p:sldId id="141169099" r:id="rId40"/>
    <p:sldId id="141169086" r:id="rId41"/>
    <p:sldId id="141168931" r:id="rId42"/>
    <p:sldId id="141169103" r:id="rId43"/>
    <p:sldId id="141169104" r:id="rId44"/>
    <p:sldId id="141168945" r:id="rId45"/>
    <p:sldId id="141168946" r:id="rId46"/>
    <p:sldId id="141168987" r:id="rId47"/>
    <p:sldId id="941" r:id="rId48"/>
  </p:sldIdLst>
  <p:sldSz cx="13442950" cy="7561263"/>
  <p:notesSz cx="9928225" cy="6797675"/>
  <p:custDataLst>
    <p:tags r:id="rId51"/>
  </p:custDataLst>
  <p:defaultTextStyle>
    <a:defPPr>
      <a:defRPr lang="en-US"/>
    </a:defPPr>
    <a:lvl1pPr algn="l" rtl="0" fontAlgn="base">
      <a:spcBef>
        <a:spcPct val="0"/>
      </a:spcBef>
      <a:spcAft>
        <a:spcPct val="50000"/>
      </a:spcAft>
      <a:buClr>
        <a:schemeClr val="accent2"/>
      </a:buClr>
      <a:buSzPct val="80000"/>
      <a:buFont typeface="Arial" charset="0"/>
      <a:defRPr sz="900" kern="1200">
        <a:solidFill>
          <a:schemeClr val="tx1"/>
        </a:solidFill>
        <a:latin typeface="EYInterstate Light" pitchFamily="2" charset="0"/>
        <a:ea typeface="+mn-ea"/>
        <a:cs typeface="+mn-cs"/>
      </a:defRPr>
    </a:lvl1pPr>
    <a:lvl2pPr marL="456800" algn="l" rtl="0" fontAlgn="base">
      <a:spcBef>
        <a:spcPct val="0"/>
      </a:spcBef>
      <a:spcAft>
        <a:spcPct val="50000"/>
      </a:spcAft>
      <a:buClr>
        <a:schemeClr val="accent2"/>
      </a:buClr>
      <a:buSzPct val="80000"/>
      <a:buFont typeface="Arial" charset="0"/>
      <a:defRPr sz="900" kern="1200">
        <a:solidFill>
          <a:schemeClr val="tx1"/>
        </a:solidFill>
        <a:latin typeface="EYInterstate Light" pitchFamily="2" charset="0"/>
        <a:ea typeface="+mn-ea"/>
        <a:cs typeface="+mn-cs"/>
      </a:defRPr>
    </a:lvl2pPr>
    <a:lvl3pPr marL="913599" algn="l" rtl="0" fontAlgn="base">
      <a:spcBef>
        <a:spcPct val="0"/>
      </a:spcBef>
      <a:spcAft>
        <a:spcPct val="50000"/>
      </a:spcAft>
      <a:buClr>
        <a:schemeClr val="accent2"/>
      </a:buClr>
      <a:buSzPct val="80000"/>
      <a:buFont typeface="Arial" charset="0"/>
      <a:defRPr sz="900" kern="1200">
        <a:solidFill>
          <a:schemeClr val="tx1"/>
        </a:solidFill>
        <a:latin typeface="EYInterstate Light" pitchFamily="2" charset="0"/>
        <a:ea typeface="+mn-ea"/>
        <a:cs typeface="+mn-cs"/>
      </a:defRPr>
    </a:lvl3pPr>
    <a:lvl4pPr marL="1370401" algn="l" rtl="0" fontAlgn="base">
      <a:spcBef>
        <a:spcPct val="0"/>
      </a:spcBef>
      <a:spcAft>
        <a:spcPct val="50000"/>
      </a:spcAft>
      <a:buClr>
        <a:schemeClr val="accent2"/>
      </a:buClr>
      <a:buSzPct val="80000"/>
      <a:buFont typeface="Arial" charset="0"/>
      <a:defRPr sz="900" kern="1200">
        <a:solidFill>
          <a:schemeClr val="tx1"/>
        </a:solidFill>
        <a:latin typeface="EYInterstate Light" pitchFamily="2" charset="0"/>
        <a:ea typeface="+mn-ea"/>
        <a:cs typeface="+mn-cs"/>
      </a:defRPr>
    </a:lvl4pPr>
    <a:lvl5pPr marL="1827205" algn="l" rtl="0" fontAlgn="base">
      <a:spcBef>
        <a:spcPct val="0"/>
      </a:spcBef>
      <a:spcAft>
        <a:spcPct val="50000"/>
      </a:spcAft>
      <a:buClr>
        <a:schemeClr val="accent2"/>
      </a:buClr>
      <a:buSzPct val="80000"/>
      <a:buFont typeface="Arial" charset="0"/>
      <a:defRPr sz="900" kern="1200">
        <a:solidFill>
          <a:schemeClr val="tx1"/>
        </a:solidFill>
        <a:latin typeface="EYInterstate Light" pitchFamily="2" charset="0"/>
        <a:ea typeface="+mn-ea"/>
        <a:cs typeface="+mn-cs"/>
      </a:defRPr>
    </a:lvl5pPr>
    <a:lvl6pPr marL="2284001" algn="l" defTabSz="913599" rtl="0" eaLnBrk="1" latinLnBrk="0" hangingPunct="1">
      <a:defRPr sz="900" kern="1200">
        <a:solidFill>
          <a:schemeClr val="tx1"/>
        </a:solidFill>
        <a:latin typeface="EYInterstate Light" pitchFamily="2" charset="0"/>
        <a:ea typeface="+mn-ea"/>
        <a:cs typeface="+mn-cs"/>
      </a:defRPr>
    </a:lvl6pPr>
    <a:lvl7pPr marL="2740801" algn="l" defTabSz="913599" rtl="0" eaLnBrk="1" latinLnBrk="0" hangingPunct="1">
      <a:defRPr sz="900" kern="1200">
        <a:solidFill>
          <a:schemeClr val="tx1"/>
        </a:solidFill>
        <a:latin typeface="EYInterstate Light" pitchFamily="2" charset="0"/>
        <a:ea typeface="+mn-ea"/>
        <a:cs typeface="+mn-cs"/>
      </a:defRPr>
    </a:lvl7pPr>
    <a:lvl8pPr marL="3197601" algn="l" defTabSz="913599" rtl="0" eaLnBrk="1" latinLnBrk="0" hangingPunct="1">
      <a:defRPr sz="900" kern="1200">
        <a:solidFill>
          <a:schemeClr val="tx1"/>
        </a:solidFill>
        <a:latin typeface="EYInterstate Light" pitchFamily="2" charset="0"/>
        <a:ea typeface="+mn-ea"/>
        <a:cs typeface="+mn-cs"/>
      </a:defRPr>
    </a:lvl8pPr>
    <a:lvl9pPr marL="3654397" algn="l" defTabSz="913599" rtl="0" eaLnBrk="1" latinLnBrk="0" hangingPunct="1">
      <a:defRPr sz="900" kern="1200">
        <a:solidFill>
          <a:schemeClr val="tx1"/>
        </a:solidFill>
        <a:latin typeface="EYInterstate Light" pitchFamily="2" charset="0"/>
        <a:ea typeface="+mn-ea"/>
        <a:cs typeface="+mn-cs"/>
      </a:defRPr>
    </a:lvl9pPr>
  </p:defaultTextStyle>
  <p:extLst>
    <p:ext uri="{521415D9-36F7-43E2-AB2F-B90AF26B5E84}">
      <p14:sectionLst xmlns:p14="http://schemas.microsoft.com/office/powerpoint/2010/main">
        <p14:section name="Default Section" id="{8D751B0F-B3F3-4A0D-94EB-12848934EA26}">
          <p14:sldIdLst>
            <p14:sldId id="5388"/>
            <p14:sldId id="141169109"/>
            <p14:sldId id="141168880"/>
            <p14:sldId id="141168881"/>
            <p14:sldId id="141168929"/>
            <p14:sldId id="141168922"/>
            <p14:sldId id="141168973"/>
            <p14:sldId id="141168939"/>
            <p14:sldId id="141168943"/>
            <p14:sldId id="141169102"/>
            <p14:sldId id="141168996"/>
            <p14:sldId id="141168995"/>
            <p14:sldId id="141168935"/>
            <p14:sldId id="141169106"/>
            <p14:sldId id="141169097"/>
            <p14:sldId id="141168932"/>
            <p14:sldId id="141169105"/>
            <p14:sldId id="5803"/>
            <p14:sldId id="141169107"/>
            <p14:sldId id="141169098"/>
            <p14:sldId id="141169099"/>
            <p14:sldId id="141169086"/>
            <p14:sldId id="141168931"/>
            <p14:sldId id="141169103"/>
            <p14:sldId id="141169104"/>
            <p14:sldId id="141168945"/>
            <p14:sldId id="141168946"/>
            <p14:sldId id="141168987"/>
            <p14:sldId id="941"/>
          </p14:sldIdLst>
        </p14:section>
      </p14:sectionLst>
    </p:ext>
    <p:ext uri="{EFAFB233-063F-42B5-8137-9DF3F51BA10A}">
      <p15:sldGuideLst xmlns:p15="http://schemas.microsoft.com/office/powerpoint/2012/main">
        <p15:guide id="1" orient="horz" pos="4763" userDrawn="1">
          <p15:clr>
            <a:srgbClr val="A4A3A4"/>
          </p15:clr>
        </p15:guide>
        <p15:guide id="5" orient="horz" pos="4758" userDrawn="1">
          <p15:clr>
            <a:srgbClr val="A4A3A4"/>
          </p15:clr>
        </p15:guide>
        <p15:guide id="16" pos="8098" userDrawn="1">
          <p15:clr>
            <a:srgbClr val="A4A3A4"/>
          </p15:clr>
        </p15:guide>
        <p15:guide id="17" pos="586" userDrawn="1">
          <p15:clr>
            <a:srgbClr val="A4A3A4"/>
          </p15:clr>
        </p15:guide>
        <p15:guide id="19" orient="horz" pos="4542" userDrawn="1">
          <p15:clr>
            <a:srgbClr val="A4A3A4"/>
          </p15:clr>
        </p15:guide>
        <p15:guide id="20" pos="1138" userDrawn="1">
          <p15:clr>
            <a:srgbClr val="A4A3A4"/>
          </p15:clr>
        </p15:guide>
      </p15:sldGuideLst>
    </p:ext>
    <p:ext uri="{2D200454-40CA-4A62-9FC3-DE9A4176ACB9}">
      <p15:notesGuideLst xmlns:p15="http://schemas.microsoft.com/office/powerpoint/2012/main">
        <p15:guide id="1" orient="horz" pos="2142" userDrawn="1">
          <p15:clr>
            <a:srgbClr val="A4A3A4"/>
          </p15:clr>
        </p15:guide>
        <p15:guide id="2" pos="3128"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Efkemann, Thomas" initials="TE" lastIdx="10" clrIdx="0"/>
  <p:cmAuthor id="1" name="Louise Andrews" initials="LA" lastIdx="1" clrIdx="1"/>
  <p:cmAuthor id="2" name="Antonia Gerhards" initials="AG" lastIdx="2" clrIdx="2"/>
  <p:cmAuthor id="3" name="Prashant Garg" initials="PG" lastIdx="7" clrIdx="3">
    <p:extLst>
      <p:ext uri="{19B8F6BF-5375-455C-9EA6-DF929625EA0E}">
        <p15:presenceInfo xmlns:p15="http://schemas.microsoft.com/office/powerpoint/2012/main" userId="S-1-5-21-1644491937-1275210071-1417001333-411071" providerId="AD"/>
      </p:ext>
    </p:extLst>
  </p:cmAuthor>
  <p:cmAuthor id="4" name="Nitin Datta" initials="ND" lastIdx="1" clrIdx="4">
    <p:extLst>
      <p:ext uri="{19B8F6BF-5375-455C-9EA6-DF929625EA0E}">
        <p15:presenceInfo xmlns:p15="http://schemas.microsoft.com/office/powerpoint/2012/main" userId="S-1-5-21-3190493677-272540594-4000629471-502209" providerId="AD"/>
      </p:ext>
    </p:extLst>
  </p:cmAuthor>
  <p:cmAuthor id="5" name="Yier Cao" initials="YC" lastIdx="5" clrIdx="5">
    <p:extLst>
      <p:ext uri="{19B8F6BF-5375-455C-9EA6-DF929625EA0E}">
        <p15:presenceInfo xmlns:p15="http://schemas.microsoft.com/office/powerpoint/2012/main" userId="S-1-5-21-3190493677-272540594-4000629471-486043" providerId="AD"/>
      </p:ext>
    </p:extLst>
  </p:cmAuthor>
  <p:cmAuthor id="6" name="Rebecca Carvatt" initials="RC" lastIdx="1" clrIdx="6">
    <p:extLst>
      <p:ext uri="{19B8F6BF-5375-455C-9EA6-DF929625EA0E}">
        <p15:presenceInfo xmlns:p15="http://schemas.microsoft.com/office/powerpoint/2012/main" userId="S-1-5-21-3190493677-272540594-4000629471-437433" providerId="AD"/>
      </p:ext>
    </p:extLst>
  </p:cmAuthor>
  <p:cmAuthor id="7" name="Anshuman Singh" initials="AS" lastIdx="1" clrIdx="7">
    <p:extLst>
      <p:ext uri="{19B8F6BF-5375-455C-9EA6-DF929625EA0E}">
        <p15:presenceInfo xmlns:p15="http://schemas.microsoft.com/office/powerpoint/2012/main" userId="46d663627963ac5b" providerId="Windows Live"/>
      </p:ext>
    </p:extLst>
  </p:cmAuthor>
  <p:cmAuthor id="8" name="Anshuman Singh" initials="AS [2]" lastIdx="2" clrIdx="8">
    <p:extLst>
      <p:ext uri="{19B8F6BF-5375-455C-9EA6-DF929625EA0E}">
        <p15:presenceInfo xmlns:p15="http://schemas.microsoft.com/office/powerpoint/2012/main" userId="S::anshuman.singh@sg.ey.com::3c3e55b4-186b-4e38-98d2-007b500f9c9f" providerId="AD"/>
      </p:ext>
    </p:extLst>
  </p:cmAuthor>
  <p:cmAuthor id="9" name="Mahendra Soni" initials="MS" lastIdx="4" clrIdx="9">
    <p:extLst>
      <p:ext uri="{19B8F6BF-5375-455C-9EA6-DF929625EA0E}">
        <p15:presenceInfo xmlns:p15="http://schemas.microsoft.com/office/powerpoint/2012/main" userId="S::Mahendra.Soni@sg.ey.com::787f4c1d-f254-4a8a-862e-571ce88aefc9" providerId="AD"/>
      </p:ext>
    </p:extLst>
  </p:cmAuthor>
  <p:cmAuthor id="10" name="Sourav Bose" initials="SB" lastIdx="4" clrIdx="10">
    <p:extLst>
      <p:ext uri="{19B8F6BF-5375-455C-9EA6-DF929625EA0E}">
        <p15:presenceInfo xmlns:p15="http://schemas.microsoft.com/office/powerpoint/2012/main" userId="S::Sourav.Bose@sg.ey.com::a3480f76-fe68-4c03-a922-c4aa16f9bb6b" providerId="AD"/>
      </p:ext>
    </p:extLst>
  </p:cmAuthor>
  <p:cmAuthor id="11" name="Cheryl HX Lim" initials="CHL" lastIdx="1" clrIdx="11">
    <p:extLst>
      <p:ext uri="{19B8F6BF-5375-455C-9EA6-DF929625EA0E}">
        <p15:presenceInfo xmlns:p15="http://schemas.microsoft.com/office/powerpoint/2012/main" userId="S::Cheryl.HX.Lim@sg.ey.com::dff9b062-e18d-4883-980e-9350670ea325" providerId="AD"/>
      </p:ext>
    </p:extLst>
  </p:cmAuthor>
  <p:cmAuthor id="12" name="Nitin Datta" initials="ND [2]" lastIdx="1" clrIdx="12">
    <p:extLst>
      <p:ext uri="{19B8F6BF-5375-455C-9EA6-DF929625EA0E}">
        <p15:presenceInfo xmlns:p15="http://schemas.microsoft.com/office/powerpoint/2012/main" userId="S::Nitin-N.Datta@sg.ey.com::df114949-ac63-4e6b-87ec-fa97f21644bb"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C973E"/>
    <a:srgbClr val="91278F"/>
    <a:srgbClr val="00A3AE"/>
    <a:srgbClr val="F9B2AD"/>
    <a:srgbClr val="F2CEF1"/>
    <a:srgbClr val="FFF3B9"/>
    <a:srgbClr val="C7EFCE"/>
    <a:srgbClr val="9FF8FF"/>
    <a:srgbClr val="65F4FF"/>
    <a:srgbClr val="F5DBF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 v="1932" dt="2020-07-02T13:20:32.591"/>
    <p1510:client id="{744CA9B1-E079-4F11-AC4D-72A90103880C}" v="2669" dt="2020-07-03T07:03:57.491"/>
    <p1510:client id="{DBB6B645-C36E-4B21-9704-373E2A71DC5E}" v="2634" dt="2020-07-03T08:31:44.92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2838BEF-8BB2-4498-84A7-C5851F593DF1}" styleName="Medium Style 4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25400" cmpd="sng">
              <a:solidFill>
                <a:schemeClr val="accent5"/>
              </a:solidFill>
            </a:ln>
          </a:top>
        </a:tcBdr>
        <a:fill>
          <a:solidFill>
            <a:schemeClr val="accent5">
              <a:tint val="20000"/>
            </a:schemeClr>
          </a:solidFill>
        </a:fill>
      </a:tcStyle>
    </a:lastRow>
    <a:firstRow>
      <a:tcTxStyle b="on"/>
      <a:tcStyle>
        <a:tcBdr/>
        <a:fill>
          <a:solidFill>
            <a:schemeClr val="accent5">
              <a:tint val="20000"/>
            </a:schemeClr>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ED083AE6-46FA-4A59-8FB0-9F97EB10719F}" styleName="Light Style 3 - Accent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 styleId="{C4B1156A-380E-4F78-BDF5-A606A8083BF9}" styleName="Medium Style 4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 styleId="{8A107856-5554-42FB-B03E-39F5DBC370BA}" styleName="Medium Style 4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0505E3EF-67EA-436B-97B2-0124C06EBD24}" styleName="Medium Style 4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98" d="100"/>
          <a:sy n="98" d="100"/>
        </p:scale>
        <p:origin x="648" y="90"/>
      </p:cViewPr>
      <p:guideLst>
        <p:guide orient="horz" pos="4763"/>
        <p:guide orient="horz" pos="4758"/>
        <p:guide pos="8098"/>
        <p:guide pos="586"/>
        <p:guide orient="horz" pos="4542"/>
        <p:guide pos="1138"/>
      </p:guideLst>
    </p:cSldViewPr>
  </p:slideViewPr>
  <p:notesTextViewPr>
    <p:cViewPr>
      <p:scale>
        <a:sx n="1" d="1"/>
        <a:sy n="1" d="1"/>
      </p:scale>
      <p:origin x="0" y="0"/>
    </p:cViewPr>
  </p:notesTextViewPr>
  <p:notesViewPr>
    <p:cSldViewPr snapToGrid="0">
      <p:cViewPr varScale="1">
        <p:scale>
          <a:sx n="66" d="100"/>
          <a:sy n="66" d="100"/>
        </p:scale>
        <p:origin x="0" y="0"/>
      </p:cViewPr>
      <p:guideLst>
        <p:guide orient="horz" pos="2142"/>
        <p:guide pos="3128"/>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Master" Target="slideMasters/slideMaster15.xml"/><Relationship Id="rId26" Type="http://schemas.openxmlformats.org/officeDocument/2006/relationships/slide" Target="slides/slide7.xml"/><Relationship Id="rId39" Type="http://schemas.openxmlformats.org/officeDocument/2006/relationships/slide" Target="slides/slide20.xml"/><Relationship Id="rId21" Type="http://schemas.openxmlformats.org/officeDocument/2006/relationships/slide" Target="slides/slide2.xml"/><Relationship Id="rId34" Type="http://schemas.openxmlformats.org/officeDocument/2006/relationships/slide" Target="slides/slide15.xml"/><Relationship Id="rId42" Type="http://schemas.openxmlformats.org/officeDocument/2006/relationships/slide" Target="slides/slide23.xml"/><Relationship Id="rId47" Type="http://schemas.openxmlformats.org/officeDocument/2006/relationships/slide" Target="slides/slide28.xml"/><Relationship Id="rId50" Type="http://schemas.openxmlformats.org/officeDocument/2006/relationships/handoutMaster" Target="handoutMasters/handoutMaster1.xml"/><Relationship Id="rId55" Type="http://schemas.openxmlformats.org/officeDocument/2006/relationships/theme" Target="theme/theme1.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 Target="slides/slide6.xml"/><Relationship Id="rId33" Type="http://schemas.openxmlformats.org/officeDocument/2006/relationships/slide" Target="slides/slide14.xml"/><Relationship Id="rId38" Type="http://schemas.openxmlformats.org/officeDocument/2006/relationships/slide" Target="slides/slide19.xml"/><Relationship Id="rId46" Type="http://schemas.openxmlformats.org/officeDocument/2006/relationships/slide" Target="slides/slide27.xml"/><Relationship Id="rId2" Type="http://schemas.openxmlformats.org/officeDocument/2006/relationships/customXml" Target="../customXml/item2.xml"/><Relationship Id="rId16" Type="http://schemas.openxmlformats.org/officeDocument/2006/relationships/slideMaster" Target="slideMasters/slideMaster13.xml"/><Relationship Id="rId20" Type="http://schemas.openxmlformats.org/officeDocument/2006/relationships/slide" Target="slides/slide1.xml"/><Relationship Id="rId29" Type="http://schemas.openxmlformats.org/officeDocument/2006/relationships/slide" Target="slides/slide10.xml"/><Relationship Id="rId41" Type="http://schemas.openxmlformats.org/officeDocument/2006/relationships/slide" Target="slides/slide22.xml"/><Relationship Id="rId54"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5.xml"/><Relationship Id="rId32" Type="http://schemas.openxmlformats.org/officeDocument/2006/relationships/slide" Target="slides/slide13.xml"/><Relationship Id="rId37" Type="http://schemas.openxmlformats.org/officeDocument/2006/relationships/slide" Target="slides/slide18.xml"/><Relationship Id="rId40" Type="http://schemas.openxmlformats.org/officeDocument/2006/relationships/slide" Target="slides/slide21.xml"/><Relationship Id="rId45" Type="http://schemas.openxmlformats.org/officeDocument/2006/relationships/slide" Target="slides/slide26.xml"/><Relationship Id="rId53" Type="http://schemas.openxmlformats.org/officeDocument/2006/relationships/presProps" Target="presProps.xml"/><Relationship Id="rId58" Type="http://schemas.microsoft.com/office/2015/10/relationships/revisionInfo" Target="revisionInfo.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 Target="slides/slide4.xml"/><Relationship Id="rId28" Type="http://schemas.openxmlformats.org/officeDocument/2006/relationships/slide" Target="slides/slide9.xml"/><Relationship Id="rId36" Type="http://schemas.openxmlformats.org/officeDocument/2006/relationships/slide" Target="slides/slide17.xml"/><Relationship Id="rId49" Type="http://schemas.openxmlformats.org/officeDocument/2006/relationships/notesMaster" Target="notesMasters/notesMaster1.xml"/><Relationship Id="rId57" Type="http://schemas.microsoft.com/office/2016/11/relationships/changesInfo" Target="changesInfos/changesInfo1.xml"/><Relationship Id="rId10" Type="http://schemas.openxmlformats.org/officeDocument/2006/relationships/slideMaster" Target="slideMasters/slideMaster7.xml"/><Relationship Id="rId19" Type="http://schemas.openxmlformats.org/officeDocument/2006/relationships/slideMaster" Target="slideMasters/slideMaster16.xml"/><Relationship Id="rId31" Type="http://schemas.openxmlformats.org/officeDocument/2006/relationships/slide" Target="slides/slide12.xml"/><Relationship Id="rId44" Type="http://schemas.openxmlformats.org/officeDocument/2006/relationships/slide" Target="slides/slide25.xml"/><Relationship Id="rId52"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3.xml"/><Relationship Id="rId27" Type="http://schemas.openxmlformats.org/officeDocument/2006/relationships/slide" Target="slides/slide8.xml"/><Relationship Id="rId30" Type="http://schemas.openxmlformats.org/officeDocument/2006/relationships/slide" Target="slides/slide11.xml"/><Relationship Id="rId35" Type="http://schemas.openxmlformats.org/officeDocument/2006/relationships/slide" Target="slides/slide16.xml"/><Relationship Id="rId43" Type="http://schemas.openxmlformats.org/officeDocument/2006/relationships/slide" Target="slides/slide24.xml"/><Relationship Id="rId48" Type="http://schemas.openxmlformats.org/officeDocument/2006/relationships/slide" Target="slides/slide29.xml"/><Relationship Id="rId56" Type="http://schemas.openxmlformats.org/officeDocument/2006/relationships/tableStyles" Target="tableStyles.xml"/><Relationship Id="rId8" Type="http://schemas.openxmlformats.org/officeDocument/2006/relationships/slideMaster" Target="slideMasters/slideMaster5.xml"/><Relationship Id="rId51" Type="http://schemas.openxmlformats.org/officeDocument/2006/relationships/tags" Target="tags/tag1.xml"/><Relationship Id="rId3" Type="http://schemas.openxmlformats.org/officeDocument/2006/relationships/customXml" Target="../customXml/item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Nitin Datta" userId="df114949-ac63-4e6b-87ec-fa97f21644bb" providerId="ADAL" clId="{744CA9B1-E079-4F11-AC4D-72A90103880C}"/>
    <pc:docChg chg="undo custSel modSld">
      <pc:chgData name="Nitin Datta" userId="df114949-ac63-4e6b-87ec-fa97f21644bb" providerId="ADAL" clId="{744CA9B1-E079-4F11-AC4D-72A90103880C}" dt="2020-07-03T07:03:57.491" v="2668" actId="20577"/>
      <pc:docMkLst>
        <pc:docMk/>
      </pc:docMkLst>
      <pc:sldChg chg="modSp">
        <pc:chgData name="Nitin Datta" userId="df114949-ac63-4e6b-87ec-fa97f21644bb" providerId="ADAL" clId="{744CA9B1-E079-4F11-AC4D-72A90103880C}" dt="2020-07-03T07:03:57.491" v="2668" actId="20577"/>
        <pc:sldMkLst>
          <pc:docMk/>
          <pc:sldMk cId="4192450393" sldId="5803"/>
        </pc:sldMkLst>
        <pc:spChg chg="mod">
          <ac:chgData name="Nitin Datta" userId="df114949-ac63-4e6b-87ec-fa97f21644bb" providerId="ADAL" clId="{744CA9B1-E079-4F11-AC4D-72A90103880C}" dt="2020-07-03T06:55:51.598" v="2147" actId="20577"/>
          <ac:spMkLst>
            <pc:docMk/>
            <pc:sldMk cId="4192450393" sldId="5803"/>
            <ac:spMk id="3" creationId="{2628184F-BB51-4520-9982-EA93EF50D704}"/>
          </ac:spMkLst>
        </pc:spChg>
        <pc:graphicFrameChg chg="mod modGraphic">
          <ac:chgData name="Nitin Datta" userId="df114949-ac63-4e6b-87ec-fa97f21644bb" providerId="ADAL" clId="{744CA9B1-E079-4F11-AC4D-72A90103880C}" dt="2020-07-03T07:03:57.491" v="2668" actId="20577"/>
          <ac:graphicFrameMkLst>
            <pc:docMk/>
            <pc:sldMk cId="4192450393" sldId="5803"/>
            <ac:graphicFrameMk id="8" creationId="{7A5A2827-2BFA-429B-B529-AC1ADBCD2C0A}"/>
          </ac:graphicFrameMkLst>
        </pc:graphicFrameChg>
      </pc:sldChg>
      <pc:sldChg chg="modSp">
        <pc:chgData name="Nitin Datta" userId="df114949-ac63-4e6b-87ec-fa97f21644bb" providerId="ADAL" clId="{744CA9B1-E079-4F11-AC4D-72A90103880C}" dt="2020-07-03T06:59:47.065" v="2387" actId="108"/>
        <pc:sldMkLst>
          <pc:docMk/>
          <pc:sldMk cId="1928068840" sldId="141168946"/>
        </pc:sldMkLst>
        <pc:spChg chg="mod">
          <ac:chgData name="Nitin Datta" userId="df114949-ac63-4e6b-87ec-fa97f21644bb" providerId="ADAL" clId="{744CA9B1-E079-4F11-AC4D-72A90103880C}" dt="2020-07-03T06:59:47.065" v="2387" actId="108"/>
          <ac:spMkLst>
            <pc:docMk/>
            <pc:sldMk cId="1928068840" sldId="141168946"/>
            <ac:spMk id="10" creationId="{3446F92E-87AC-494B-ACE8-F197DC3BC996}"/>
          </ac:spMkLst>
        </pc:spChg>
        <pc:graphicFrameChg chg="mod">
          <ac:chgData name="Nitin Datta" userId="df114949-ac63-4e6b-87ec-fa97f21644bb" providerId="ADAL" clId="{744CA9B1-E079-4F11-AC4D-72A90103880C}" dt="2020-07-03T06:59:13.807" v="2383" actId="1076"/>
          <ac:graphicFrameMkLst>
            <pc:docMk/>
            <pc:sldMk cId="1928068840" sldId="141168946"/>
            <ac:graphicFrameMk id="8" creationId="{74D3977E-1465-4850-81DA-36BB90B16619}"/>
          </ac:graphicFrameMkLst>
        </pc:graphicFrameChg>
      </pc:sldChg>
      <pc:sldChg chg="addSp delSp modSp addCm delCm modCm">
        <pc:chgData name="Nitin Datta" userId="df114949-ac63-4e6b-87ec-fa97f21644bb" providerId="ADAL" clId="{744CA9B1-E079-4F11-AC4D-72A90103880C}" dt="2020-07-03T06:55:41.360" v="2143" actId="20577"/>
        <pc:sldMkLst>
          <pc:docMk/>
          <pc:sldMk cId="3295557858" sldId="141169086"/>
        </pc:sldMkLst>
        <pc:spChg chg="del">
          <ac:chgData name="Nitin Datta" userId="df114949-ac63-4e6b-87ec-fa97f21644bb" providerId="ADAL" clId="{744CA9B1-E079-4F11-AC4D-72A90103880C}" dt="2020-07-03T06:53:24.269" v="1997" actId="478"/>
          <ac:spMkLst>
            <pc:docMk/>
            <pc:sldMk cId="3295557858" sldId="141169086"/>
            <ac:spMk id="3" creationId="{2628184F-BB51-4520-9982-EA93EF50D704}"/>
          </ac:spMkLst>
        </pc:spChg>
        <pc:spChg chg="add del mod">
          <ac:chgData name="Nitin Datta" userId="df114949-ac63-4e6b-87ec-fa97f21644bb" providerId="ADAL" clId="{744CA9B1-E079-4F11-AC4D-72A90103880C}" dt="2020-07-03T06:53:27.118" v="1998" actId="478"/>
          <ac:spMkLst>
            <pc:docMk/>
            <pc:sldMk cId="3295557858" sldId="141169086"/>
            <ac:spMk id="4" creationId="{5302D427-2437-458B-9450-697A1172CB7B}"/>
          </ac:spMkLst>
        </pc:spChg>
        <pc:spChg chg="add mod">
          <ac:chgData name="Nitin Datta" userId="df114949-ac63-4e6b-87ec-fa97f21644bb" providerId="ADAL" clId="{744CA9B1-E079-4F11-AC4D-72A90103880C}" dt="2020-07-03T06:54:17.443" v="2037" actId="20577"/>
          <ac:spMkLst>
            <pc:docMk/>
            <pc:sldMk cId="3295557858" sldId="141169086"/>
            <ac:spMk id="7" creationId="{A6C0D2F8-FAF5-4E3E-BD35-6603411D7475}"/>
          </ac:spMkLst>
        </pc:spChg>
        <pc:graphicFrameChg chg="modGraphic">
          <ac:chgData name="Nitin Datta" userId="df114949-ac63-4e6b-87ec-fa97f21644bb" providerId="ADAL" clId="{744CA9B1-E079-4F11-AC4D-72A90103880C}" dt="2020-07-03T06:55:41.360" v="2143" actId="20577"/>
          <ac:graphicFrameMkLst>
            <pc:docMk/>
            <pc:sldMk cId="3295557858" sldId="141169086"/>
            <ac:graphicFrameMk id="13" creationId="{98685DB1-E591-438C-BDCF-40A589314A97}"/>
          </ac:graphicFrameMkLst>
        </pc:graphicFrameChg>
      </pc:sldChg>
      <pc:sldChg chg="modSp addCm modCm">
        <pc:chgData name="Nitin Datta" userId="df114949-ac63-4e6b-87ec-fa97f21644bb" providerId="ADAL" clId="{744CA9B1-E079-4F11-AC4D-72A90103880C}" dt="2020-07-03T06:32:19.308" v="1251"/>
        <pc:sldMkLst>
          <pc:docMk/>
          <pc:sldMk cId="3463240372" sldId="141169097"/>
        </pc:sldMkLst>
        <pc:graphicFrameChg chg="mod modGraphic">
          <ac:chgData name="Nitin Datta" userId="df114949-ac63-4e6b-87ec-fa97f21644bb" providerId="ADAL" clId="{744CA9B1-E079-4F11-AC4D-72A90103880C}" dt="2020-07-03T06:32:01.845" v="1249" actId="20577"/>
          <ac:graphicFrameMkLst>
            <pc:docMk/>
            <pc:sldMk cId="3463240372" sldId="141169097"/>
            <ac:graphicFrameMk id="175" creationId="{A79314E3-AB79-40C2-B9F3-68EB746E7E2C}"/>
          </ac:graphicFrameMkLst>
        </pc:graphicFrameChg>
      </pc:sldChg>
      <pc:sldChg chg="modSp">
        <pc:chgData name="Nitin Datta" userId="df114949-ac63-4e6b-87ec-fa97f21644bb" providerId="ADAL" clId="{744CA9B1-E079-4F11-AC4D-72A90103880C}" dt="2020-07-03T06:53:55.284" v="2017" actId="20577"/>
        <pc:sldMkLst>
          <pc:docMk/>
          <pc:sldMk cId="2525650123" sldId="141169098"/>
        </pc:sldMkLst>
        <pc:spChg chg="mod">
          <ac:chgData name="Nitin Datta" userId="df114949-ac63-4e6b-87ec-fa97f21644bb" providerId="ADAL" clId="{744CA9B1-E079-4F11-AC4D-72A90103880C}" dt="2020-07-03T06:53:55.284" v="2017" actId="20577"/>
          <ac:spMkLst>
            <pc:docMk/>
            <pc:sldMk cId="2525650123" sldId="141169098"/>
            <ac:spMk id="3" creationId="{2628184F-BB51-4520-9982-EA93EF50D704}"/>
          </ac:spMkLst>
        </pc:spChg>
      </pc:sldChg>
      <pc:sldChg chg="addSp delSp modSp">
        <pc:chgData name="Nitin Datta" userId="df114949-ac63-4e6b-87ec-fa97f21644bb" providerId="ADAL" clId="{744CA9B1-E079-4F11-AC4D-72A90103880C}" dt="2020-07-03T06:54:07.618" v="2027" actId="20577"/>
        <pc:sldMkLst>
          <pc:docMk/>
          <pc:sldMk cId="1002216683" sldId="141169099"/>
        </pc:sldMkLst>
        <pc:spChg chg="del">
          <ac:chgData name="Nitin Datta" userId="df114949-ac63-4e6b-87ec-fa97f21644bb" providerId="ADAL" clId="{744CA9B1-E079-4F11-AC4D-72A90103880C}" dt="2020-07-03T06:52:48.986" v="1990" actId="478"/>
          <ac:spMkLst>
            <pc:docMk/>
            <pc:sldMk cId="1002216683" sldId="141169099"/>
            <ac:spMk id="3" creationId="{2628184F-BB51-4520-9982-EA93EF50D704}"/>
          </ac:spMkLst>
        </pc:spChg>
        <pc:spChg chg="add del mod">
          <ac:chgData name="Nitin Datta" userId="df114949-ac63-4e6b-87ec-fa97f21644bb" providerId="ADAL" clId="{744CA9B1-E079-4F11-AC4D-72A90103880C}" dt="2020-07-03T06:52:51.811" v="1991" actId="478"/>
          <ac:spMkLst>
            <pc:docMk/>
            <pc:sldMk cId="1002216683" sldId="141169099"/>
            <ac:spMk id="4" creationId="{7B8D8FCD-D676-4B2E-BED3-33655842F8E5}"/>
          </ac:spMkLst>
        </pc:spChg>
        <pc:spChg chg="add mod">
          <ac:chgData name="Nitin Datta" userId="df114949-ac63-4e6b-87ec-fa97f21644bb" providerId="ADAL" clId="{744CA9B1-E079-4F11-AC4D-72A90103880C}" dt="2020-07-03T06:54:07.618" v="2027" actId="20577"/>
          <ac:spMkLst>
            <pc:docMk/>
            <pc:sldMk cId="1002216683" sldId="141169099"/>
            <ac:spMk id="10" creationId="{A043BDBD-B625-4B29-909C-D90F351E595B}"/>
          </ac:spMkLst>
        </pc:spChg>
        <pc:graphicFrameChg chg="modGraphic">
          <ac:chgData name="Nitin Datta" userId="df114949-ac63-4e6b-87ec-fa97f21644bb" providerId="ADAL" clId="{744CA9B1-E079-4F11-AC4D-72A90103880C}" dt="2020-07-03T06:53:41.224" v="2003" actId="20577"/>
          <ac:graphicFrameMkLst>
            <pc:docMk/>
            <pc:sldMk cId="1002216683" sldId="141169099"/>
            <ac:graphicFrameMk id="8" creationId="{2B950B61-D560-4CF8-B520-F9DDCB8A9C52}"/>
          </ac:graphicFrameMkLst>
        </pc:graphicFrameChg>
        <pc:graphicFrameChg chg="modGraphic">
          <ac:chgData name="Nitin Datta" userId="df114949-ac63-4e6b-87ec-fa97f21644bb" providerId="ADAL" clId="{744CA9B1-E079-4F11-AC4D-72A90103880C}" dt="2020-07-03T06:53:14.208" v="1996" actId="6549"/>
          <ac:graphicFrameMkLst>
            <pc:docMk/>
            <pc:sldMk cId="1002216683" sldId="141169099"/>
            <ac:graphicFrameMk id="15" creationId="{AB246BD7-8CD9-4EE2-86E8-8DD09648499A}"/>
          </ac:graphicFrameMkLst>
        </pc:graphicFrameChg>
      </pc:sldChg>
      <pc:sldChg chg="modSp">
        <pc:chgData name="Nitin Datta" userId="df114949-ac63-4e6b-87ec-fa97f21644bb" providerId="ADAL" clId="{744CA9B1-E079-4F11-AC4D-72A90103880C}" dt="2020-07-03T07:03:45.211" v="2657" actId="20577"/>
        <pc:sldMkLst>
          <pc:docMk/>
          <pc:sldMk cId="1685732641" sldId="141169105"/>
        </pc:sldMkLst>
        <pc:spChg chg="mod">
          <ac:chgData name="Nitin Datta" userId="df114949-ac63-4e6b-87ec-fa97f21644bb" providerId="ADAL" clId="{744CA9B1-E079-4F11-AC4D-72A90103880C}" dt="2020-07-03T06:56:46.281" v="2205" actId="20577"/>
          <ac:spMkLst>
            <pc:docMk/>
            <pc:sldMk cId="1685732641" sldId="141169105"/>
            <ac:spMk id="3" creationId="{2628184F-BB51-4520-9982-EA93EF50D704}"/>
          </ac:spMkLst>
        </pc:spChg>
        <pc:spChg chg="mod">
          <ac:chgData name="Nitin Datta" userId="df114949-ac63-4e6b-87ec-fa97f21644bb" providerId="ADAL" clId="{744CA9B1-E079-4F11-AC4D-72A90103880C}" dt="2020-07-03T06:52:35.829" v="1989" actId="20577"/>
          <ac:spMkLst>
            <pc:docMk/>
            <pc:sldMk cId="1685732641" sldId="141169105"/>
            <ac:spMk id="15" creationId="{C6C0B8FB-4F3D-49F7-A843-17BF11559B5B}"/>
          </ac:spMkLst>
        </pc:spChg>
        <pc:graphicFrameChg chg="mod modGraphic">
          <ac:chgData name="Nitin Datta" userId="df114949-ac63-4e6b-87ec-fa97f21644bb" providerId="ADAL" clId="{744CA9B1-E079-4F11-AC4D-72A90103880C}" dt="2020-07-03T07:03:45.211" v="2657" actId="20577"/>
          <ac:graphicFrameMkLst>
            <pc:docMk/>
            <pc:sldMk cId="1685732641" sldId="141169105"/>
            <ac:graphicFrameMk id="66" creationId="{5E346D8D-28E4-4BC5-BB2C-6CDE448F33AB}"/>
          </ac:graphicFrameMkLst>
        </pc:graphicFrameChg>
      </pc:sldChg>
      <pc:sldChg chg="modSp">
        <pc:chgData name="Nitin Datta" userId="df114949-ac63-4e6b-87ec-fa97f21644bb" providerId="ADAL" clId="{744CA9B1-E079-4F11-AC4D-72A90103880C}" dt="2020-07-03T06:55:56.167" v="2151" actId="20577"/>
        <pc:sldMkLst>
          <pc:docMk/>
          <pc:sldMk cId="1178069200" sldId="141169107"/>
        </pc:sldMkLst>
        <pc:spChg chg="mod">
          <ac:chgData name="Nitin Datta" userId="df114949-ac63-4e6b-87ec-fa97f21644bb" providerId="ADAL" clId="{744CA9B1-E079-4F11-AC4D-72A90103880C}" dt="2020-07-03T06:55:56.167" v="2151" actId="20577"/>
          <ac:spMkLst>
            <pc:docMk/>
            <pc:sldMk cId="1178069200" sldId="141169107"/>
            <ac:spMk id="3" creationId="{2628184F-BB51-4520-9982-EA93EF50D704}"/>
          </ac:spMkLst>
        </pc:spChg>
      </pc:sldChg>
    </pc:docChg>
  </pc:docChgLst>
  <pc:docChgLst>
    <pc:chgData name="Sourav Bose" userId="a3480f76-fe68-4c03-a922-c4aa16f9bb6b" providerId="ADAL" clId="{DBB6B645-C36E-4B21-9704-373E2A71DC5E}"/>
    <pc:docChg chg="undo redo custSel addSld delSld modSld sldOrd addMainMaster delMainMaster modSection">
      <pc:chgData name="Sourav Bose" userId="a3480f76-fe68-4c03-a922-c4aa16f9bb6b" providerId="ADAL" clId="{DBB6B645-C36E-4B21-9704-373E2A71DC5E}" dt="2020-07-03T08:36:09.007" v="30934" actId="20577"/>
      <pc:docMkLst>
        <pc:docMk/>
      </pc:docMkLst>
      <pc:sldChg chg="modSp">
        <pc:chgData name="Sourav Bose" userId="a3480f76-fe68-4c03-a922-c4aa16f9bb6b" providerId="ADAL" clId="{DBB6B645-C36E-4B21-9704-373E2A71DC5E}" dt="2020-07-03T08:22:52.346" v="30496" actId="20577"/>
        <pc:sldMkLst>
          <pc:docMk/>
          <pc:sldMk cId="3648057650" sldId="5388"/>
        </pc:sldMkLst>
        <pc:spChg chg="mod">
          <ac:chgData name="Sourav Bose" userId="a3480f76-fe68-4c03-a922-c4aa16f9bb6b" providerId="ADAL" clId="{DBB6B645-C36E-4B21-9704-373E2A71DC5E}" dt="2020-07-03T08:22:52.346" v="30496" actId="20577"/>
          <ac:spMkLst>
            <pc:docMk/>
            <pc:sldMk cId="3648057650" sldId="5388"/>
            <ac:spMk id="11" creationId="{B9D4F65C-C90D-427D-A699-33D75CA2161D}"/>
          </ac:spMkLst>
        </pc:spChg>
      </pc:sldChg>
      <pc:sldChg chg="addSp delSp modSp">
        <pc:chgData name="Sourav Bose" userId="a3480f76-fe68-4c03-a922-c4aa16f9bb6b" providerId="ADAL" clId="{DBB6B645-C36E-4B21-9704-373E2A71DC5E}" dt="2020-07-03T08:27:10.454" v="30544" actId="20577"/>
        <pc:sldMkLst>
          <pc:docMk/>
          <pc:sldMk cId="4192450393" sldId="5803"/>
        </pc:sldMkLst>
        <pc:spChg chg="mod">
          <ac:chgData name="Sourav Bose" userId="a3480f76-fe68-4c03-a922-c4aa16f9bb6b" providerId="ADAL" clId="{DBB6B645-C36E-4B21-9704-373E2A71DC5E}" dt="2020-07-03T05:09:16.656" v="26614" actId="20577"/>
          <ac:spMkLst>
            <pc:docMk/>
            <pc:sldMk cId="4192450393" sldId="5803"/>
            <ac:spMk id="3" creationId="{2628184F-BB51-4520-9982-EA93EF50D704}"/>
          </ac:spMkLst>
        </pc:spChg>
        <pc:graphicFrameChg chg="add mod modGraphic">
          <ac:chgData name="Sourav Bose" userId="a3480f76-fe68-4c03-a922-c4aa16f9bb6b" providerId="ADAL" clId="{DBB6B645-C36E-4B21-9704-373E2A71DC5E}" dt="2020-07-03T08:27:10.454" v="30544" actId="20577"/>
          <ac:graphicFrameMkLst>
            <pc:docMk/>
            <pc:sldMk cId="4192450393" sldId="5803"/>
            <ac:graphicFrameMk id="8" creationId="{7A5A2827-2BFA-429B-B529-AC1ADBCD2C0A}"/>
          </ac:graphicFrameMkLst>
        </pc:graphicFrameChg>
        <pc:graphicFrameChg chg="mod modGraphic">
          <ac:chgData name="Sourav Bose" userId="a3480f76-fe68-4c03-a922-c4aa16f9bb6b" providerId="ADAL" clId="{DBB6B645-C36E-4B21-9704-373E2A71DC5E}" dt="2020-07-02T11:21:46.707" v="16938" actId="1037"/>
          <ac:graphicFrameMkLst>
            <pc:docMk/>
            <pc:sldMk cId="4192450393" sldId="5803"/>
            <ac:graphicFrameMk id="10" creationId="{BF83DA13-5163-4A10-AE2E-D5E53C89CF5B}"/>
          </ac:graphicFrameMkLst>
        </pc:graphicFrameChg>
        <pc:graphicFrameChg chg="del">
          <ac:chgData name="Sourav Bose" userId="a3480f76-fe68-4c03-a922-c4aa16f9bb6b" providerId="ADAL" clId="{DBB6B645-C36E-4B21-9704-373E2A71DC5E}" dt="2020-07-02T11:21:32.817" v="16856" actId="478"/>
          <ac:graphicFrameMkLst>
            <pc:docMk/>
            <pc:sldMk cId="4192450393" sldId="5803"/>
            <ac:graphicFrameMk id="12" creationId="{E1169857-751F-41CC-9E9A-83F5C16596D9}"/>
          </ac:graphicFrameMkLst>
        </pc:graphicFrameChg>
        <pc:picChg chg="mod">
          <ac:chgData name="Sourav Bose" userId="a3480f76-fe68-4c03-a922-c4aa16f9bb6b" providerId="ADAL" clId="{DBB6B645-C36E-4B21-9704-373E2A71DC5E}" dt="2020-07-02T11:21:46.707" v="16938" actId="1037"/>
          <ac:picMkLst>
            <pc:docMk/>
            <pc:sldMk cId="4192450393" sldId="5803"/>
            <ac:picMk id="7" creationId="{D1EB8C8A-BF8F-43D5-88A6-A0C1A5CF386D}"/>
          </ac:picMkLst>
        </pc:picChg>
        <pc:picChg chg="add mod">
          <ac:chgData name="Sourav Bose" userId="a3480f76-fe68-4c03-a922-c4aa16f9bb6b" providerId="ADAL" clId="{DBB6B645-C36E-4B21-9704-373E2A71DC5E}" dt="2020-07-02T11:22:07.114" v="17058" actId="1038"/>
          <ac:picMkLst>
            <pc:docMk/>
            <pc:sldMk cId="4192450393" sldId="5803"/>
            <ac:picMk id="9" creationId="{78EBA35F-797F-4149-9368-C1503AE2288C}"/>
          </ac:picMkLst>
        </pc:picChg>
        <pc:picChg chg="del">
          <ac:chgData name="Sourav Bose" userId="a3480f76-fe68-4c03-a922-c4aa16f9bb6b" providerId="ADAL" clId="{DBB6B645-C36E-4B21-9704-373E2A71DC5E}" dt="2020-07-02T11:21:35.085" v="16857" actId="478"/>
          <ac:picMkLst>
            <pc:docMk/>
            <pc:sldMk cId="4192450393" sldId="5803"/>
            <ac:picMk id="13" creationId="{B6883971-372C-4527-8EBB-C2EF48DA2040}"/>
          </ac:picMkLst>
        </pc:picChg>
      </pc:sldChg>
      <pc:sldChg chg="addSp delSp modSp del ord">
        <pc:chgData name="Sourav Bose" userId="a3480f76-fe68-4c03-a922-c4aa16f9bb6b" providerId="ADAL" clId="{DBB6B645-C36E-4B21-9704-373E2A71DC5E}" dt="2020-07-03T08:21:44.967" v="30486" actId="2696"/>
        <pc:sldMkLst>
          <pc:docMk/>
          <pc:sldMk cId="383883599" sldId="5804"/>
        </pc:sldMkLst>
        <pc:graphicFrameChg chg="del mod modGraphic">
          <ac:chgData name="Sourav Bose" userId="a3480f76-fe68-4c03-a922-c4aa16f9bb6b" providerId="ADAL" clId="{DBB6B645-C36E-4B21-9704-373E2A71DC5E}" dt="2020-07-02T11:21:54.736" v="16939"/>
          <ac:graphicFrameMkLst>
            <pc:docMk/>
            <pc:sldMk cId="383883599" sldId="5804"/>
            <ac:graphicFrameMk id="7" creationId="{803BF267-ECAA-4E84-A53D-CFB474CD1302}"/>
          </ac:graphicFrameMkLst>
        </pc:graphicFrameChg>
        <pc:graphicFrameChg chg="add">
          <ac:chgData name="Sourav Bose" userId="a3480f76-fe68-4c03-a922-c4aa16f9bb6b" providerId="ADAL" clId="{DBB6B645-C36E-4B21-9704-373E2A71DC5E}" dt="2020-07-02T11:23:11.645" v="17062"/>
          <ac:graphicFrameMkLst>
            <pc:docMk/>
            <pc:sldMk cId="383883599" sldId="5804"/>
            <ac:graphicFrameMk id="8" creationId="{2638E0EF-E08B-4730-93FE-12D841AD42B4}"/>
          </ac:graphicFrameMkLst>
        </pc:graphicFrameChg>
        <pc:graphicFrameChg chg="mod modGraphic">
          <ac:chgData name="Sourav Bose" userId="a3480f76-fe68-4c03-a922-c4aa16f9bb6b" providerId="ADAL" clId="{DBB6B645-C36E-4B21-9704-373E2A71DC5E}" dt="2020-07-02T05:41:32.456" v="9806" actId="1035"/>
          <ac:graphicFrameMkLst>
            <pc:docMk/>
            <pc:sldMk cId="383883599" sldId="5804"/>
            <ac:graphicFrameMk id="9" creationId="{B4C40337-0C52-4F36-AD63-ED1E8C210262}"/>
          </ac:graphicFrameMkLst>
        </pc:graphicFrameChg>
        <pc:picChg chg="del mod">
          <ac:chgData name="Sourav Bose" userId="a3480f76-fe68-4c03-a922-c4aa16f9bb6b" providerId="ADAL" clId="{DBB6B645-C36E-4B21-9704-373E2A71DC5E}" dt="2020-07-02T11:21:54.736" v="16939"/>
          <ac:picMkLst>
            <pc:docMk/>
            <pc:sldMk cId="383883599" sldId="5804"/>
            <ac:picMk id="6" creationId="{479372C7-D12F-4059-9908-8240032432BD}"/>
          </ac:picMkLst>
        </pc:picChg>
        <pc:picChg chg="add">
          <ac:chgData name="Sourav Bose" userId="a3480f76-fe68-4c03-a922-c4aa16f9bb6b" providerId="ADAL" clId="{DBB6B645-C36E-4B21-9704-373E2A71DC5E}" dt="2020-07-02T11:23:11.645" v="17062"/>
          <ac:picMkLst>
            <pc:docMk/>
            <pc:sldMk cId="383883599" sldId="5804"/>
            <ac:picMk id="10" creationId="{F397B988-2BAC-4566-A1FA-3D4328A2F70A}"/>
          </ac:picMkLst>
        </pc:picChg>
      </pc:sldChg>
      <pc:sldChg chg="delSp modSp del">
        <pc:chgData name="Sourav Bose" userId="a3480f76-fe68-4c03-a922-c4aa16f9bb6b" providerId="ADAL" clId="{DBB6B645-C36E-4B21-9704-373E2A71DC5E}" dt="2020-07-03T05:16:31.624" v="26768" actId="2696"/>
        <pc:sldMkLst>
          <pc:docMk/>
          <pc:sldMk cId="1339227315" sldId="5807"/>
        </pc:sldMkLst>
        <pc:spChg chg="mod">
          <ac:chgData name="Sourav Bose" userId="a3480f76-fe68-4c03-a922-c4aa16f9bb6b" providerId="ADAL" clId="{DBB6B645-C36E-4B21-9704-373E2A71DC5E}" dt="2020-07-02T05:43:38.279" v="9904" actId="20577"/>
          <ac:spMkLst>
            <pc:docMk/>
            <pc:sldMk cId="1339227315" sldId="5807"/>
            <ac:spMk id="3" creationId="{2628184F-BB51-4520-9982-EA93EF50D704}"/>
          </ac:spMkLst>
        </pc:spChg>
        <pc:graphicFrameChg chg="del">
          <ac:chgData name="Sourav Bose" userId="a3480f76-fe68-4c03-a922-c4aa16f9bb6b" providerId="ADAL" clId="{DBB6B645-C36E-4B21-9704-373E2A71DC5E}" dt="2020-07-02T02:46:53.848" v="6861" actId="478"/>
          <ac:graphicFrameMkLst>
            <pc:docMk/>
            <pc:sldMk cId="1339227315" sldId="5807"/>
            <ac:graphicFrameMk id="11" creationId="{F7C86028-4876-42CB-B22B-CA383D08880D}"/>
          </ac:graphicFrameMkLst>
        </pc:graphicFrameChg>
        <pc:graphicFrameChg chg="del mod modGraphic">
          <ac:chgData name="Sourav Bose" userId="a3480f76-fe68-4c03-a922-c4aa16f9bb6b" providerId="ADAL" clId="{DBB6B645-C36E-4B21-9704-373E2A71DC5E}" dt="2020-07-03T05:09:32.668" v="26626"/>
          <ac:graphicFrameMkLst>
            <pc:docMk/>
            <pc:sldMk cId="1339227315" sldId="5807"/>
            <ac:graphicFrameMk id="15" creationId="{9556386B-A674-4340-9DCD-B02B138067E9}"/>
          </ac:graphicFrameMkLst>
        </pc:graphicFrameChg>
        <pc:picChg chg="del">
          <ac:chgData name="Sourav Bose" userId="a3480f76-fe68-4c03-a922-c4aa16f9bb6b" providerId="ADAL" clId="{DBB6B645-C36E-4B21-9704-373E2A71DC5E}" dt="2020-07-02T02:46:53.848" v="6861" actId="478"/>
          <ac:picMkLst>
            <pc:docMk/>
            <pc:sldMk cId="1339227315" sldId="5807"/>
            <ac:picMk id="12" creationId="{AB52B589-EE2C-4338-8EF1-12730AC845E5}"/>
          </ac:picMkLst>
        </pc:picChg>
        <pc:picChg chg="del mod">
          <ac:chgData name="Sourav Bose" userId="a3480f76-fe68-4c03-a922-c4aa16f9bb6b" providerId="ADAL" clId="{DBB6B645-C36E-4B21-9704-373E2A71DC5E}" dt="2020-07-03T05:09:32.668" v="26626"/>
          <ac:picMkLst>
            <pc:docMk/>
            <pc:sldMk cId="1339227315" sldId="5807"/>
            <ac:picMk id="16" creationId="{90B7F89A-7E04-4E38-AE99-F4D31754B97F}"/>
          </ac:picMkLst>
        </pc:picChg>
      </pc:sldChg>
      <pc:sldChg chg="modSp">
        <pc:chgData name="Sourav Bose" userId="a3480f76-fe68-4c03-a922-c4aa16f9bb6b" providerId="ADAL" clId="{DBB6B645-C36E-4B21-9704-373E2A71DC5E}" dt="2020-07-03T07:21:23.953" v="30237" actId="20577"/>
        <pc:sldMkLst>
          <pc:docMk/>
          <pc:sldMk cId="2038045345" sldId="141168880"/>
        </pc:sldMkLst>
        <pc:spChg chg="mod">
          <ac:chgData name="Sourav Bose" userId="a3480f76-fe68-4c03-a922-c4aa16f9bb6b" providerId="ADAL" clId="{DBB6B645-C36E-4B21-9704-373E2A71DC5E}" dt="2020-07-03T07:21:23.953" v="30237" actId="20577"/>
          <ac:spMkLst>
            <pc:docMk/>
            <pc:sldMk cId="2038045345" sldId="141168880"/>
            <ac:spMk id="5" creationId="{1A6C3D31-1A5E-F641-AEFF-8DE3943F771A}"/>
          </ac:spMkLst>
        </pc:spChg>
      </pc:sldChg>
      <pc:sldChg chg="delSp modSp">
        <pc:chgData name="Sourav Bose" userId="a3480f76-fe68-4c03-a922-c4aa16f9bb6b" providerId="ADAL" clId="{DBB6B645-C36E-4B21-9704-373E2A71DC5E}" dt="2020-07-03T08:24:27.993" v="30512" actId="20577"/>
        <pc:sldMkLst>
          <pc:docMk/>
          <pc:sldMk cId="3428040881" sldId="141168881"/>
        </pc:sldMkLst>
        <pc:spChg chg="mod">
          <ac:chgData name="Sourav Bose" userId="a3480f76-fe68-4c03-a922-c4aa16f9bb6b" providerId="ADAL" clId="{DBB6B645-C36E-4B21-9704-373E2A71DC5E}" dt="2020-07-03T07:21:30.452" v="30239" actId="20577"/>
          <ac:spMkLst>
            <pc:docMk/>
            <pc:sldMk cId="3428040881" sldId="141168881"/>
            <ac:spMk id="3" creationId="{2628184F-BB51-4520-9982-EA93EF50D704}"/>
          </ac:spMkLst>
        </pc:spChg>
        <pc:spChg chg="mod">
          <ac:chgData name="Sourav Bose" userId="a3480f76-fe68-4c03-a922-c4aa16f9bb6b" providerId="ADAL" clId="{DBB6B645-C36E-4B21-9704-373E2A71DC5E}" dt="2020-07-03T01:19:58.144" v="20213" actId="1036"/>
          <ac:spMkLst>
            <pc:docMk/>
            <pc:sldMk cId="3428040881" sldId="141168881"/>
            <ac:spMk id="38" creationId="{DC5FAAD9-17BB-45EC-B07A-13C67143B68E}"/>
          </ac:spMkLst>
        </pc:spChg>
        <pc:graphicFrameChg chg="mod modGraphic">
          <ac:chgData name="Sourav Bose" userId="a3480f76-fe68-4c03-a922-c4aa16f9bb6b" providerId="ADAL" clId="{DBB6B645-C36E-4B21-9704-373E2A71DC5E}" dt="2020-07-03T08:24:20.451" v="30508" actId="20577"/>
          <ac:graphicFrameMkLst>
            <pc:docMk/>
            <pc:sldMk cId="3428040881" sldId="141168881"/>
            <ac:graphicFrameMk id="40" creationId="{71A36DBE-2825-4C81-B7DD-DC15DF6110C2}"/>
          </ac:graphicFrameMkLst>
        </pc:graphicFrameChg>
        <pc:graphicFrameChg chg="modGraphic">
          <ac:chgData name="Sourav Bose" userId="a3480f76-fe68-4c03-a922-c4aa16f9bb6b" providerId="ADAL" clId="{DBB6B645-C36E-4B21-9704-373E2A71DC5E}" dt="2020-07-03T08:24:27.993" v="30512" actId="20577"/>
          <ac:graphicFrameMkLst>
            <pc:docMk/>
            <pc:sldMk cId="3428040881" sldId="141168881"/>
            <ac:graphicFrameMk id="45" creationId="{A8AEE12D-99C1-4DE0-89C8-3F9AFD93A265}"/>
          </ac:graphicFrameMkLst>
        </pc:graphicFrameChg>
        <pc:picChg chg="del">
          <ac:chgData name="Sourav Bose" userId="a3480f76-fe68-4c03-a922-c4aa16f9bb6b" providerId="ADAL" clId="{DBB6B645-C36E-4B21-9704-373E2A71DC5E}" dt="2020-07-02T08:05:02.393" v="11054" actId="478"/>
          <ac:picMkLst>
            <pc:docMk/>
            <pc:sldMk cId="3428040881" sldId="141168881"/>
            <ac:picMk id="41" creationId="{7A8348CC-6EA6-4136-9324-C13026905014}"/>
          </ac:picMkLst>
        </pc:picChg>
        <pc:picChg chg="mod">
          <ac:chgData name="Sourav Bose" userId="a3480f76-fe68-4c03-a922-c4aa16f9bb6b" providerId="ADAL" clId="{DBB6B645-C36E-4B21-9704-373E2A71DC5E}" dt="2020-07-03T01:23:13.238" v="20395" actId="1037"/>
          <ac:picMkLst>
            <pc:docMk/>
            <pc:sldMk cId="3428040881" sldId="141168881"/>
            <ac:picMk id="42" creationId="{CFD7D535-ACDF-4251-8DB8-CC4370E63AA6}"/>
          </ac:picMkLst>
        </pc:picChg>
        <pc:picChg chg="mod">
          <ac:chgData name="Sourav Bose" userId="a3480f76-fe68-4c03-a922-c4aa16f9bb6b" providerId="ADAL" clId="{DBB6B645-C36E-4B21-9704-373E2A71DC5E}" dt="2020-07-03T01:22:40.407" v="20388" actId="1036"/>
          <ac:picMkLst>
            <pc:docMk/>
            <pc:sldMk cId="3428040881" sldId="141168881"/>
            <ac:picMk id="44" creationId="{8680E783-4CA7-4692-A5AC-BB45A0C97873}"/>
          </ac:picMkLst>
        </pc:picChg>
      </pc:sldChg>
      <pc:sldChg chg="del">
        <pc:chgData name="Sourav Bose" userId="a3480f76-fe68-4c03-a922-c4aa16f9bb6b" providerId="ADAL" clId="{DBB6B645-C36E-4B21-9704-373E2A71DC5E}" dt="2020-07-03T08:21:45.934" v="30489" actId="2696"/>
        <pc:sldMkLst>
          <pc:docMk/>
          <pc:sldMk cId="1034234566" sldId="141168916"/>
        </pc:sldMkLst>
      </pc:sldChg>
      <pc:sldChg chg="delSp modSp">
        <pc:chgData name="Sourav Bose" userId="a3480f76-fe68-4c03-a922-c4aa16f9bb6b" providerId="ADAL" clId="{DBB6B645-C36E-4B21-9704-373E2A71DC5E}" dt="2020-07-03T07:25:15.359" v="30351" actId="20577"/>
        <pc:sldMkLst>
          <pc:docMk/>
          <pc:sldMk cId="2551480782" sldId="141168922"/>
        </pc:sldMkLst>
        <pc:spChg chg="mod">
          <ac:chgData name="Sourav Bose" userId="a3480f76-fe68-4c03-a922-c4aa16f9bb6b" providerId="ADAL" clId="{DBB6B645-C36E-4B21-9704-373E2A71DC5E}" dt="2020-07-03T07:24:04.230" v="30305"/>
          <ac:spMkLst>
            <pc:docMk/>
            <pc:sldMk cId="2551480782" sldId="141168922"/>
            <ac:spMk id="2" creationId="{9D1D1A09-8150-4814-9801-216E591EFB43}"/>
          </ac:spMkLst>
        </pc:spChg>
        <pc:spChg chg="mod">
          <ac:chgData name="Sourav Bose" userId="a3480f76-fe68-4c03-a922-c4aa16f9bb6b" providerId="ADAL" clId="{DBB6B645-C36E-4B21-9704-373E2A71DC5E}" dt="2020-07-03T07:24:04.230" v="30305"/>
          <ac:spMkLst>
            <pc:docMk/>
            <pc:sldMk cId="2551480782" sldId="141168922"/>
            <ac:spMk id="4" creationId="{3B95407E-B677-49F2-9AED-B19AE8D34E74}"/>
          </ac:spMkLst>
        </pc:spChg>
        <pc:spChg chg="mod">
          <ac:chgData name="Sourav Bose" userId="a3480f76-fe68-4c03-a922-c4aa16f9bb6b" providerId="ADAL" clId="{DBB6B645-C36E-4B21-9704-373E2A71DC5E}" dt="2020-07-03T07:24:04.230" v="30305"/>
          <ac:spMkLst>
            <pc:docMk/>
            <pc:sldMk cId="2551480782" sldId="141168922"/>
            <ac:spMk id="13" creationId="{3E2B4557-5CF2-4594-9F1E-94CEA944CBA0}"/>
          </ac:spMkLst>
        </pc:spChg>
        <pc:spChg chg="mod">
          <ac:chgData name="Sourav Bose" userId="a3480f76-fe68-4c03-a922-c4aa16f9bb6b" providerId="ADAL" clId="{DBB6B645-C36E-4B21-9704-373E2A71DC5E}" dt="2020-07-03T07:24:04.230" v="30305"/>
          <ac:spMkLst>
            <pc:docMk/>
            <pc:sldMk cId="2551480782" sldId="141168922"/>
            <ac:spMk id="15" creationId="{21D253DB-98FE-40FB-A89B-68708D7027B6}"/>
          </ac:spMkLst>
        </pc:spChg>
        <pc:spChg chg="mod">
          <ac:chgData name="Sourav Bose" userId="a3480f76-fe68-4c03-a922-c4aa16f9bb6b" providerId="ADAL" clId="{DBB6B645-C36E-4B21-9704-373E2A71DC5E}" dt="2020-07-03T07:24:04.230" v="30305"/>
          <ac:spMkLst>
            <pc:docMk/>
            <pc:sldMk cId="2551480782" sldId="141168922"/>
            <ac:spMk id="16" creationId="{40698EDB-E767-474F-9CA2-6C00EE5E6BA4}"/>
          </ac:spMkLst>
        </pc:spChg>
        <pc:spChg chg="mod">
          <ac:chgData name="Sourav Bose" userId="a3480f76-fe68-4c03-a922-c4aa16f9bb6b" providerId="ADAL" clId="{DBB6B645-C36E-4B21-9704-373E2A71DC5E}" dt="2020-07-03T07:24:04.230" v="30305"/>
          <ac:spMkLst>
            <pc:docMk/>
            <pc:sldMk cId="2551480782" sldId="141168922"/>
            <ac:spMk id="40" creationId="{F7C32F01-64AB-40F6-9D53-61A729B2B3B2}"/>
          </ac:spMkLst>
        </pc:spChg>
        <pc:spChg chg="del mod">
          <ac:chgData name="Sourav Bose" userId="a3480f76-fe68-4c03-a922-c4aa16f9bb6b" providerId="ADAL" clId="{DBB6B645-C36E-4B21-9704-373E2A71DC5E}" dt="2020-07-03T07:24:06.202" v="30307"/>
          <ac:spMkLst>
            <pc:docMk/>
            <pc:sldMk cId="2551480782" sldId="141168922"/>
            <ac:spMk id="57" creationId="{138381A0-53F7-41C2-B0E0-6729A1D86FF1}"/>
          </ac:spMkLst>
        </pc:spChg>
        <pc:spChg chg="mod">
          <ac:chgData name="Sourav Bose" userId="a3480f76-fe68-4c03-a922-c4aa16f9bb6b" providerId="ADAL" clId="{DBB6B645-C36E-4B21-9704-373E2A71DC5E}" dt="2020-07-03T07:24:04.230" v="30305"/>
          <ac:spMkLst>
            <pc:docMk/>
            <pc:sldMk cId="2551480782" sldId="141168922"/>
            <ac:spMk id="64" creationId="{A366F4C7-C325-4E54-A792-514D16A9C0A9}"/>
          </ac:spMkLst>
        </pc:spChg>
        <pc:spChg chg="mod">
          <ac:chgData name="Sourav Bose" userId="a3480f76-fe68-4c03-a922-c4aa16f9bb6b" providerId="ADAL" clId="{DBB6B645-C36E-4B21-9704-373E2A71DC5E}" dt="2020-07-03T07:24:04.230" v="30305"/>
          <ac:spMkLst>
            <pc:docMk/>
            <pc:sldMk cId="2551480782" sldId="141168922"/>
            <ac:spMk id="65" creationId="{20D03A21-2D50-46FD-A1B4-FBE995DDD7A1}"/>
          </ac:spMkLst>
        </pc:spChg>
        <pc:spChg chg="mod">
          <ac:chgData name="Sourav Bose" userId="a3480f76-fe68-4c03-a922-c4aa16f9bb6b" providerId="ADAL" clId="{DBB6B645-C36E-4B21-9704-373E2A71DC5E}" dt="2020-07-03T07:24:04.230" v="30305"/>
          <ac:spMkLst>
            <pc:docMk/>
            <pc:sldMk cId="2551480782" sldId="141168922"/>
            <ac:spMk id="66" creationId="{F08AE82D-D7EA-41FF-BB1D-D21DC522BB29}"/>
          </ac:spMkLst>
        </pc:spChg>
        <pc:spChg chg="mod">
          <ac:chgData name="Sourav Bose" userId="a3480f76-fe68-4c03-a922-c4aa16f9bb6b" providerId="ADAL" clId="{DBB6B645-C36E-4B21-9704-373E2A71DC5E}" dt="2020-07-03T07:25:15.359" v="30351" actId="20577"/>
          <ac:spMkLst>
            <pc:docMk/>
            <pc:sldMk cId="2551480782" sldId="141168922"/>
            <ac:spMk id="155" creationId="{4D5FA750-90EF-43EB-8C7C-A0DF33AB142F}"/>
          </ac:spMkLst>
        </pc:spChg>
        <pc:spChg chg="mod">
          <ac:chgData name="Sourav Bose" userId="a3480f76-fe68-4c03-a922-c4aa16f9bb6b" providerId="ADAL" clId="{DBB6B645-C36E-4B21-9704-373E2A71DC5E}" dt="2020-07-03T07:24:04.230" v="30305"/>
          <ac:spMkLst>
            <pc:docMk/>
            <pc:sldMk cId="2551480782" sldId="141168922"/>
            <ac:spMk id="156" creationId="{6511A42F-04F8-4592-A096-C3FB5A1C693E}"/>
          </ac:spMkLst>
        </pc:spChg>
        <pc:spChg chg="mod">
          <ac:chgData name="Sourav Bose" userId="a3480f76-fe68-4c03-a922-c4aa16f9bb6b" providerId="ADAL" clId="{DBB6B645-C36E-4B21-9704-373E2A71DC5E}" dt="2020-07-03T07:24:04.230" v="30305"/>
          <ac:spMkLst>
            <pc:docMk/>
            <pc:sldMk cId="2551480782" sldId="141168922"/>
            <ac:spMk id="158" creationId="{AFA8692C-CF92-4210-BB29-9B526432CB6F}"/>
          </ac:spMkLst>
        </pc:spChg>
        <pc:spChg chg="mod">
          <ac:chgData name="Sourav Bose" userId="a3480f76-fe68-4c03-a922-c4aa16f9bb6b" providerId="ADAL" clId="{DBB6B645-C36E-4B21-9704-373E2A71DC5E}" dt="2020-07-03T07:24:04.230" v="30305"/>
          <ac:spMkLst>
            <pc:docMk/>
            <pc:sldMk cId="2551480782" sldId="141168922"/>
            <ac:spMk id="160" creationId="{45F4A336-6158-402C-BCCF-635CDB95925C}"/>
          </ac:spMkLst>
        </pc:spChg>
        <pc:spChg chg="mod">
          <ac:chgData name="Sourav Bose" userId="a3480f76-fe68-4c03-a922-c4aa16f9bb6b" providerId="ADAL" clId="{DBB6B645-C36E-4B21-9704-373E2A71DC5E}" dt="2020-07-03T07:24:04.230" v="30305"/>
          <ac:spMkLst>
            <pc:docMk/>
            <pc:sldMk cId="2551480782" sldId="141168922"/>
            <ac:spMk id="163" creationId="{660A77F0-7B79-45D9-9BF9-35B672349216}"/>
          </ac:spMkLst>
        </pc:spChg>
        <pc:spChg chg="mod">
          <ac:chgData name="Sourav Bose" userId="a3480f76-fe68-4c03-a922-c4aa16f9bb6b" providerId="ADAL" clId="{DBB6B645-C36E-4B21-9704-373E2A71DC5E}" dt="2020-07-03T07:24:04.230" v="30305"/>
          <ac:spMkLst>
            <pc:docMk/>
            <pc:sldMk cId="2551480782" sldId="141168922"/>
            <ac:spMk id="165" creationId="{6FA12A00-5A42-4805-8D2E-3F60F4967C73}"/>
          </ac:spMkLst>
        </pc:spChg>
        <pc:spChg chg="mod">
          <ac:chgData name="Sourav Bose" userId="a3480f76-fe68-4c03-a922-c4aa16f9bb6b" providerId="ADAL" clId="{DBB6B645-C36E-4B21-9704-373E2A71DC5E}" dt="2020-07-03T07:24:04.230" v="30305"/>
          <ac:spMkLst>
            <pc:docMk/>
            <pc:sldMk cId="2551480782" sldId="141168922"/>
            <ac:spMk id="167" creationId="{CF4BAB7B-7931-4D65-975C-C50B843918A1}"/>
          </ac:spMkLst>
        </pc:spChg>
        <pc:spChg chg="mod">
          <ac:chgData name="Sourav Bose" userId="a3480f76-fe68-4c03-a922-c4aa16f9bb6b" providerId="ADAL" clId="{DBB6B645-C36E-4B21-9704-373E2A71DC5E}" dt="2020-07-03T07:24:04.230" v="30305"/>
          <ac:spMkLst>
            <pc:docMk/>
            <pc:sldMk cId="2551480782" sldId="141168922"/>
            <ac:spMk id="169" creationId="{330C7DC5-682C-4400-B599-2A18477213A7}"/>
          </ac:spMkLst>
        </pc:spChg>
        <pc:grpChg chg="mod">
          <ac:chgData name="Sourav Bose" userId="a3480f76-fe68-4c03-a922-c4aa16f9bb6b" providerId="ADAL" clId="{DBB6B645-C36E-4B21-9704-373E2A71DC5E}" dt="2020-07-03T07:24:04.230" v="30305"/>
          <ac:grpSpMkLst>
            <pc:docMk/>
            <pc:sldMk cId="2551480782" sldId="141168922"/>
            <ac:grpSpMk id="6" creationId="{046B591B-0CFA-411F-82F3-82EA402C1B9F}"/>
          </ac:grpSpMkLst>
        </pc:grpChg>
        <pc:grpChg chg="mod">
          <ac:chgData name="Sourav Bose" userId="a3480f76-fe68-4c03-a922-c4aa16f9bb6b" providerId="ADAL" clId="{DBB6B645-C36E-4B21-9704-373E2A71DC5E}" dt="2020-07-03T07:24:04.230" v="30305"/>
          <ac:grpSpMkLst>
            <pc:docMk/>
            <pc:sldMk cId="2551480782" sldId="141168922"/>
            <ac:grpSpMk id="17" creationId="{C0809EE9-D8E8-4CE7-8170-1735DE76E6A6}"/>
          </ac:grpSpMkLst>
        </pc:grpChg>
        <pc:grpChg chg="mod">
          <ac:chgData name="Sourav Bose" userId="a3480f76-fe68-4c03-a922-c4aa16f9bb6b" providerId="ADAL" clId="{DBB6B645-C36E-4B21-9704-373E2A71DC5E}" dt="2020-07-03T07:24:04.230" v="30305"/>
          <ac:grpSpMkLst>
            <pc:docMk/>
            <pc:sldMk cId="2551480782" sldId="141168922"/>
            <ac:grpSpMk id="41" creationId="{3E4C9E7B-44DC-4F48-98FE-229F342B3073}"/>
          </ac:grpSpMkLst>
        </pc:grpChg>
        <pc:grpChg chg="mod">
          <ac:chgData name="Sourav Bose" userId="a3480f76-fe68-4c03-a922-c4aa16f9bb6b" providerId="ADAL" clId="{DBB6B645-C36E-4B21-9704-373E2A71DC5E}" dt="2020-07-03T07:24:04.230" v="30305"/>
          <ac:grpSpMkLst>
            <pc:docMk/>
            <pc:sldMk cId="2551480782" sldId="141168922"/>
            <ac:grpSpMk id="44" creationId="{4680761B-04FF-4719-B41C-AF53438711DF}"/>
          </ac:grpSpMkLst>
        </pc:grpChg>
        <pc:grpChg chg="mod">
          <ac:chgData name="Sourav Bose" userId="a3480f76-fe68-4c03-a922-c4aa16f9bb6b" providerId="ADAL" clId="{DBB6B645-C36E-4B21-9704-373E2A71DC5E}" dt="2020-07-03T07:24:04.230" v="30305"/>
          <ac:grpSpMkLst>
            <pc:docMk/>
            <pc:sldMk cId="2551480782" sldId="141168922"/>
            <ac:grpSpMk id="54" creationId="{5F0E59A4-CA20-4A29-9E68-A0566D9298EA}"/>
          </ac:grpSpMkLst>
        </pc:grpChg>
        <pc:grpChg chg="mod">
          <ac:chgData name="Sourav Bose" userId="a3480f76-fe68-4c03-a922-c4aa16f9bb6b" providerId="ADAL" clId="{DBB6B645-C36E-4B21-9704-373E2A71DC5E}" dt="2020-07-03T07:24:04.230" v="30305"/>
          <ac:grpSpMkLst>
            <pc:docMk/>
            <pc:sldMk cId="2551480782" sldId="141168922"/>
            <ac:grpSpMk id="58" creationId="{D1C124F0-501C-4851-9347-5D373B6D4227}"/>
          </ac:grpSpMkLst>
        </pc:grpChg>
        <pc:grpChg chg="mod">
          <ac:chgData name="Sourav Bose" userId="a3480f76-fe68-4c03-a922-c4aa16f9bb6b" providerId="ADAL" clId="{DBB6B645-C36E-4B21-9704-373E2A71DC5E}" dt="2020-07-03T07:24:04.230" v="30305"/>
          <ac:grpSpMkLst>
            <pc:docMk/>
            <pc:sldMk cId="2551480782" sldId="141168922"/>
            <ac:grpSpMk id="61" creationId="{0DF4E10D-42A6-461B-ACCD-E2A7A0C866C7}"/>
          </ac:grpSpMkLst>
        </pc:grpChg>
        <pc:grpChg chg="mod">
          <ac:chgData name="Sourav Bose" userId="a3480f76-fe68-4c03-a922-c4aa16f9bb6b" providerId="ADAL" clId="{DBB6B645-C36E-4B21-9704-373E2A71DC5E}" dt="2020-07-03T07:24:04.230" v="30305"/>
          <ac:grpSpMkLst>
            <pc:docMk/>
            <pc:sldMk cId="2551480782" sldId="141168922"/>
            <ac:grpSpMk id="63" creationId="{E71BB1A2-ABC5-4F58-BE03-8CF19014F9CB}"/>
          </ac:grpSpMkLst>
        </pc:grpChg>
        <pc:graphicFrameChg chg="mod modGraphic">
          <ac:chgData name="Sourav Bose" userId="a3480f76-fe68-4c03-a922-c4aa16f9bb6b" providerId="ADAL" clId="{DBB6B645-C36E-4B21-9704-373E2A71DC5E}" dt="2020-07-03T07:25:00.007" v="30347" actId="20577"/>
          <ac:graphicFrameMkLst>
            <pc:docMk/>
            <pc:sldMk cId="2551480782" sldId="141168922"/>
            <ac:graphicFrameMk id="89" creationId="{58E95F5C-6BA0-408F-B7F2-3D9D36E60BE6}"/>
          </ac:graphicFrameMkLst>
        </pc:graphicFrameChg>
        <pc:picChg chg="mod">
          <ac:chgData name="Sourav Bose" userId="a3480f76-fe68-4c03-a922-c4aa16f9bb6b" providerId="ADAL" clId="{DBB6B645-C36E-4B21-9704-373E2A71DC5E}" dt="2020-07-03T07:24:04.230" v="30305"/>
          <ac:picMkLst>
            <pc:docMk/>
            <pc:sldMk cId="2551480782" sldId="141168922"/>
            <ac:picMk id="49" creationId="{0438DED7-1A00-4D4E-BCA3-E3F801D809A5}"/>
          </ac:picMkLst>
        </pc:picChg>
        <pc:picChg chg="mod">
          <ac:chgData name="Sourav Bose" userId="a3480f76-fe68-4c03-a922-c4aa16f9bb6b" providerId="ADAL" clId="{DBB6B645-C36E-4B21-9704-373E2A71DC5E}" dt="2020-07-03T07:24:04.230" v="30305"/>
          <ac:picMkLst>
            <pc:docMk/>
            <pc:sldMk cId="2551480782" sldId="141168922"/>
            <ac:picMk id="159" creationId="{AAC64FF2-5FE7-43E3-AD90-35F6531B7688}"/>
          </ac:picMkLst>
        </pc:picChg>
        <pc:picChg chg="mod">
          <ac:chgData name="Sourav Bose" userId="a3480f76-fe68-4c03-a922-c4aa16f9bb6b" providerId="ADAL" clId="{DBB6B645-C36E-4B21-9704-373E2A71DC5E}" dt="2020-07-03T07:24:04.230" v="30305"/>
          <ac:picMkLst>
            <pc:docMk/>
            <pc:sldMk cId="2551480782" sldId="141168922"/>
            <ac:picMk id="161" creationId="{EE64F931-ABBF-4CE8-BA35-5F24010512D4}"/>
          </ac:picMkLst>
        </pc:picChg>
        <pc:picChg chg="mod">
          <ac:chgData name="Sourav Bose" userId="a3480f76-fe68-4c03-a922-c4aa16f9bb6b" providerId="ADAL" clId="{DBB6B645-C36E-4B21-9704-373E2A71DC5E}" dt="2020-07-03T07:24:04.230" v="30305"/>
          <ac:picMkLst>
            <pc:docMk/>
            <pc:sldMk cId="2551480782" sldId="141168922"/>
            <ac:picMk id="164" creationId="{C1316160-B4D0-4FC4-9D6F-96EE722DA5E0}"/>
          </ac:picMkLst>
        </pc:picChg>
        <pc:picChg chg="mod">
          <ac:chgData name="Sourav Bose" userId="a3480f76-fe68-4c03-a922-c4aa16f9bb6b" providerId="ADAL" clId="{DBB6B645-C36E-4B21-9704-373E2A71DC5E}" dt="2020-07-03T07:24:04.230" v="30305"/>
          <ac:picMkLst>
            <pc:docMk/>
            <pc:sldMk cId="2551480782" sldId="141168922"/>
            <ac:picMk id="166" creationId="{6F51E898-D59C-4383-B1A8-94081B891950}"/>
          </ac:picMkLst>
        </pc:picChg>
        <pc:picChg chg="mod">
          <ac:chgData name="Sourav Bose" userId="a3480f76-fe68-4c03-a922-c4aa16f9bb6b" providerId="ADAL" clId="{DBB6B645-C36E-4B21-9704-373E2A71DC5E}" dt="2020-07-03T07:24:04.230" v="30305"/>
          <ac:picMkLst>
            <pc:docMk/>
            <pc:sldMk cId="2551480782" sldId="141168922"/>
            <ac:picMk id="168" creationId="{378F08BF-A09D-4EAD-9ABF-7265121ADCB5}"/>
          </ac:picMkLst>
        </pc:picChg>
        <pc:picChg chg="mod">
          <ac:chgData name="Sourav Bose" userId="a3480f76-fe68-4c03-a922-c4aa16f9bb6b" providerId="ADAL" clId="{DBB6B645-C36E-4B21-9704-373E2A71DC5E}" dt="2020-07-03T07:24:04.230" v="30305"/>
          <ac:picMkLst>
            <pc:docMk/>
            <pc:sldMk cId="2551480782" sldId="141168922"/>
            <ac:picMk id="171" creationId="{7CEF0C50-AA3F-42CC-9656-A36981660084}"/>
          </ac:picMkLst>
        </pc:picChg>
        <pc:cxnChg chg="mod">
          <ac:chgData name="Sourav Bose" userId="a3480f76-fe68-4c03-a922-c4aa16f9bb6b" providerId="ADAL" clId="{DBB6B645-C36E-4B21-9704-373E2A71DC5E}" dt="2020-07-03T07:24:04.230" v="30305"/>
          <ac:cxnSpMkLst>
            <pc:docMk/>
            <pc:sldMk cId="2551480782" sldId="141168922"/>
            <ac:cxnSpMk id="3" creationId="{7D608820-37B3-4B7B-BC6A-A745D9247BD0}"/>
          </ac:cxnSpMkLst>
        </pc:cxnChg>
        <pc:cxnChg chg="mod">
          <ac:chgData name="Sourav Bose" userId="a3480f76-fe68-4c03-a922-c4aa16f9bb6b" providerId="ADAL" clId="{DBB6B645-C36E-4B21-9704-373E2A71DC5E}" dt="2020-07-03T07:24:04.230" v="30305"/>
          <ac:cxnSpMkLst>
            <pc:docMk/>
            <pc:sldMk cId="2551480782" sldId="141168922"/>
            <ac:cxnSpMk id="5" creationId="{3FA34BDB-53F7-4DC5-AA50-E1C9E0854FEA}"/>
          </ac:cxnSpMkLst>
        </pc:cxnChg>
        <pc:cxnChg chg="mod">
          <ac:chgData name="Sourav Bose" userId="a3480f76-fe68-4c03-a922-c4aa16f9bb6b" providerId="ADAL" clId="{DBB6B645-C36E-4B21-9704-373E2A71DC5E}" dt="2020-07-03T07:24:04.230" v="30305"/>
          <ac:cxnSpMkLst>
            <pc:docMk/>
            <pc:sldMk cId="2551480782" sldId="141168922"/>
            <ac:cxnSpMk id="51" creationId="{1D6F541E-5493-45ED-BC79-412E72A2AC9D}"/>
          </ac:cxnSpMkLst>
        </pc:cxnChg>
        <pc:cxnChg chg="mod">
          <ac:chgData name="Sourav Bose" userId="a3480f76-fe68-4c03-a922-c4aa16f9bb6b" providerId="ADAL" clId="{DBB6B645-C36E-4B21-9704-373E2A71DC5E}" dt="2020-07-03T07:24:04.230" v="30305"/>
          <ac:cxnSpMkLst>
            <pc:docMk/>
            <pc:sldMk cId="2551480782" sldId="141168922"/>
            <ac:cxnSpMk id="52" creationId="{5D70DB9C-B210-4D75-8541-45F7B738FF25}"/>
          </ac:cxnSpMkLst>
        </pc:cxnChg>
      </pc:sldChg>
      <pc:sldChg chg="del">
        <pc:chgData name="Sourav Bose" userId="a3480f76-fe68-4c03-a922-c4aa16f9bb6b" providerId="ADAL" clId="{DBB6B645-C36E-4B21-9704-373E2A71DC5E}" dt="2020-07-03T08:21:45.683" v="30488" actId="2696"/>
        <pc:sldMkLst>
          <pc:docMk/>
          <pc:sldMk cId="103957727" sldId="141168924"/>
        </pc:sldMkLst>
      </pc:sldChg>
      <pc:sldChg chg="modSp">
        <pc:chgData name="Sourav Bose" userId="a3480f76-fe68-4c03-a922-c4aa16f9bb6b" providerId="ADAL" clId="{DBB6B645-C36E-4B21-9704-373E2A71DC5E}" dt="2020-07-03T07:23:36.319" v="30304" actId="20577"/>
        <pc:sldMkLst>
          <pc:docMk/>
          <pc:sldMk cId="678092583" sldId="141168929"/>
        </pc:sldMkLst>
        <pc:spChg chg="mod">
          <ac:chgData name="Sourav Bose" userId="a3480f76-fe68-4c03-a922-c4aa16f9bb6b" providerId="ADAL" clId="{DBB6B645-C36E-4B21-9704-373E2A71DC5E}" dt="2020-07-03T07:23:36.319" v="30304" actId="20577"/>
          <ac:spMkLst>
            <pc:docMk/>
            <pc:sldMk cId="678092583" sldId="141168929"/>
            <ac:spMk id="5" creationId="{1A6C3D31-1A5E-F641-AEFF-8DE3943F771A}"/>
          </ac:spMkLst>
        </pc:spChg>
      </pc:sldChg>
      <pc:sldChg chg="modSp del">
        <pc:chgData name="Sourav Bose" userId="a3480f76-fe68-4c03-a922-c4aa16f9bb6b" providerId="ADAL" clId="{DBB6B645-C36E-4B21-9704-373E2A71DC5E}" dt="2020-07-03T04:02:48.612" v="24600" actId="2696"/>
        <pc:sldMkLst>
          <pc:docMk/>
          <pc:sldMk cId="3098388985" sldId="141168931"/>
        </pc:sldMkLst>
        <pc:spChg chg="mod">
          <ac:chgData name="Sourav Bose" userId="a3480f76-fe68-4c03-a922-c4aa16f9bb6b" providerId="ADAL" clId="{DBB6B645-C36E-4B21-9704-373E2A71DC5E}" dt="2020-07-03T04:02:28.470" v="24561" actId="20577"/>
          <ac:spMkLst>
            <pc:docMk/>
            <pc:sldMk cId="3098388985" sldId="141168931"/>
            <ac:spMk id="5" creationId="{1A6C3D31-1A5E-F641-AEFF-8DE3943F771A}"/>
          </ac:spMkLst>
        </pc:spChg>
        <pc:grpChg chg="mod">
          <ac:chgData name="Sourav Bose" userId="a3480f76-fe68-4c03-a922-c4aa16f9bb6b" providerId="ADAL" clId="{DBB6B645-C36E-4B21-9704-373E2A71DC5E}" dt="2020-07-03T04:02:38.358" v="24599" actId="1035"/>
          <ac:grpSpMkLst>
            <pc:docMk/>
            <pc:sldMk cId="3098388985" sldId="141168931"/>
            <ac:grpSpMk id="10" creationId="{A01F99EE-3BB0-4982-8CDA-0DB47603B60E}"/>
          </ac:grpSpMkLst>
        </pc:grpChg>
      </pc:sldChg>
      <pc:sldChg chg="modSp">
        <pc:chgData name="Sourav Bose" userId="a3480f76-fe68-4c03-a922-c4aa16f9bb6b" providerId="ADAL" clId="{DBB6B645-C36E-4B21-9704-373E2A71DC5E}" dt="2020-07-03T07:31:48.226" v="30472" actId="20577"/>
        <pc:sldMkLst>
          <pc:docMk/>
          <pc:sldMk cId="2201628323" sldId="141168932"/>
        </pc:sldMkLst>
        <pc:spChg chg="mod">
          <ac:chgData name="Sourav Bose" userId="a3480f76-fe68-4c03-a922-c4aa16f9bb6b" providerId="ADAL" clId="{DBB6B645-C36E-4B21-9704-373E2A71DC5E}" dt="2020-07-03T07:31:48.226" v="30472" actId="20577"/>
          <ac:spMkLst>
            <pc:docMk/>
            <pc:sldMk cId="2201628323" sldId="141168932"/>
            <ac:spMk id="5" creationId="{1A6C3D31-1A5E-F641-AEFF-8DE3943F771A}"/>
          </ac:spMkLst>
        </pc:spChg>
      </pc:sldChg>
      <pc:sldChg chg="modSp">
        <pc:chgData name="Sourav Bose" userId="a3480f76-fe68-4c03-a922-c4aa16f9bb6b" providerId="ADAL" clId="{DBB6B645-C36E-4B21-9704-373E2A71DC5E}" dt="2020-07-03T07:29:43.609" v="30442" actId="20577"/>
        <pc:sldMkLst>
          <pc:docMk/>
          <pc:sldMk cId="2343651811" sldId="141168935"/>
        </pc:sldMkLst>
        <pc:spChg chg="mod">
          <ac:chgData name="Sourav Bose" userId="a3480f76-fe68-4c03-a922-c4aa16f9bb6b" providerId="ADAL" clId="{DBB6B645-C36E-4B21-9704-373E2A71DC5E}" dt="2020-07-03T07:29:43.609" v="30442" actId="20577"/>
          <ac:spMkLst>
            <pc:docMk/>
            <pc:sldMk cId="2343651811" sldId="141168935"/>
            <ac:spMk id="5" creationId="{1A6C3D31-1A5E-F641-AEFF-8DE3943F771A}"/>
          </ac:spMkLst>
        </pc:spChg>
      </pc:sldChg>
      <pc:sldChg chg="modSp">
        <pc:chgData name="Sourav Bose" userId="a3480f76-fe68-4c03-a922-c4aa16f9bb6b" providerId="ADAL" clId="{DBB6B645-C36E-4B21-9704-373E2A71DC5E}" dt="2020-07-03T07:26:24.725" v="30370" actId="20577"/>
        <pc:sldMkLst>
          <pc:docMk/>
          <pc:sldMk cId="805738508" sldId="141168939"/>
        </pc:sldMkLst>
        <pc:spChg chg="mod">
          <ac:chgData name="Sourav Bose" userId="a3480f76-fe68-4c03-a922-c4aa16f9bb6b" providerId="ADAL" clId="{DBB6B645-C36E-4B21-9704-373E2A71DC5E}" dt="2020-07-03T07:26:24.725" v="30370" actId="20577"/>
          <ac:spMkLst>
            <pc:docMk/>
            <pc:sldMk cId="805738508" sldId="141168939"/>
            <ac:spMk id="5" creationId="{1A6C3D31-1A5E-F641-AEFF-8DE3943F771A}"/>
          </ac:spMkLst>
        </pc:spChg>
      </pc:sldChg>
      <pc:sldChg chg="addSp delSp modSp">
        <pc:chgData name="Sourav Bose" userId="a3480f76-fe68-4c03-a922-c4aa16f9bb6b" providerId="ADAL" clId="{DBB6B645-C36E-4B21-9704-373E2A71DC5E}" dt="2020-07-03T07:27:38.155" v="30398" actId="20577"/>
        <pc:sldMkLst>
          <pc:docMk/>
          <pc:sldMk cId="1761241630" sldId="141168943"/>
        </pc:sldMkLst>
        <pc:spChg chg="mod">
          <ac:chgData name="Sourav Bose" userId="a3480f76-fe68-4c03-a922-c4aa16f9bb6b" providerId="ADAL" clId="{DBB6B645-C36E-4B21-9704-373E2A71DC5E}" dt="2020-07-03T05:37:56.800" v="27518" actId="20577"/>
          <ac:spMkLst>
            <pc:docMk/>
            <pc:sldMk cId="1761241630" sldId="141168943"/>
            <ac:spMk id="2" creationId="{51EB4B8E-E57B-423D-B11A-45BAF39AB13C}"/>
          </ac:spMkLst>
        </pc:spChg>
        <pc:spChg chg="mod">
          <ac:chgData name="Sourav Bose" userId="a3480f76-fe68-4c03-a922-c4aa16f9bb6b" providerId="ADAL" clId="{DBB6B645-C36E-4B21-9704-373E2A71DC5E}" dt="2020-07-03T07:26:59.079" v="30378" actId="20577"/>
          <ac:spMkLst>
            <pc:docMk/>
            <pc:sldMk cId="1761241630" sldId="141168943"/>
            <ac:spMk id="6" creationId="{46EB43AA-374F-4AD0-8E09-CD93A25586E8}"/>
          </ac:spMkLst>
        </pc:spChg>
        <pc:spChg chg="mod">
          <ac:chgData name="Sourav Bose" userId="a3480f76-fe68-4c03-a922-c4aa16f9bb6b" providerId="ADAL" clId="{DBB6B645-C36E-4B21-9704-373E2A71DC5E}" dt="2020-07-03T01:45:15.450" v="20924" actId="1035"/>
          <ac:spMkLst>
            <pc:docMk/>
            <pc:sldMk cId="1761241630" sldId="141168943"/>
            <ac:spMk id="7" creationId="{A5A5B994-1FB2-4D85-AC55-9201CD6438E8}"/>
          </ac:spMkLst>
        </pc:spChg>
        <pc:spChg chg="add del mod">
          <ac:chgData name="Sourav Bose" userId="a3480f76-fe68-4c03-a922-c4aa16f9bb6b" providerId="ADAL" clId="{DBB6B645-C36E-4B21-9704-373E2A71DC5E}" dt="2020-07-02T01:14:45.727" v="3865" actId="478"/>
          <ac:spMkLst>
            <pc:docMk/>
            <pc:sldMk cId="1761241630" sldId="141168943"/>
            <ac:spMk id="18" creationId="{20A89171-787C-4FBE-A3ED-535EE31DAD3B}"/>
          </ac:spMkLst>
        </pc:spChg>
        <pc:spChg chg="mod">
          <ac:chgData name="Sourav Bose" userId="a3480f76-fe68-4c03-a922-c4aa16f9bb6b" providerId="ADAL" clId="{DBB6B645-C36E-4B21-9704-373E2A71DC5E}" dt="2020-07-03T02:03:35.927" v="21184" actId="14100"/>
          <ac:spMkLst>
            <pc:docMk/>
            <pc:sldMk cId="1761241630" sldId="141168943"/>
            <ac:spMk id="22" creationId="{DBF2748D-8A18-4A9F-9AD8-82313FD90275}"/>
          </ac:spMkLst>
        </pc:spChg>
        <pc:spChg chg="del">
          <ac:chgData name="Sourav Bose" userId="a3480f76-fe68-4c03-a922-c4aa16f9bb6b" providerId="ADAL" clId="{DBB6B645-C36E-4B21-9704-373E2A71DC5E}" dt="2020-07-03T01:55:58.896" v="21069" actId="478"/>
          <ac:spMkLst>
            <pc:docMk/>
            <pc:sldMk cId="1761241630" sldId="141168943"/>
            <ac:spMk id="30" creationId="{1497C08D-6DC5-4790-85D0-8947570265E9}"/>
          </ac:spMkLst>
        </pc:spChg>
        <pc:spChg chg="mod">
          <ac:chgData name="Sourav Bose" userId="a3480f76-fe68-4c03-a922-c4aa16f9bb6b" providerId="ADAL" clId="{DBB6B645-C36E-4B21-9704-373E2A71DC5E}" dt="2020-07-03T07:26:46.663" v="30374" actId="20577"/>
          <ac:spMkLst>
            <pc:docMk/>
            <pc:sldMk cId="1761241630" sldId="141168943"/>
            <ac:spMk id="35" creationId="{EB7DAEAC-165C-4420-981E-8976453D7FA5}"/>
          </ac:spMkLst>
        </pc:spChg>
        <pc:spChg chg="mod">
          <ac:chgData name="Sourav Bose" userId="a3480f76-fe68-4c03-a922-c4aa16f9bb6b" providerId="ADAL" clId="{DBB6B645-C36E-4B21-9704-373E2A71DC5E}" dt="2020-07-03T01:53:09.556" v="21068" actId="20577"/>
          <ac:spMkLst>
            <pc:docMk/>
            <pc:sldMk cId="1761241630" sldId="141168943"/>
            <ac:spMk id="37" creationId="{0A74E8DB-55EE-45D6-83A7-5C66210B622D}"/>
          </ac:spMkLst>
        </pc:spChg>
        <pc:spChg chg="mod">
          <ac:chgData name="Sourav Bose" userId="a3480f76-fe68-4c03-a922-c4aa16f9bb6b" providerId="ADAL" clId="{DBB6B645-C36E-4B21-9704-373E2A71DC5E}" dt="2020-07-03T01:52:11.620" v="21000" actId="20577"/>
          <ac:spMkLst>
            <pc:docMk/>
            <pc:sldMk cId="1761241630" sldId="141168943"/>
            <ac:spMk id="39" creationId="{9E616BA2-2BE8-4C95-A2FD-7CA3065925E8}"/>
          </ac:spMkLst>
        </pc:spChg>
        <pc:spChg chg="mod">
          <ac:chgData name="Sourav Bose" userId="a3480f76-fe68-4c03-a922-c4aa16f9bb6b" providerId="ADAL" clId="{DBB6B645-C36E-4B21-9704-373E2A71DC5E}" dt="2020-07-03T01:45:15.450" v="20924" actId="1035"/>
          <ac:spMkLst>
            <pc:docMk/>
            <pc:sldMk cId="1761241630" sldId="141168943"/>
            <ac:spMk id="41" creationId="{6CFAF581-0EF9-4F41-B198-4B84A3A0C4BD}"/>
          </ac:spMkLst>
        </pc:spChg>
        <pc:spChg chg="mod">
          <ac:chgData name="Sourav Bose" userId="a3480f76-fe68-4c03-a922-c4aa16f9bb6b" providerId="ADAL" clId="{DBB6B645-C36E-4B21-9704-373E2A71DC5E}" dt="2020-07-03T01:45:15.450" v="20924" actId="1035"/>
          <ac:spMkLst>
            <pc:docMk/>
            <pc:sldMk cId="1761241630" sldId="141168943"/>
            <ac:spMk id="43" creationId="{5D42A428-B14D-420F-AF26-311FE6462513}"/>
          </ac:spMkLst>
        </pc:spChg>
        <pc:spChg chg="del mod">
          <ac:chgData name="Sourav Bose" userId="a3480f76-fe68-4c03-a922-c4aa16f9bb6b" providerId="ADAL" clId="{DBB6B645-C36E-4B21-9704-373E2A71DC5E}" dt="2020-07-02T08:30:33.041" v="12194" actId="478"/>
          <ac:spMkLst>
            <pc:docMk/>
            <pc:sldMk cId="1761241630" sldId="141168943"/>
            <ac:spMk id="45" creationId="{48813DA7-83E4-4DD2-8412-652F79FE46B0}"/>
          </ac:spMkLst>
        </pc:spChg>
        <pc:spChg chg="mod">
          <ac:chgData name="Sourav Bose" userId="a3480f76-fe68-4c03-a922-c4aa16f9bb6b" providerId="ADAL" clId="{DBB6B645-C36E-4B21-9704-373E2A71DC5E}" dt="2020-07-03T01:45:15.450" v="20924" actId="1035"/>
          <ac:spMkLst>
            <pc:docMk/>
            <pc:sldMk cId="1761241630" sldId="141168943"/>
            <ac:spMk id="46" creationId="{C31AA3E6-C134-48E2-B8E2-2B134E9A0807}"/>
          </ac:spMkLst>
        </pc:spChg>
        <pc:spChg chg="del mod">
          <ac:chgData name="Sourav Bose" userId="a3480f76-fe68-4c03-a922-c4aa16f9bb6b" providerId="ADAL" clId="{DBB6B645-C36E-4B21-9704-373E2A71DC5E}" dt="2020-07-02T08:47:39.990" v="12709" actId="478"/>
          <ac:spMkLst>
            <pc:docMk/>
            <pc:sldMk cId="1761241630" sldId="141168943"/>
            <ac:spMk id="47" creationId="{FCBAA09F-E88C-49A9-BEF2-CF4465ABFEF1}"/>
          </ac:spMkLst>
        </pc:spChg>
        <pc:spChg chg="del mod">
          <ac:chgData name="Sourav Bose" userId="a3480f76-fe68-4c03-a922-c4aa16f9bb6b" providerId="ADAL" clId="{DBB6B645-C36E-4B21-9704-373E2A71DC5E}" dt="2020-07-02T06:03:27.063" v="10048" actId="478"/>
          <ac:spMkLst>
            <pc:docMk/>
            <pc:sldMk cId="1761241630" sldId="141168943"/>
            <ac:spMk id="48" creationId="{4A3601ED-638A-44D6-A951-EA759638C558}"/>
          </ac:spMkLst>
        </pc:spChg>
        <pc:spChg chg="mod">
          <ac:chgData name="Sourav Bose" userId="a3480f76-fe68-4c03-a922-c4aa16f9bb6b" providerId="ADAL" clId="{DBB6B645-C36E-4B21-9704-373E2A71DC5E}" dt="2020-07-03T05:36:27.369" v="27484" actId="20577"/>
          <ac:spMkLst>
            <pc:docMk/>
            <pc:sldMk cId="1761241630" sldId="141168943"/>
            <ac:spMk id="49" creationId="{B98F8664-3D43-466B-A6AD-95D229B6679F}"/>
          </ac:spMkLst>
        </pc:spChg>
        <pc:spChg chg="add del mod">
          <ac:chgData name="Sourav Bose" userId="a3480f76-fe68-4c03-a922-c4aa16f9bb6b" providerId="ADAL" clId="{DBB6B645-C36E-4B21-9704-373E2A71DC5E}" dt="2020-07-02T08:47:38.122" v="12708" actId="478"/>
          <ac:spMkLst>
            <pc:docMk/>
            <pc:sldMk cId="1761241630" sldId="141168943"/>
            <ac:spMk id="50" creationId="{E54C0287-D3A7-4CEA-9014-AB3136F5688F}"/>
          </ac:spMkLst>
        </pc:spChg>
        <pc:spChg chg="mod">
          <ac:chgData name="Sourav Bose" userId="a3480f76-fe68-4c03-a922-c4aa16f9bb6b" providerId="ADAL" clId="{DBB6B645-C36E-4B21-9704-373E2A71DC5E}" dt="2020-07-03T05:36:41.458" v="27492" actId="20577"/>
          <ac:spMkLst>
            <pc:docMk/>
            <pc:sldMk cId="1761241630" sldId="141168943"/>
            <ac:spMk id="51" creationId="{68037DC6-87A6-49F0-A40D-65B22948DBFB}"/>
          </ac:spMkLst>
        </pc:spChg>
        <pc:spChg chg="mod">
          <ac:chgData name="Sourav Bose" userId="a3480f76-fe68-4c03-a922-c4aa16f9bb6b" providerId="ADAL" clId="{DBB6B645-C36E-4B21-9704-373E2A71DC5E}" dt="2020-07-03T07:26:55.763" v="30376" actId="20577"/>
          <ac:spMkLst>
            <pc:docMk/>
            <pc:sldMk cId="1761241630" sldId="141168943"/>
            <ac:spMk id="54" creationId="{A1CB547D-E6E6-4791-81AA-89D7B3E95C79}"/>
          </ac:spMkLst>
        </pc:spChg>
        <pc:spChg chg="mod">
          <ac:chgData name="Sourav Bose" userId="a3480f76-fe68-4c03-a922-c4aa16f9bb6b" providerId="ADAL" clId="{DBB6B645-C36E-4B21-9704-373E2A71DC5E}" dt="2020-07-03T01:45:15.450" v="20924" actId="1035"/>
          <ac:spMkLst>
            <pc:docMk/>
            <pc:sldMk cId="1761241630" sldId="141168943"/>
            <ac:spMk id="55" creationId="{628DDCB8-C9F8-4A19-9462-D16AD5212224}"/>
          </ac:spMkLst>
        </pc:spChg>
        <pc:spChg chg="add del mod">
          <ac:chgData name="Sourav Bose" userId="a3480f76-fe68-4c03-a922-c4aa16f9bb6b" providerId="ADAL" clId="{DBB6B645-C36E-4B21-9704-373E2A71DC5E}" dt="2020-07-02T01:17:35.420" v="3949" actId="478"/>
          <ac:spMkLst>
            <pc:docMk/>
            <pc:sldMk cId="1761241630" sldId="141168943"/>
            <ac:spMk id="56" creationId="{2D1FDC6E-DC72-44E2-87D1-A2476C89F310}"/>
          </ac:spMkLst>
        </pc:spChg>
        <pc:spChg chg="mod">
          <ac:chgData name="Sourav Bose" userId="a3480f76-fe68-4c03-a922-c4aa16f9bb6b" providerId="ADAL" clId="{DBB6B645-C36E-4B21-9704-373E2A71DC5E}" dt="2020-07-03T07:27:19.991" v="30390" actId="20577"/>
          <ac:spMkLst>
            <pc:docMk/>
            <pc:sldMk cId="1761241630" sldId="141168943"/>
            <ac:spMk id="60" creationId="{302C41E6-31E2-43F4-BD3C-135F61E82238}"/>
          </ac:spMkLst>
        </pc:spChg>
        <pc:spChg chg="add del mod">
          <ac:chgData name="Sourav Bose" userId="a3480f76-fe68-4c03-a922-c4aa16f9bb6b" providerId="ADAL" clId="{DBB6B645-C36E-4B21-9704-373E2A71DC5E}" dt="2020-07-02T09:07:05.553" v="13008" actId="478"/>
          <ac:spMkLst>
            <pc:docMk/>
            <pc:sldMk cId="1761241630" sldId="141168943"/>
            <ac:spMk id="61" creationId="{EA61920C-C281-46F1-B800-5FB0B1E2A92D}"/>
          </ac:spMkLst>
        </pc:spChg>
        <pc:spChg chg="add mod">
          <ac:chgData name="Sourav Bose" userId="a3480f76-fe68-4c03-a922-c4aa16f9bb6b" providerId="ADAL" clId="{DBB6B645-C36E-4B21-9704-373E2A71DC5E}" dt="2020-07-03T01:47:12.532" v="20941" actId="1035"/>
          <ac:spMkLst>
            <pc:docMk/>
            <pc:sldMk cId="1761241630" sldId="141168943"/>
            <ac:spMk id="62" creationId="{8837FE24-685C-46AF-A0C6-F5FA860DECA3}"/>
          </ac:spMkLst>
        </pc:spChg>
        <pc:spChg chg="mod">
          <ac:chgData name="Sourav Bose" userId="a3480f76-fe68-4c03-a922-c4aa16f9bb6b" providerId="ADAL" clId="{DBB6B645-C36E-4B21-9704-373E2A71DC5E}" dt="2020-07-03T01:45:15.450" v="20924" actId="1035"/>
          <ac:spMkLst>
            <pc:docMk/>
            <pc:sldMk cId="1761241630" sldId="141168943"/>
            <ac:spMk id="63" creationId="{084F1FF9-F720-467F-B5CA-79563DA28798}"/>
          </ac:spMkLst>
        </pc:spChg>
        <pc:spChg chg="mod">
          <ac:chgData name="Sourav Bose" userId="a3480f76-fe68-4c03-a922-c4aa16f9bb6b" providerId="ADAL" clId="{DBB6B645-C36E-4B21-9704-373E2A71DC5E}" dt="2020-07-03T01:45:15.450" v="20924" actId="1035"/>
          <ac:spMkLst>
            <pc:docMk/>
            <pc:sldMk cId="1761241630" sldId="141168943"/>
            <ac:spMk id="64" creationId="{37F506FC-7505-4097-9DBB-749F28F4747A}"/>
          </ac:spMkLst>
        </pc:spChg>
        <pc:spChg chg="add del mod">
          <ac:chgData name="Sourav Bose" userId="a3480f76-fe68-4c03-a922-c4aa16f9bb6b" providerId="ADAL" clId="{DBB6B645-C36E-4B21-9704-373E2A71DC5E}" dt="2020-07-03T01:45:01.823" v="20909" actId="478"/>
          <ac:spMkLst>
            <pc:docMk/>
            <pc:sldMk cId="1761241630" sldId="141168943"/>
            <ac:spMk id="67" creationId="{DB645B9C-8FC6-42D5-A4EA-B14F1B924331}"/>
          </ac:spMkLst>
        </pc:spChg>
        <pc:spChg chg="del mod">
          <ac:chgData name="Sourav Bose" userId="a3480f76-fe68-4c03-a922-c4aa16f9bb6b" providerId="ADAL" clId="{DBB6B645-C36E-4B21-9704-373E2A71DC5E}" dt="2020-07-02T08:29:48.550" v="12193" actId="478"/>
          <ac:spMkLst>
            <pc:docMk/>
            <pc:sldMk cId="1761241630" sldId="141168943"/>
            <ac:spMk id="70" creationId="{9929B687-D021-4993-AD49-7FE08665ECE1}"/>
          </ac:spMkLst>
        </pc:spChg>
        <pc:spChg chg="mod">
          <ac:chgData name="Sourav Bose" userId="a3480f76-fe68-4c03-a922-c4aa16f9bb6b" providerId="ADAL" clId="{DBB6B645-C36E-4B21-9704-373E2A71DC5E}" dt="2020-07-03T03:31:59.535" v="23261" actId="14100"/>
          <ac:spMkLst>
            <pc:docMk/>
            <pc:sldMk cId="1761241630" sldId="141168943"/>
            <ac:spMk id="71" creationId="{37020F9B-DF42-465D-9F20-D61FD276BE12}"/>
          </ac:spMkLst>
        </pc:spChg>
        <pc:spChg chg="mod">
          <ac:chgData name="Sourav Bose" userId="a3480f76-fe68-4c03-a922-c4aa16f9bb6b" providerId="ADAL" clId="{DBB6B645-C36E-4B21-9704-373E2A71DC5E}" dt="2020-07-03T03:31:46.238" v="23244" actId="108"/>
          <ac:spMkLst>
            <pc:docMk/>
            <pc:sldMk cId="1761241630" sldId="141168943"/>
            <ac:spMk id="72" creationId="{B2F865CC-77EF-4C84-9FC7-A7AC50644AB3}"/>
          </ac:spMkLst>
        </pc:spChg>
        <pc:spChg chg="mod">
          <ac:chgData name="Sourav Bose" userId="a3480f76-fe68-4c03-a922-c4aa16f9bb6b" providerId="ADAL" clId="{DBB6B645-C36E-4B21-9704-373E2A71DC5E}" dt="2020-07-03T05:37:47.431" v="27516" actId="20577"/>
          <ac:spMkLst>
            <pc:docMk/>
            <pc:sldMk cId="1761241630" sldId="141168943"/>
            <ac:spMk id="74" creationId="{5BADF0CF-661A-4BA0-A3CE-7FA99BB7749D}"/>
          </ac:spMkLst>
        </pc:spChg>
        <pc:spChg chg="del mod">
          <ac:chgData name="Sourav Bose" userId="a3480f76-fe68-4c03-a922-c4aa16f9bb6b" providerId="ADAL" clId="{DBB6B645-C36E-4B21-9704-373E2A71DC5E}" dt="2020-07-02T08:46:30.454" v="12646" actId="478"/>
          <ac:spMkLst>
            <pc:docMk/>
            <pc:sldMk cId="1761241630" sldId="141168943"/>
            <ac:spMk id="75" creationId="{09E33237-7E63-4F2A-BC68-7CD5835433B2}"/>
          </ac:spMkLst>
        </pc:spChg>
        <pc:spChg chg="add del mod">
          <ac:chgData name="Sourav Bose" userId="a3480f76-fe68-4c03-a922-c4aa16f9bb6b" providerId="ADAL" clId="{DBB6B645-C36E-4B21-9704-373E2A71DC5E}" dt="2020-07-02T06:09:07.548" v="10369" actId="478"/>
          <ac:spMkLst>
            <pc:docMk/>
            <pc:sldMk cId="1761241630" sldId="141168943"/>
            <ac:spMk id="81" creationId="{D3584AA5-F1CB-4D42-B1C1-1301752B20EC}"/>
          </ac:spMkLst>
        </pc:spChg>
        <pc:spChg chg="add del mod">
          <ac:chgData name="Sourav Bose" userId="a3480f76-fe68-4c03-a922-c4aa16f9bb6b" providerId="ADAL" clId="{DBB6B645-C36E-4B21-9704-373E2A71DC5E}" dt="2020-07-02T08:44:32.076" v="12565" actId="478"/>
          <ac:spMkLst>
            <pc:docMk/>
            <pc:sldMk cId="1761241630" sldId="141168943"/>
            <ac:spMk id="82" creationId="{336A072C-F04F-45FF-B268-443EB002E53C}"/>
          </ac:spMkLst>
        </pc:spChg>
        <pc:spChg chg="add del mod">
          <ac:chgData name="Sourav Bose" userId="a3480f76-fe68-4c03-a922-c4aa16f9bb6b" providerId="ADAL" clId="{DBB6B645-C36E-4B21-9704-373E2A71DC5E}" dt="2020-07-02T08:44:29.709" v="12564" actId="478"/>
          <ac:spMkLst>
            <pc:docMk/>
            <pc:sldMk cId="1761241630" sldId="141168943"/>
            <ac:spMk id="83" creationId="{A92F4E49-F8DE-4F6A-8C7F-76D16369E03D}"/>
          </ac:spMkLst>
        </pc:spChg>
        <pc:spChg chg="add mod">
          <ac:chgData name="Sourav Bose" userId="a3480f76-fe68-4c03-a922-c4aa16f9bb6b" providerId="ADAL" clId="{DBB6B645-C36E-4B21-9704-373E2A71DC5E}" dt="2020-07-03T05:37:19.069" v="27510" actId="14100"/>
          <ac:spMkLst>
            <pc:docMk/>
            <pc:sldMk cId="1761241630" sldId="141168943"/>
            <ac:spMk id="84" creationId="{67D80ECF-EA25-4546-BC77-E267A58DDF04}"/>
          </ac:spMkLst>
        </pc:spChg>
        <pc:spChg chg="add mod">
          <ac:chgData name="Sourav Bose" userId="a3480f76-fe68-4c03-a922-c4aa16f9bb6b" providerId="ADAL" clId="{DBB6B645-C36E-4B21-9704-373E2A71DC5E}" dt="2020-07-03T07:27:38.155" v="30398" actId="20577"/>
          <ac:spMkLst>
            <pc:docMk/>
            <pc:sldMk cId="1761241630" sldId="141168943"/>
            <ac:spMk id="85" creationId="{992C5C10-EB59-4B7F-866E-7413A8695C8D}"/>
          </ac:spMkLst>
        </pc:spChg>
        <pc:spChg chg="add mod">
          <ac:chgData name="Sourav Bose" userId="a3480f76-fe68-4c03-a922-c4aa16f9bb6b" providerId="ADAL" clId="{DBB6B645-C36E-4B21-9704-373E2A71DC5E}" dt="2020-07-03T07:27:13.379" v="30386" actId="20577"/>
          <ac:spMkLst>
            <pc:docMk/>
            <pc:sldMk cId="1761241630" sldId="141168943"/>
            <ac:spMk id="86" creationId="{B17013A2-ED4B-4F4C-AAB0-5D222A2EB0F5}"/>
          </ac:spMkLst>
        </pc:spChg>
        <pc:spChg chg="add mod">
          <ac:chgData name="Sourav Bose" userId="a3480f76-fe68-4c03-a922-c4aa16f9bb6b" providerId="ADAL" clId="{DBB6B645-C36E-4B21-9704-373E2A71DC5E}" dt="2020-07-03T07:27:02.886" v="30380" actId="20577"/>
          <ac:spMkLst>
            <pc:docMk/>
            <pc:sldMk cId="1761241630" sldId="141168943"/>
            <ac:spMk id="104" creationId="{F60CE76C-8F35-4846-A586-8FA2E9BB490D}"/>
          </ac:spMkLst>
        </pc:spChg>
        <pc:spChg chg="add mod">
          <ac:chgData name="Sourav Bose" userId="a3480f76-fe68-4c03-a922-c4aa16f9bb6b" providerId="ADAL" clId="{DBB6B645-C36E-4B21-9704-373E2A71DC5E}" dt="2020-07-02T09:08:43.624" v="13057" actId="571"/>
          <ac:spMkLst>
            <pc:docMk/>
            <pc:sldMk cId="1761241630" sldId="141168943"/>
            <ac:spMk id="105" creationId="{4F703D95-4EC9-4EC5-94ED-E0740A9321A0}"/>
          </ac:spMkLst>
        </pc:spChg>
        <pc:spChg chg="add mod">
          <ac:chgData name="Sourav Bose" userId="a3480f76-fe68-4c03-a922-c4aa16f9bb6b" providerId="ADAL" clId="{DBB6B645-C36E-4B21-9704-373E2A71DC5E}" dt="2020-07-02T09:08:43.624" v="13057" actId="571"/>
          <ac:spMkLst>
            <pc:docMk/>
            <pc:sldMk cId="1761241630" sldId="141168943"/>
            <ac:spMk id="106" creationId="{1AA3B41B-5FB5-4989-A670-43A55FD06DFF}"/>
          </ac:spMkLst>
        </pc:spChg>
        <pc:spChg chg="add mod">
          <ac:chgData name="Sourav Bose" userId="a3480f76-fe68-4c03-a922-c4aa16f9bb6b" providerId="ADAL" clId="{DBB6B645-C36E-4B21-9704-373E2A71DC5E}" dt="2020-07-03T01:45:15.450" v="20924" actId="1035"/>
          <ac:spMkLst>
            <pc:docMk/>
            <pc:sldMk cId="1761241630" sldId="141168943"/>
            <ac:spMk id="107" creationId="{7AA305EE-AF52-4E71-85F9-A84FC25EDA1D}"/>
          </ac:spMkLst>
        </pc:spChg>
        <pc:spChg chg="del topLvl">
          <ac:chgData name="Sourav Bose" userId="a3480f76-fe68-4c03-a922-c4aa16f9bb6b" providerId="ADAL" clId="{DBB6B645-C36E-4B21-9704-373E2A71DC5E}" dt="2020-07-02T09:39:21.269" v="14016" actId="478"/>
          <ac:spMkLst>
            <pc:docMk/>
            <pc:sldMk cId="1761241630" sldId="141168943"/>
            <ac:spMk id="109" creationId="{8D0BE43A-7E33-4617-94D4-12BAE9C19372}"/>
          </ac:spMkLst>
        </pc:spChg>
        <pc:spChg chg="del mod topLvl">
          <ac:chgData name="Sourav Bose" userId="a3480f76-fe68-4c03-a922-c4aa16f9bb6b" providerId="ADAL" clId="{DBB6B645-C36E-4B21-9704-373E2A71DC5E}" dt="2020-07-02T09:39:59.558" v="14045" actId="478"/>
          <ac:spMkLst>
            <pc:docMk/>
            <pc:sldMk cId="1761241630" sldId="141168943"/>
            <ac:spMk id="110" creationId="{E62E7E06-3B36-4871-8DA8-CC88E3524BA9}"/>
          </ac:spMkLst>
        </pc:spChg>
        <pc:spChg chg="add del">
          <ac:chgData name="Sourav Bose" userId="a3480f76-fe68-4c03-a922-c4aa16f9bb6b" providerId="ADAL" clId="{DBB6B645-C36E-4B21-9704-373E2A71DC5E}" dt="2020-07-02T09:40:04.205" v="14049"/>
          <ac:spMkLst>
            <pc:docMk/>
            <pc:sldMk cId="1761241630" sldId="141168943"/>
            <ac:spMk id="111" creationId="{F046E29E-BB60-4758-AA26-4513C9FAB443}"/>
          </ac:spMkLst>
        </pc:spChg>
        <pc:spChg chg="add del">
          <ac:chgData name="Sourav Bose" userId="a3480f76-fe68-4c03-a922-c4aa16f9bb6b" providerId="ADAL" clId="{DBB6B645-C36E-4B21-9704-373E2A71DC5E}" dt="2020-07-02T09:40:02.921" v="14048"/>
          <ac:spMkLst>
            <pc:docMk/>
            <pc:sldMk cId="1761241630" sldId="141168943"/>
            <ac:spMk id="112" creationId="{2BBB3F0B-1D80-474C-AB62-7CFEAA1D5B71}"/>
          </ac:spMkLst>
        </pc:spChg>
        <pc:spChg chg="add mod">
          <ac:chgData name="Sourav Bose" userId="a3480f76-fe68-4c03-a922-c4aa16f9bb6b" providerId="ADAL" clId="{DBB6B645-C36E-4B21-9704-373E2A71DC5E}" dt="2020-07-03T01:45:15.450" v="20924" actId="1035"/>
          <ac:spMkLst>
            <pc:docMk/>
            <pc:sldMk cId="1761241630" sldId="141168943"/>
            <ac:spMk id="113" creationId="{04012CA0-7B8D-46A6-9407-E23D98181E73}"/>
          </ac:spMkLst>
        </pc:spChg>
        <pc:grpChg chg="mod">
          <ac:chgData name="Sourav Bose" userId="a3480f76-fe68-4c03-a922-c4aa16f9bb6b" providerId="ADAL" clId="{DBB6B645-C36E-4B21-9704-373E2A71DC5E}" dt="2020-07-03T01:45:15.450" v="20924" actId="1035"/>
          <ac:grpSpMkLst>
            <pc:docMk/>
            <pc:sldMk cId="1761241630" sldId="141168943"/>
            <ac:grpSpMk id="21" creationId="{B0B96BB2-6AA1-4C9C-977E-8105167D4AED}"/>
          </ac:grpSpMkLst>
        </pc:grpChg>
        <pc:grpChg chg="mod">
          <ac:chgData name="Sourav Bose" userId="a3480f76-fe68-4c03-a922-c4aa16f9bb6b" providerId="ADAL" clId="{DBB6B645-C36E-4B21-9704-373E2A71DC5E}" dt="2020-07-03T01:45:15.450" v="20924" actId="1035"/>
          <ac:grpSpMkLst>
            <pc:docMk/>
            <pc:sldMk cId="1761241630" sldId="141168943"/>
            <ac:grpSpMk id="23" creationId="{C7EB8789-F8E6-48AF-BA29-1A6DB230719E}"/>
          </ac:grpSpMkLst>
        </pc:grpChg>
        <pc:grpChg chg="mod">
          <ac:chgData name="Sourav Bose" userId="a3480f76-fe68-4c03-a922-c4aa16f9bb6b" providerId="ADAL" clId="{DBB6B645-C36E-4B21-9704-373E2A71DC5E}" dt="2020-07-03T01:45:15.450" v="20924" actId="1035"/>
          <ac:grpSpMkLst>
            <pc:docMk/>
            <pc:sldMk cId="1761241630" sldId="141168943"/>
            <ac:grpSpMk id="24" creationId="{B9B72344-D04D-43B1-874A-2E71EDC1AFE8}"/>
          </ac:grpSpMkLst>
        </pc:grpChg>
        <pc:grpChg chg="mod">
          <ac:chgData name="Sourav Bose" userId="a3480f76-fe68-4c03-a922-c4aa16f9bb6b" providerId="ADAL" clId="{DBB6B645-C36E-4B21-9704-373E2A71DC5E}" dt="2020-07-03T01:45:15.450" v="20924" actId="1035"/>
          <ac:grpSpMkLst>
            <pc:docMk/>
            <pc:sldMk cId="1761241630" sldId="141168943"/>
            <ac:grpSpMk id="25" creationId="{7C1D9E9B-EE36-49CE-8F18-3FFCECD08063}"/>
          </ac:grpSpMkLst>
        </pc:grpChg>
        <pc:grpChg chg="add mod">
          <ac:chgData name="Sourav Bose" userId="a3480f76-fe68-4c03-a922-c4aa16f9bb6b" providerId="ADAL" clId="{DBB6B645-C36E-4B21-9704-373E2A71DC5E}" dt="2020-07-03T01:45:15.450" v="20924" actId="1035"/>
          <ac:grpSpMkLst>
            <pc:docMk/>
            <pc:sldMk cId="1761241630" sldId="141168943"/>
            <ac:grpSpMk id="57" creationId="{00090ED1-23A4-4AC4-9A7E-094638E21925}"/>
          </ac:grpSpMkLst>
        </pc:grpChg>
        <pc:grpChg chg="add mod">
          <ac:chgData name="Sourav Bose" userId="a3480f76-fe68-4c03-a922-c4aa16f9bb6b" providerId="ADAL" clId="{DBB6B645-C36E-4B21-9704-373E2A71DC5E}" dt="2020-07-03T03:30:08.949" v="23181" actId="1036"/>
          <ac:grpSpMkLst>
            <pc:docMk/>
            <pc:sldMk cId="1761241630" sldId="141168943"/>
            <ac:grpSpMk id="58" creationId="{6610997E-3451-411D-AAFE-D6FF4E7BEF1C}"/>
          </ac:grpSpMkLst>
        </pc:grpChg>
        <pc:grpChg chg="add mod">
          <ac:chgData name="Sourav Bose" userId="a3480f76-fe68-4c03-a922-c4aa16f9bb6b" providerId="ADAL" clId="{DBB6B645-C36E-4B21-9704-373E2A71DC5E}" dt="2020-07-03T01:45:15.450" v="20924" actId="1035"/>
          <ac:grpSpMkLst>
            <pc:docMk/>
            <pc:sldMk cId="1761241630" sldId="141168943"/>
            <ac:grpSpMk id="59" creationId="{CF072CE9-B7B2-4E22-B833-E79232C47607}"/>
          </ac:grpSpMkLst>
        </pc:grpChg>
        <pc:grpChg chg="mod">
          <ac:chgData name="Sourav Bose" userId="a3480f76-fe68-4c03-a922-c4aa16f9bb6b" providerId="ADAL" clId="{DBB6B645-C36E-4B21-9704-373E2A71DC5E}" dt="2020-07-03T01:45:15.450" v="20924" actId="1035"/>
          <ac:grpSpMkLst>
            <pc:docMk/>
            <pc:sldMk cId="1761241630" sldId="141168943"/>
            <ac:grpSpMk id="76" creationId="{9E1AEEC5-8062-4CEF-A942-43F6BB10209F}"/>
          </ac:grpSpMkLst>
        </pc:grpChg>
        <pc:grpChg chg="add del mod">
          <ac:chgData name="Sourav Bose" userId="a3480f76-fe68-4c03-a922-c4aa16f9bb6b" providerId="ADAL" clId="{DBB6B645-C36E-4B21-9704-373E2A71DC5E}" dt="2020-07-02T08:58:37.302" v="12938" actId="478"/>
          <ac:grpSpMkLst>
            <pc:docMk/>
            <pc:sldMk cId="1761241630" sldId="141168943"/>
            <ac:grpSpMk id="87" creationId="{2E213936-90B3-4047-B3AA-4DBC7AEF5463}"/>
          </ac:grpSpMkLst>
        </pc:grpChg>
        <pc:grpChg chg="mod">
          <ac:chgData name="Sourav Bose" userId="a3480f76-fe68-4c03-a922-c4aa16f9bb6b" providerId="ADAL" clId="{DBB6B645-C36E-4B21-9704-373E2A71DC5E}" dt="2020-07-03T03:30:08.949" v="23181" actId="1036"/>
          <ac:grpSpMkLst>
            <pc:docMk/>
            <pc:sldMk cId="1761241630" sldId="141168943"/>
            <ac:grpSpMk id="95" creationId="{EA7FE41F-38A1-41FF-8C53-173B6AF94058}"/>
          </ac:grpSpMkLst>
        </pc:grpChg>
        <pc:grpChg chg="add del">
          <ac:chgData name="Sourav Bose" userId="a3480f76-fe68-4c03-a922-c4aa16f9bb6b" providerId="ADAL" clId="{DBB6B645-C36E-4B21-9704-373E2A71DC5E}" dt="2020-07-02T09:39:21.269" v="14016" actId="478"/>
          <ac:grpSpMkLst>
            <pc:docMk/>
            <pc:sldMk cId="1761241630" sldId="141168943"/>
            <ac:grpSpMk id="108" creationId="{BDE65FF0-3621-4826-83EC-AD85C3761A6B}"/>
          </ac:grpSpMkLst>
        </pc:grpChg>
        <pc:picChg chg="add mod">
          <ac:chgData name="Sourav Bose" userId="a3480f76-fe68-4c03-a922-c4aa16f9bb6b" providerId="ADAL" clId="{DBB6B645-C36E-4B21-9704-373E2A71DC5E}" dt="2020-07-02T08:59:03.464" v="12950" actId="164"/>
          <ac:picMkLst>
            <pc:docMk/>
            <pc:sldMk cId="1761241630" sldId="141168943"/>
            <ac:picMk id="103" creationId="{15781C1B-0EE4-494D-BB62-6C472E9F9B9E}"/>
          </ac:picMkLst>
        </pc:picChg>
        <pc:cxnChg chg="del mod">
          <ac:chgData name="Sourav Bose" userId="a3480f76-fe68-4c03-a922-c4aa16f9bb6b" providerId="ADAL" clId="{DBB6B645-C36E-4B21-9704-373E2A71DC5E}" dt="2020-07-02T01:15:56.347" v="3880" actId="478"/>
          <ac:cxnSpMkLst>
            <pc:docMk/>
            <pc:sldMk cId="1761241630" sldId="141168943"/>
            <ac:cxnSpMk id="52" creationId="{93F34C6B-CC1C-404B-B9E6-6921D3F54EF3}"/>
          </ac:cxnSpMkLst>
        </pc:cxnChg>
        <pc:cxnChg chg="del mod">
          <ac:chgData name="Sourav Bose" userId="a3480f76-fe68-4c03-a922-c4aa16f9bb6b" providerId="ADAL" clId="{DBB6B645-C36E-4B21-9704-373E2A71DC5E}" dt="2020-07-02T01:13:54.540" v="3858" actId="478"/>
          <ac:cxnSpMkLst>
            <pc:docMk/>
            <pc:sldMk cId="1761241630" sldId="141168943"/>
            <ac:cxnSpMk id="65" creationId="{37E543B0-C232-4A36-86F0-8116EF55D6CF}"/>
          </ac:cxnSpMkLst>
        </pc:cxnChg>
      </pc:sldChg>
      <pc:sldChg chg="modSp">
        <pc:chgData name="Sourav Bose" userId="a3480f76-fe68-4c03-a922-c4aa16f9bb6b" providerId="ADAL" clId="{DBB6B645-C36E-4B21-9704-373E2A71DC5E}" dt="2020-07-03T04:03:03.732" v="24607" actId="20577"/>
        <pc:sldMkLst>
          <pc:docMk/>
          <pc:sldMk cId="3042526421" sldId="141168945"/>
        </pc:sldMkLst>
        <pc:spChg chg="mod">
          <ac:chgData name="Sourav Bose" userId="a3480f76-fe68-4c03-a922-c4aa16f9bb6b" providerId="ADAL" clId="{DBB6B645-C36E-4B21-9704-373E2A71DC5E}" dt="2020-07-03T04:03:03.732" v="24607" actId="20577"/>
          <ac:spMkLst>
            <pc:docMk/>
            <pc:sldMk cId="3042526421" sldId="141168945"/>
            <ac:spMk id="5" creationId="{1A6C3D31-1A5E-F641-AEFF-8DE3943F771A}"/>
          </ac:spMkLst>
        </pc:spChg>
      </pc:sldChg>
      <pc:sldChg chg="delSp modSp">
        <pc:chgData name="Sourav Bose" userId="a3480f76-fe68-4c03-a922-c4aa16f9bb6b" providerId="ADAL" clId="{DBB6B645-C36E-4B21-9704-373E2A71DC5E}" dt="2020-07-03T08:34:07.194" v="30905" actId="20577"/>
        <pc:sldMkLst>
          <pc:docMk/>
          <pc:sldMk cId="1928068840" sldId="141168946"/>
        </pc:sldMkLst>
        <pc:spChg chg="mod">
          <ac:chgData name="Sourav Bose" userId="a3480f76-fe68-4c03-a922-c4aa16f9bb6b" providerId="ADAL" clId="{DBB6B645-C36E-4B21-9704-373E2A71DC5E}" dt="2020-07-03T06:18:29.401" v="28832" actId="1076"/>
          <ac:spMkLst>
            <pc:docMk/>
            <pc:sldMk cId="1928068840" sldId="141168946"/>
            <ac:spMk id="9" creationId="{179897B6-3BA1-473F-8E4D-3525B1B8807A}"/>
          </ac:spMkLst>
        </pc:spChg>
        <pc:spChg chg="mod">
          <ac:chgData name="Sourav Bose" userId="a3480f76-fe68-4c03-a922-c4aa16f9bb6b" providerId="ADAL" clId="{DBB6B645-C36E-4B21-9704-373E2A71DC5E}" dt="2020-07-03T08:34:07.194" v="30905" actId="20577"/>
          <ac:spMkLst>
            <pc:docMk/>
            <pc:sldMk cId="1928068840" sldId="141168946"/>
            <ac:spMk id="10" creationId="{3446F92E-87AC-494B-ACE8-F197DC3BC996}"/>
          </ac:spMkLst>
        </pc:spChg>
        <pc:spChg chg="del">
          <ac:chgData name="Sourav Bose" userId="a3480f76-fe68-4c03-a922-c4aa16f9bb6b" providerId="ADAL" clId="{DBB6B645-C36E-4B21-9704-373E2A71DC5E}" dt="2020-07-03T06:17:10.853" v="28774" actId="478"/>
          <ac:spMkLst>
            <pc:docMk/>
            <pc:sldMk cId="1928068840" sldId="141168946"/>
            <ac:spMk id="13" creationId="{4BF4C7E4-44C8-4D99-9F53-CD55CF441033}"/>
          </ac:spMkLst>
        </pc:spChg>
        <pc:spChg chg="del">
          <ac:chgData name="Sourav Bose" userId="a3480f76-fe68-4c03-a922-c4aa16f9bb6b" providerId="ADAL" clId="{DBB6B645-C36E-4B21-9704-373E2A71DC5E}" dt="2020-07-03T06:17:58.671" v="28810" actId="478"/>
          <ac:spMkLst>
            <pc:docMk/>
            <pc:sldMk cId="1928068840" sldId="141168946"/>
            <ac:spMk id="14" creationId="{57C0FF8B-C455-4E3A-9B7B-D1573B3B7B23}"/>
          </ac:spMkLst>
        </pc:spChg>
        <pc:spChg chg="del">
          <ac:chgData name="Sourav Bose" userId="a3480f76-fe68-4c03-a922-c4aa16f9bb6b" providerId="ADAL" clId="{DBB6B645-C36E-4B21-9704-373E2A71DC5E}" dt="2020-07-03T06:18:03.343" v="28812" actId="478"/>
          <ac:spMkLst>
            <pc:docMk/>
            <pc:sldMk cId="1928068840" sldId="141168946"/>
            <ac:spMk id="15" creationId="{43A0AEAB-D219-442F-AF1A-7853E69F93C9}"/>
          </ac:spMkLst>
        </pc:spChg>
        <pc:spChg chg="del">
          <ac:chgData name="Sourav Bose" userId="a3480f76-fe68-4c03-a922-c4aa16f9bb6b" providerId="ADAL" clId="{DBB6B645-C36E-4B21-9704-373E2A71DC5E}" dt="2020-07-03T06:19:30.339" v="28928" actId="478"/>
          <ac:spMkLst>
            <pc:docMk/>
            <pc:sldMk cId="1928068840" sldId="141168946"/>
            <ac:spMk id="16" creationId="{82E779CB-8CE5-490C-A8EC-3F2E1CB74ED7}"/>
          </ac:spMkLst>
        </pc:spChg>
        <pc:graphicFrameChg chg="mod modGraphic">
          <ac:chgData name="Sourav Bose" userId="a3480f76-fe68-4c03-a922-c4aa16f9bb6b" providerId="ADAL" clId="{DBB6B645-C36E-4B21-9704-373E2A71DC5E}" dt="2020-07-03T08:33:55.616" v="30904" actId="1036"/>
          <ac:graphicFrameMkLst>
            <pc:docMk/>
            <pc:sldMk cId="1928068840" sldId="141168946"/>
            <ac:graphicFrameMk id="8" creationId="{74D3977E-1465-4850-81DA-36BB90B16619}"/>
          </ac:graphicFrameMkLst>
        </pc:graphicFrameChg>
        <pc:graphicFrameChg chg="del">
          <ac:chgData name="Sourav Bose" userId="a3480f76-fe68-4c03-a922-c4aa16f9bb6b" providerId="ADAL" clId="{DBB6B645-C36E-4B21-9704-373E2A71DC5E}" dt="2020-07-03T06:17:58.671" v="28810" actId="478"/>
          <ac:graphicFrameMkLst>
            <pc:docMk/>
            <pc:sldMk cId="1928068840" sldId="141168946"/>
            <ac:graphicFrameMk id="11" creationId="{31071996-1525-4897-BB73-A4AEE11F32FE}"/>
          </ac:graphicFrameMkLst>
        </pc:graphicFrameChg>
        <pc:graphicFrameChg chg="del">
          <ac:chgData name="Sourav Bose" userId="a3480f76-fe68-4c03-a922-c4aa16f9bb6b" providerId="ADAL" clId="{DBB6B645-C36E-4B21-9704-373E2A71DC5E}" dt="2020-07-03T06:18:00.885" v="28811" actId="478"/>
          <ac:graphicFrameMkLst>
            <pc:docMk/>
            <pc:sldMk cId="1928068840" sldId="141168946"/>
            <ac:graphicFrameMk id="12" creationId="{7430B348-CC6F-4227-909A-3DF8A6D55883}"/>
          </ac:graphicFrameMkLst>
        </pc:graphicFrameChg>
      </pc:sldChg>
      <pc:sldChg chg="del">
        <pc:chgData name="Sourav Bose" userId="a3480f76-fe68-4c03-a922-c4aa16f9bb6b" providerId="ADAL" clId="{DBB6B645-C36E-4B21-9704-373E2A71DC5E}" dt="2020-07-02T04:21:55.912" v="8816" actId="2696"/>
        <pc:sldMkLst>
          <pc:docMk/>
          <pc:sldMk cId="2498890930" sldId="141168949"/>
        </pc:sldMkLst>
      </pc:sldChg>
      <pc:sldChg chg="modSp add del">
        <pc:chgData name="Sourav Bose" userId="a3480f76-fe68-4c03-a922-c4aa16f9bb6b" providerId="ADAL" clId="{DBB6B645-C36E-4B21-9704-373E2A71DC5E}" dt="2020-07-03T05:35:19.404" v="27472" actId="2696"/>
        <pc:sldMkLst>
          <pc:docMk/>
          <pc:sldMk cId="3310914647" sldId="141168960"/>
        </pc:sldMkLst>
        <pc:graphicFrameChg chg="modGraphic">
          <ac:chgData name="Sourav Bose" userId="a3480f76-fe68-4c03-a922-c4aa16f9bb6b" providerId="ADAL" clId="{DBB6B645-C36E-4B21-9704-373E2A71DC5E}" dt="2020-06-29T08:46:53.891" v="3714" actId="20577"/>
          <ac:graphicFrameMkLst>
            <pc:docMk/>
            <pc:sldMk cId="3310914647" sldId="141168960"/>
            <ac:graphicFrameMk id="7" creationId="{031644C0-27D7-FE46-9B47-4B6F21517174}"/>
          </ac:graphicFrameMkLst>
        </pc:graphicFrameChg>
        <pc:picChg chg="mod">
          <ac:chgData name="Sourav Bose" userId="a3480f76-fe68-4c03-a922-c4aa16f9bb6b" providerId="ADAL" clId="{DBB6B645-C36E-4B21-9704-373E2A71DC5E}" dt="2020-06-29T03:56:36.585" v="9" actId="14100"/>
          <ac:picMkLst>
            <pc:docMk/>
            <pc:sldMk cId="3310914647" sldId="141168960"/>
            <ac:picMk id="8" creationId="{A1DCF3DA-B32D-B34D-BFD5-320B7586E764}"/>
          </ac:picMkLst>
        </pc:picChg>
      </pc:sldChg>
      <pc:sldChg chg="addSp delSp modSp">
        <pc:chgData name="Sourav Bose" userId="a3480f76-fe68-4c03-a922-c4aa16f9bb6b" providerId="ADAL" clId="{DBB6B645-C36E-4B21-9704-373E2A71DC5E}" dt="2020-07-03T08:24:42.459" v="30514" actId="20577"/>
        <pc:sldMkLst>
          <pc:docMk/>
          <pc:sldMk cId="1369094254" sldId="141168973"/>
        </pc:sldMkLst>
        <pc:spChg chg="mod">
          <ac:chgData name="Sourav Bose" userId="a3480f76-fe68-4c03-a922-c4aa16f9bb6b" providerId="ADAL" clId="{DBB6B645-C36E-4B21-9704-373E2A71DC5E}" dt="2020-07-03T01:30:54.939" v="20446" actId="20577"/>
          <ac:spMkLst>
            <pc:docMk/>
            <pc:sldMk cId="1369094254" sldId="141168973"/>
            <ac:spMk id="2" creationId="{A465C076-F93C-4A0A-8DBE-387F833B198C}"/>
          </ac:spMkLst>
        </pc:spChg>
        <pc:spChg chg="add mod ord topLvl">
          <ac:chgData name="Sourav Bose" userId="a3480f76-fe68-4c03-a922-c4aa16f9bb6b" providerId="ADAL" clId="{DBB6B645-C36E-4B21-9704-373E2A71DC5E}" dt="2020-07-03T01:31:50.945" v="20470" actId="1035"/>
          <ac:spMkLst>
            <pc:docMk/>
            <pc:sldMk cId="1369094254" sldId="141168973"/>
            <ac:spMk id="3" creationId="{23E72B4A-91A7-4226-AA65-85E3C6D46B80}"/>
          </ac:spMkLst>
        </pc:spChg>
        <pc:spChg chg="add mod ord topLvl">
          <ac:chgData name="Sourav Bose" userId="a3480f76-fe68-4c03-a922-c4aa16f9bb6b" providerId="ADAL" clId="{DBB6B645-C36E-4B21-9704-373E2A71DC5E}" dt="2020-07-03T01:31:50.945" v="20470" actId="1035"/>
          <ac:spMkLst>
            <pc:docMk/>
            <pc:sldMk cId="1369094254" sldId="141168973"/>
            <ac:spMk id="4" creationId="{205D2CEB-7F51-46B3-95E4-6E07CA2B7859}"/>
          </ac:spMkLst>
        </pc:spChg>
        <pc:spChg chg="add mod ord topLvl">
          <ac:chgData name="Sourav Bose" userId="a3480f76-fe68-4c03-a922-c4aa16f9bb6b" providerId="ADAL" clId="{DBB6B645-C36E-4B21-9704-373E2A71DC5E}" dt="2020-07-03T01:31:50.945" v="20470" actId="1035"/>
          <ac:spMkLst>
            <pc:docMk/>
            <pc:sldMk cId="1369094254" sldId="141168973"/>
            <ac:spMk id="5" creationId="{3EF1341B-E2D5-444D-BBCF-4D5ED63B0884}"/>
          </ac:spMkLst>
        </pc:spChg>
        <pc:spChg chg="add mod ord topLvl">
          <ac:chgData name="Sourav Bose" userId="a3480f76-fe68-4c03-a922-c4aa16f9bb6b" providerId="ADAL" clId="{DBB6B645-C36E-4B21-9704-373E2A71DC5E}" dt="2020-07-03T01:31:50.945" v="20470" actId="1035"/>
          <ac:spMkLst>
            <pc:docMk/>
            <pc:sldMk cId="1369094254" sldId="141168973"/>
            <ac:spMk id="6" creationId="{A1B21933-B4EB-41BA-8B42-B3A38620422F}"/>
          </ac:spMkLst>
        </pc:spChg>
        <pc:spChg chg="add mod ord topLvl">
          <ac:chgData name="Sourav Bose" userId="a3480f76-fe68-4c03-a922-c4aa16f9bb6b" providerId="ADAL" clId="{DBB6B645-C36E-4B21-9704-373E2A71DC5E}" dt="2020-07-03T01:31:50.945" v="20470" actId="1035"/>
          <ac:spMkLst>
            <pc:docMk/>
            <pc:sldMk cId="1369094254" sldId="141168973"/>
            <ac:spMk id="7" creationId="{F8099E7E-2C46-425E-B725-60CE147E7FA2}"/>
          </ac:spMkLst>
        </pc:spChg>
        <pc:spChg chg="add mod ord topLvl">
          <ac:chgData name="Sourav Bose" userId="a3480f76-fe68-4c03-a922-c4aa16f9bb6b" providerId="ADAL" clId="{DBB6B645-C36E-4B21-9704-373E2A71DC5E}" dt="2020-07-03T01:31:50.945" v="20470" actId="1035"/>
          <ac:spMkLst>
            <pc:docMk/>
            <pc:sldMk cId="1369094254" sldId="141168973"/>
            <ac:spMk id="8" creationId="{F8150786-1AF3-4299-94CF-ECE8B222D5C6}"/>
          </ac:spMkLst>
        </pc:spChg>
        <pc:spChg chg="add mod ord topLvl">
          <ac:chgData name="Sourav Bose" userId="a3480f76-fe68-4c03-a922-c4aa16f9bb6b" providerId="ADAL" clId="{DBB6B645-C36E-4B21-9704-373E2A71DC5E}" dt="2020-07-03T01:31:50.945" v="20470" actId="1035"/>
          <ac:spMkLst>
            <pc:docMk/>
            <pc:sldMk cId="1369094254" sldId="141168973"/>
            <ac:spMk id="9" creationId="{336EF441-BEB5-45D3-91FA-DEEFAE78DE71}"/>
          </ac:spMkLst>
        </pc:spChg>
        <pc:spChg chg="add mod ord topLvl">
          <ac:chgData name="Sourav Bose" userId="a3480f76-fe68-4c03-a922-c4aa16f9bb6b" providerId="ADAL" clId="{DBB6B645-C36E-4B21-9704-373E2A71DC5E}" dt="2020-07-03T01:31:50.945" v="20470" actId="1035"/>
          <ac:spMkLst>
            <pc:docMk/>
            <pc:sldMk cId="1369094254" sldId="141168973"/>
            <ac:spMk id="10" creationId="{4BB5CAE7-69D4-4FAA-8771-F741CCDDA511}"/>
          </ac:spMkLst>
        </pc:spChg>
        <pc:spChg chg="add mod ord topLvl">
          <ac:chgData name="Sourav Bose" userId="a3480f76-fe68-4c03-a922-c4aa16f9bb6b" providerId="ADAL" clId="{DBB6B645-C36E-4B21-9704-373E2A71DC5E}" dt="2020-07-03T01:31:50.945" v="20470" actId="1035"/>
          <ac:spMkLst>
            <pc:docMk/>
            <pc:sldMk cId="1369094254" sldId="141168973"/>
            <ac:spMk id="11" creationId="{BF327C09-6F28-41C2-B5CF-BE4BB32CC2D2}"/>
          </ac:spMkLst>
        </pc:spChg>
        <pc:spChg chg="add mod ord topLvl">
          <ac:chgData name="Sourav Bose" userId="a3480f76-fe68-4c03-a922-c4aa16f9bb6b" providerId="ADAL" clId="{DBB6B645-C36E-4B21-9704-373E2A71DC5E}" dt="2020-07-03T01:31:50.945" v="20470" actId="1035"/>
          <ac:spMkLst>
            <pc:docMk/>
            <pc:sldMk cId="1369094254" sldId="141168973"/>
            <ac:spMk id="12" creationId="{0348B4DC-EB88-49A6-A9AB-624A2DE60001}"/>
          </ac:spMkLst>
        </pc:spChg>
        <pc:spChg chg="add mod ord topLvl">
          <ac:chgData name="Sourav Bose" userId="a3480f76-fe68-4c03-a922-c4aa16f9bb6b" providerId="ADAL" clId="{DBB6B645-C36E-4B21-9704-373E2A71DC5E}" dt="2020-07-03T01:31:50.945" v="20470" actId="1035"/>
          <ac:spMkLst>
            <pc:docMk/>
            <pc:sldMk cId="1369094254" sldId="141168973"/>
            <ac:spMk id="13" creationId="{35F06FAD-55C4-44A4-B048-21AB82643CED}"/>
          </ac:spMkLst>
        </pc:spChg>
        <pc:spChg chg="add mod ord topLvl">
          <ac:chgData name="Sourav Bose" userId="a3480f76-fe68-4c03-a922-c4aa16f9bb6b" providerId="ADAL" clId="{DBB6B645-C36E-4B21-9704-373E2A71DC5E}" dt="2020-07-03T05:50:03.236" v="27666" actId="1036"/>
          <ac:spMkLst>
            <pc:docMk/>
            <pc:sldMk cId="1369094254" sldId="141168973"/>
            <ac:spMk id="16" creationId="{1CC27FE8-8E1E-48A9-AD45-6538B93985DD}"/>
          </ac:spMkLst>
        </pc:spChg>
        <pc:spChg chg="add mod ord topLvl">
          <ac:chgData name="Sourav Bose" userId="a3480f76-fe68-4c03-a922-c4aa16f9bb6b" providerId="ADAL" clId="{DBB6B645-C36E-4B21-9704-373E2A71DC5E}" dt="2020-07-03T01:31:50.945" v="20470" actId="1035"/>
          <ac:spMkLst>
            <pc:docMk/>
            <pc:sldMk cId="1369094254" sldId="141168973"/>
            <ac:spMk id="18" creationId="{4FD4EA79-7C4C-4E9A-8683-E6ACA3F71283}"/>
          </ac:spMkLst>
        </pc:spChg>
        <pc:spChg chg="add mod topLvl">
          <ac:chgData name="Sourav Bose" userId="a3480f76-fe68-4c03-a922-c4aa16f9bb6b" providerId="ADAL" clId="{DBB6B645-C36E-4B21-9704-373E2A71DC5E}" dt="2020-07-03T01:31:50.945" v="20470" actId="1035"/>
          <ac:spMkLst>
            <pc:docMk/>
            <pc:sldMk cId="1369094254" sldId="141168973"/>
            <ac:spMk id="20" creationId="{A33CEF5B-08A2-4170-95DD-D9538525F88C}"/>
          </ac:spMkLst>
        </pc:spChg>
        <pc:spChg chg="add mod ord topLvl">
          <ac:chgData name="Sourav Bose" userId="a3480f76-fe68-4c03-a922-c4aa16f9bb6b" providerId="ADAL" clId="{DBB6B645-C36E-4B21-9704-373E2A71DC5E}" dt="2020-07-03T08:23:19.679" v="30498" actId="20577"/>
          <ac:spMkLst>
            <pc:docMk/>
            <pc:sldMk cId="1369094254" sldId="141168973"/>
            <ac:spMk id="22" creationId="{1164E2E7-23D5-48F1-9847-EE22307B101A}"/>
          </ac:spMkLst>
        </pc:spChg>
        <pc:spChg chg="add del mod topLvl">
          <ac:chgData name="Sourav Bose" userId="a3480f76-fe68-4c03-a922-c4aa16f9bb6b" providerId="ADAL" clId="{DBB6B645-C36E-4B21-9704-373E2A71DC5E}" dt="2020-07-02T06:58:32.160" v="10926" actId="478"/>
          <ac:spMkLst>
            <pc:docMk/>
            <pc:sldMk cId="1369094254" sldId="141168973"/>
            <ac:spMk id="23" creationId="{777BB7B4-2AF0-4C1A-B6F4-B6414C949905}"/>
          </ac:spMkLst>
        </pc:spChg>
        <pc:spChg chg="add mod topLvl">
          <ac:chgData name="Sourav Bose" userId="a3480f76-fe68-4c03-a922-c4aa16f9bb6b" providerId="ADAL" clId="{DBB6B645-C36E-4B21-9704-373E2A71DC5E}" dt="2020-07-03T08:24:39.083" v="30513" actId="20577"/>
          <ac:spMkLst>
            <pc:docMk/>
            <pc:sldMk cId="1369094254" sldId="141168973"/>
            <ac:spMk id="24" creationId="{12733CCD-2504-4406-A36F-20723E2C257A}"/>
          </ac:spMkLst>
        </pc:spChg>
        <pc:spChg chg="add del mod topLvl">
          <ac:chgData name="Sourav Bose" userId="a3480f76-fe68-4c03-a922-c4aa16f9bb6b" providerId="ADAL" clId="{DBB6B645-C36E-4B21-9704-373E2A71DC5E}" dt="2020-07-02T10:00:17.553" v="14966" actId="478"/>
          <ac:spMkLst>
            <pc:docMk/>
            <pc:sldMk cId="1369094254" sldId="141168973"/>
            <ac:spMk id="25" creationId="{89EA2550-E15E-49AD-B573-258AE2BFECAA}"/>
          </ac:spMkLst>
        </pc:spChg>
        <pc:spChg chg="add mod ord topLvl">
          <ac:chgData name="Sourav Bose" userId="a3480f76-fe68-4c03-a922-c4aa16f9bb6b" providerId="ADAL" clId="{DBB6B645-C36E-4B21-9704-373E2A71DC5E}" dt="2020-07-03T01:31:50.945" v="20470" actId="1035"/>
          <ac:spMkLst>
            <pc:docMk/>
            <pc:sldMk cId="1369094254" sldId="141168973"/>
            <ac:spMk id="26" creationId="{FC34B961-3F54-41B7-9270-C465C73E021B}"/>
          </ac:spMkLst>
        </pc:spChg>
        <pc:spChg chg="add mod ord topLvl">
          <ac:chgData name="Sourav Bose" userId="a3480f76-fe68-4c03-a922-c4aa16f9bb6b" providerId="ADAL" clId="{DBB6B645-C36E-4B21-9704-373E2A71DC5E}" dt="2020-07-03T01:31:50.945" v="20470" actId="1035"/>
          <ac:spMkLst>
            <pc:docMk/>
            <pc:sldMk cId="1369094254" sldId="141168973"/>
            <ac:spMk id="27" creationId="{89AAEABC-A444-4820-8169-8EEB9246AF76}"/>
          </ac:spMkLst>
        </pc:spChg>
        <pc:spChg chg="add mod ord topLvl">
          <ac:chgData name="Sourav Bose" userId="a3480f76-fe68-4c03-a922-c4aa16f9bb6b" providerId="ADAL" clId="{DBB6B645-C36E-4B21-9704-373E2A71DC5E}" dt="2020-07-03T01:31:50.945" v="20470" actId="1035"/>
          <ac:spMkLst>
            <pc:docMk/>
            <pc:sldMk cId="1369094254" sldId="141168973"/>
            <ac:spMk id="28" creationId="{132D7702-B87B-4277-92E1-1232D79141EB}"/>
          </ac:spMkLst>
        </pc:spChg>
        <pc:spChg chg="add mod">
          <ac:chgData name="Sourav Bose" userId="a3480f76-fe68-4c03-a922-c4aa16f9bb6b" providerId="ADAL" clId="{DBB6B645-C36E-4B21-9704-373E2A71DC5E}" dt="2020-07-03T05:50:29.787" v="27667" actId="20577"/>
          <ac:spMkLst>
            <pc:docMk/>
            <pc:sldMk cId="1369094254" sldId="141168973"/>
            <ac:spMk id="72" creationId="{62C053B6-B3CE-42BE-BA92-FD9CD0E849E6}"/>
          </ac:spMkLst>
        </pc:spChg>
        <pc:spChg chg="add mod ord">
          <ac:chgData name="Sourav Bose" userId="a3480f76-fe68-4c03-a922-c4aa16f9bb6b" providerId="ADAL" clId="{DBB6B645-C36E-4B21-9704-373E2A71DC5E}" dt="2020-07-03T01:31:50.945" v="20470" actId="1035"/>
          <ac:spMkLst>
            <pc:docMk/>
            <pc:sldMk cId="1369094254" sldId="141168973"/>
            <ac:spMk id="73" creationId="{E1AA63F6-DC7E-4D15-A3BB-13A187D0B6C8}"/>
          </ac:spMkLst>
        </pc:spChg>
        <pc:spChg chg="add mod ord">
          <ac:chgData name="Sourav Bose" userId="a3480f76-fe68-4c03-a922-c4aa16f9bb6b" providerId="ADAL" clId="{DBB6B645-C36E-4B21-9704-373E2A71DC5E}" dt="2020-07-03T01:31:50.945" v="20470" actId="1035"/>
          <ac:spMkLst>
            <pc:docMk/>
            <pc:sldMk cId="1369094254" sldId="141168973"/>
            <ac:spMk id="74" creationId="{347BB57E-61C7-4644-BF6B-DD6A7F8BDBC1}"/>
          </ac:spMkLst>
        </pc:spChg>
        <pc:spChg chg="add mod">
          <ac:chgData name="Sourav Bose" userId="a3480f76-fe68-4c03-a922-c4aa16f9bb6b" providerId="ADAL" clId="{DBB6B645-C36E-4B21-9704-373E2A71DC5E}" dt="2020-07-03T08:24:42.459" v="30514" actId="20577"/>
          <ac:spMkLst>
            <pc:docMk/>
            <pc:sldMk cId="1369094254" sldId="141168973"/>
            <ac:spMk id="75" creationId="{B05E1498-8592-4CC3-9868-DD27D5A65748}"/>
          </ac:spMkLst>
        </pc:spChg>
        <pc:spChg chg="add del mod">
          <ac:chgData name="Sourav Bose" userId="a3480f76-fe68-4c03-a922-c4aa16f9bb6b" providerId="ADAL" clId="{DBB6B645-C36E-4B21-9704-373E2A71DC5E}" dt="2020-07-03T01:31:39.752" v="20453" actId="478"/>
          <ac:spMkLst>
            <pc:docMk/>
            <pc:sldMk cId="1369094254" sldId="141168973"/>
            <ac:spMk id="76" creationId="{3192ADEC-C38A-4FCD-98FE-4F32FD6CE8E6}"/>
          </ac:spMkLst>
        </pc:spChg>
        <pc:grpChg chg="add del mod">
          <ac:chgData name="Sourav Bose" userId="a3480f76-fe68-4c03-a922-c4aa16f9bb6b" providerId="ADAL" clId="{DBB6B645-C36E-4B21-9704-373E2A71DC5E}" dt="2020-07-02T06:54:27.453" v="10854" actId="165"/>
          <ac:grpSpMkLst>
            <pc:docMk/>
            <pc:sldMk cId="1369094254" sldId="141168973"/>
            <ac:grpSpMk id="29" creationId="{9AD50102-30EF-4B38-BE99-D0D1797CD165}"/>
          </ac:grpSpMkLst>
        </pc:grpChg>
        <pc:grpChg chg="add del mod">
          <ac:chgData name="Sourav Bose" userId="a3480f76-fe68-4c03-a922-c4aa16f9bb6b" providerId="ADAL" clId="{DBB6B645-C36E-4B21-9704-373E2A71DC5E}" dt="2020-07-02T06:36:54.608" v="10423" actId="478"/>
          <ac:grpSpMkLst>
            <pc:docMk/>
            <pc:sldMk cId="1369094254" sldId="141168973"/>
            <ac:grpSpMk id="30" creationId="{B202D582-AF09-4D2A-BA18-059B0183D440}"/>
          </ac:grpSpMkLst>
        </pc:grpChg>
        <pc:grpChg chg="mod">
          <ac:chgData name="Sourav Bose" userId="a3480f76-fe68-4c03-a922-c4aa16f9bb6b" providerId="ADAL" clId="{DBB6B645-C36E-4B21-9704-373E2A71DC5E}" dt="2020-07-02T06:33:10.959" v="10401" actId="1076"/>
          <ac:grpSpMkLst>
            <pc:docMk/>
            <pc:sldMk cId="1369094254" sldId="141168973"/>
            <ac:grpSpMk id="46" creationId="{972DA018-F6BD-434B-B978-F346CB1F6953}"/>
          </ac:grpSpMkLst>
        </pc:grpChg>
        <pc:grpChg chg="mod">
          <ac:chgData name="Sourav Bose" userId="a3480f76-fe68-4c03-a922-c4aa16f9bb6b" providerId="ADAL" clId="{DBB6B645-C36E-4B21-9704-373E2A71DC5E}" dt="2020-07-02T06:33:10.959" v="10401" actId="1076"/>
          <ac:grpSpMkLst>
            <pc:docMk/>
            <pc:sldMk cId="1369094254" sldId="141168973"/>
            <ac:grpSpMk id="48" creationId="{56E1A334-B629-413B-A78B-60EBE96CA621}"/>
          </ac:grpSpMkLst>
        </pc:grpChg>
        <pc:grpChg chg="mod">
          <ac:chgData name="Sourav Bose" userId="a3480f76-fe68-4c03-a922-c4aa16f9bb6b" providerId="ADAL" clId="{DBB6B645-C36E-4B21-9704-373E2A71DC5E}" dt="2020-07-02T06:33:10.959" v="10401" actId="1076"/>
          <ac:grpSpMkLst>
            <pc:docMk/>
            <pc:sldMk cId="1369094254" sldId="141168973"/>
            <ac:grpSpMk id="50" creationId="{393A838A-9993-49A9-A264-719FE85DED2D}"/>
          </ac:grpSpMkLst>
        </pc:grpChg>
        <pc:grpChg chg="mod">
          <ac:chgData name="Sourav Bose" userId="a3480f76-fe68-4c03-a922-c4aa16f9bb6b" providerId="ADAL" clId="{DBB6B645-C36E-4B21-9704-373E2A71DC5E}" dt="2020-07-02T06:33:10.959" v="10401" actId="1076"/>
          <ac:grpSpMkLst>
            <pc:docMk/>
            <pc:sldMk cId="1369094254" sldId="141168973"/>
            <ac:grpSpMk id="52" creationId="{580686D4-1391-479C-8536-C0026FA4FB73}"/>
          </ac:grpSpMkLst>
        </pc:grpChg>
        <pc:grpChg chg="add mod">
          <ac:chgData name="Sourav Bose" userId="a3480f76-fe68-4c03-a922-c4aa16f9bb6b" providerId="ADAL" clId="{DBB6B645-C36E-4B21-9704-373E2A71DC5E}" dt="2020-07-02T06:56:18.573" v="10905" actId="164"/>
          <ac:grpSpMkLst>
            <pc:docMk/>
            <pc:sldMk cId="1369094254" sldId="141168973"/>
            <ac:grpSpMk id="71" creationId="{C1C11508-4E40-4700-8A5F-C4BE0B0EED3D}"/>
          </ac:grpSpMkLst>
        </pc:grpChg>
        <pc:picChg chg="add del mod topLvl">
          <ac:chgData name="Sourav Bose" userId="a3480f76-fe68-4c03-a922-c4aa16f9bb6b" providerId="ADAL" clId="{DBB6B645-C36E-4B21-9704-373E2A71DC5E}" dt="2020-07-02T09:44:40.919" v="14199" actId="478"/>
          <ac:picMkLst>
            <pc:docMk/>
            <pc:sldMk cId="1369094254" sldId="141168973"/>
            <ac:picMk id="14" creationId="{DCA32C7E-FE4F-4B24-9CD1-326E2E9AB3F6}"/>
          </ac:picMkLst>
        </pc:picChg>
        <pc:picChg chg="add del mod topLvl">
          <ac:chgData name="Sourav Bose" userId="a3480f76-fe68-4c03-a922-c4aa16f9bb6b" providerId="ADAL" clId="{DBB6B645-C36E-4B21-9704-373E2A71DC5E}" dt="2020-07-02T09:44:38.656" v="14198" actId="478"/>
          <ac:picMkLst>
            <pc:docMk/>
            <pc:sldMk cId="1369094254" sldId="141168973"/>
            <ac:picMk id="15" creationId="{187D6126-682A-4397-832E-F5162E369F0B}"/>
          </ac:picMkLst>
        </pc:picChg>
        <pc:picChg chg="add mod ord topLvl">
          <ac:chgData name="Sourav Bose" userId="a3480f76-fe68-4c03-a922-c4aa16f9bb6b" providerId="ADAL" clId="{DBB6B645-C36E-4B21-9704-373E2A71DC5E}" dt="2020-07-03T01:31:50.945" v="20470" actId="1035"/>
          <ac:picMkLst>
            <pc:docMk/>
            <pc:sldMk cId="1369094254" sldId="141168973"/>
            <ac:picMk id="17" creationId="{B64E09D0-FBCC-42EA-A59C-D646E36612E7}"/>
          </ac:picMkLst>
        </pc:picChg>
        <pc:picChg chg="add mod ord topLvl">
          <ac:chgData name="Sourav Bose" userId="a3480f76-fe68-4c03-a922-c4aa16f9bb6b" providerId="ADAL" clId="{DBB6B645-C36E-4B21-9704-373E2A71DC5E}" dt="2020-07-03T01:31:50.945" v="20470" actId="1035"/>
          <ac:picMkLst>
            <pc:docMk/>
            <pc:sldMk cId="1369094254" sldId="141168973"/>
            <ac:picMk id="19" creationId="{9022D209-B02F-4D0A-9DE5-AB576E00AB98}"/>
          </ac:picMkLst>
        </pc:picChg>
        <pc:picChg chg="add mod ord topLvl">
          <ac:chgData name="Sourav Bose" userId="a3480f76-fe68-4c03-a922-c4aa16f9bb6b" providerId="ADAL" clId="{DBB6B645-C36E-4B21-9704-373E2A71DC5E}" dt="2020-07-03T01:31:50.945" v="20470" actId="1035"/>
          <ac:picMkLst>
            <pc:docMk/>
            <pc:sldMk cId="1369094254" sldId="141168973"/>
            <ac:picMk id="21" creationId="{1689466D-3B5E-4017-9906-C13770912E86}"/>
          </ac:picMkLst>
        </pc:picChg>
      </pc:sldChg>
      <pc:sldChg chg="addSp delSp modSp">
        <pc:chgData name="Sourav Bose" userId="a3480f76-fe68-4c03-a922-c4aa16f9bb6b" providerId="ADAL" clId="{DBB6B645-C36E-4B21-9704-373E2A71DC5E}" dt="2020-06-29T08:39:48.307" v="3712" actId="20577"/>
        <pc:sldMkLst>
          <pc:docMk/>
          <pc:sldMk cId="295365669" sldId="141168978"/>
        </pc:sldMkLst>
        <pc:spChg chg="mod">
          <ac:chgData name="Sourav Bose" userId="a3480f76-fe68-4c03-a922-c4aa16f9bb6b" providerId="ADAL" clId="{DBB6B645-C36E-4B21-9704-373E2A71DC5E}" dt="2020-06-29T07:43:27.299" v="2997" actId="6549"/>
          <ac:spMkLst>
            <pc:docMk/>
            <pc:sldMk cId="295365669" sldId="141168978"/>
            <ac:spMk id="2" creationId="{7293BC31-CD40-4548-8B0B-DA2ED6A17047}"/>
          </ac:spMkLst>
        </pc:spChg>
        <pc:spChg chg="mod">
          <ac:chgData name="Sourav Bose" userId="a3480f76-fe68-4c03-a922-c4aa16f9bb6b" providerId="ADAL" clId="{DBB6B645-C36E-4B21-9704-373E2A71DC5E}" dt="2020-06-29T08:32:13.551" v="3512" actId="20577"/>
          <ac:spMkLst>
            <pc:docMk/>
            <pc:sldMk cId="295365669" sldId="141168978"/>
            <ac:spMk id="6" creationId="{48404C05-A801-4E26-ACF1-77C9A914B9F1}"/>
          </ac:spMkLst>
        </pc:spChg>
        <pc:spChg chg="mod">
          <ac:chgData name="Sourav Bose" userId="a3480f76-fe68-4c03-a922-c4aa16f9bb6b" providerId="ADAL" clId="{DBB6B645-C36E-4B21-9704-373E2A71DC5E}" dt="2020-06-29T08:27:04.791" v="3333" actId="1037"/>
          <ac:spMkLst>
            <pc:docMk/>
            <pc:sldMk cId="295365669" sldId="141168978"/>
            <ac:spMk id="7" creationId="{A84EA4EB-F2F0-4F79-B0D3-D206C26CA19A}"/>
          </ac:spMkLst>
        </pc:spChg>
        <pc:spChg chg="del">
          <ac:chgData name="Sourav Bose" userId="a3480f76-fe68-4c03-a922-c4aa16f9bb6b" providerId="ADAL" clId="{DBB6B645-C36E-4B21-9704-373E2A71DC5E}" dt="2020-06-29T08:27:17.068" v="3335" actId="478"/>
          <ac:spMkLst>
            <pc:docMk/>
            <pc:sldMk cId="295365669" sldId="141168978"/>
            <ac:spMk id="12" creationId="{1FB573C5-D739-425B-AE21-0314A06B448C}"/>
          </ac:spMkLst>
        </pc:spChg>
        <pc:spChg chg="del">
          <ac:chgData name="Sourav Bose" userId="a3480f76-fe68-4c03-a922-c4aa16f9bb6b" providerId="ADAL" clId="{DBB6B645-C36E-4B21-9704-373E2A71DC5E}" dt="2020-06-29T08:27:23.229" v="3337" actId="478"/>
          <ac:spMkLst>
            <pc:docMk/>
            <pc:sldMk cId="295365669" sldId="141168978"/>
            <ac:spMk id="13" creationId="{F3BB45F0-640F-4179-AE4B-D85236169D60}"/>
          </ac:spMkLst>
        </pc:spChg>
        <pc:spChg chg="mod">
          <ac:chgData name="Sourav Bose" userId="a3480f76-fe68-4c03-a922-c4aa16f9bb6b" providerId="ADAL" clId="{DBB6B645-C36E-4B21-9704-373E2A71DC5E}" dt="2020-06-29T07:45:06.539" v="3086" actId="6549"/>
          <ac:spMkLst>
            <pc:docMk/>
            <pc:sldMk cId="295365669" sldId="141168978"/>
            <ac:spMk id="20" creationId="{49414D50-800E-46BC-AD50-A8BD5AF280C3}"/>
          </ac:spMkLst>
        </pc:spChg>
        <pc:spChg chg="mod">
          <ac:chgData name="Sourav Bose" userId="a3480f76-fe68-4c03-a922-c4aa16f9bb6b" providerId="ADAL" clId="{DBB6B645-C36E-4B21-9704-373E2A71DC5E}" dt="2020-06-29T07:43:03.085" v="2996" actId="20577"/>
          <ac:spMkLst>
            <pc:docMk/>
            <pc:sldMk cId="295365669" sldId="141168978"/>
            <ac:spMk id="21" creationId="{EB699588-5711-4C44-8FB9-140DA342ABE6}"/>
          </ac:spMkLst>
        </pc:spChg>
        <pc:spChg chg="mod">
          <ac:chgData name="Sourav Bose" userId="a3480f76-fe68-4c03-a922-c4aa16f9bb6b" providerId="ADAL" clId="{DBB6B645-C36E-4B21-9704-373E2A71DC5E}" dt="2020-06-29T08:38:55.382" v="3620" actId="20577"/>
          <ac:spMkLst>
            <pc:docMk/>
            <pc:sldMk cId="295365669" sldId="141168978"/>
            <ac:spMk id="26" creationId="{FEA51DA3-2377-4E15-A155-236D25BB65B8}"/>
          </ac:spMkLst>
        </pc:spChg>
        <pc:spChg chg="mod">
          <ac:chgData name="Sourav Bose" userId="a3480f76-fe68-4c03-a922-c4aa16f9bb6b" providerId="ADAL" clId="{DBB6B645-C36E-4B21-9704-373E2A71DC5E}" dt="2020-06-29T08:39:48.307" v="3712" actId="20577"/>
          <ac:spMkLst>
            <pc:docMk/>
            <pc:sldMk cId="295365669" sldId="141168978"/>
            <ac:spMk id="27" creationId="{1AF10FFE-2F62-4AF5-965E-AC034B025DCB}"/>
          </ac:spMkLst>
        </pc:spChg>
        <pc:spChg chg="del">
          <ac:chgData name="Sourav Bose" userId="a3480f76-fe68-4c03-a922-c4aa16f9bb6b" providerId="ADAL" clId="{DBB6B645-C36E-4B21-9704-373E2A71DC5E}" dt="2020-06-29T08:34:05.275" v="3515" actId="478"/>
          <ac:spMkLst>
            <pc:docMk/>
            <pc:sldMk cId="295365669" sldId="141168978"/>
            <ac:spMk id="28" creationId="{A4D7B121-EBC0-4A2E-8DBB-A2CDA4B05F9B}"/>
          </ac:spMkLst>
        </pc:spChg>
        <pc:spChg chg="del">
          <ac:chgData name="Sourav Bose" userId="a3480f76-fe68-4c03-a922-c4aa16f9bb6b" providerId="ADAL" clId="{DBB6B645-C36E-4B21-9704-373E2A71DC5E}" dt="2020-06-29T08:34:03.731" v="3514" actId="478"/>
          <ac:spMkLst>
            <pc:docMk/>
            <pc:sldMk cId="295365669" sldId="141168978"/>
            <ac:spMk id="29" creationId="{32EDAA2E-5D9D-40A8-AA73-964FE17904F5}"/>
          </ac:spMkLst>
        </pc:spChg>
        <pc:spChg chg="del mod">
          <ac:chgData name="Sourav Bose" userId="a3480f76-fe68-4c03-a922-c4aa16f9bb6b" providerId="ADAL" clId="{DBB6B645-C36E-4B21-9704-373E2A71DC5E}" dt="2020-06-29T08:27:12.826" v="3334" actId="478"/>
          <ac:spMkLst>
            <pc:docMk/>
            <pc:sldMk cId="295365669" sldId="141168978"/>
            <ac:spMk id="32" creationId="{00000000-0000-0000-0000-000000000000}"/>
          </ac:spMkLst>
        </pc:spChg>
        <pc:spChg chg="add del mod">
          <ac:chgData name="Sourav Bose" userId="a3480f76-fe68-4c03-a922-c4aa16f9bb6b" providerId="ADAL" clId="{DBB6B645-C36E-4B21-9704-373E2A71DC5E}" dt="2020-06-29T08:32:25.904" v="3513" actId="478"/>
          <ac:spMkLst>
            <pc:docMk/>
            <pc:sldMk cId="295365669" sldId="141168978"/>
            <ac:spMk id="34" creationId="{C9CDCE4F-702F-44D1-815A-06F79B4FCC05}"/>
          </ac:spMkLst>
        </pc:spChg>
        <pc:picChg chg="del">
          <ac:chgData name="Sourav Bose" userId="a3480f76-fe68-4c03-a922-c4aa16f9bb6b" providerId="ADAL" clId="{DBB6B645-C36E-4B21-9704-373E2A71DC5E}" dt="2020-06-29T08:27:25.269" v="3338" actId="478"/>
          <ac:picMkLst>
            <pc:docMk/>
            <pc:sldMk cId="295365669" sldId="141168978"/>
            <ac:picMk id="18" creationId="{30E605C1-FFFE-4CAD-B918-EBD882889E0F}"/>
          </ac:picMkLst>
        </pc:picChg>
        <pc:picChg chg="del">
          <ac:chgData name="Sourav Bose" userId="a3480f76-fe68-4c03-a922-c4aa16f9bb6b" providerId="ADAL" clId="{DBB6B645-C36E-4B21-9704-373E2A71DC5E}" dt="2020-06-29T08:27:19.524" v="3336" actId="478"/>
          <ac:picMkLst>
            <pc:docMk/>
            <pc:sldMk cId="295365669" sldId="141168978"/>
            <ac:picMk id="19" creationId="{83B47F37-C51A-4E57-87B9-816C00B34E1B}"/>
          </ac:picMkLst>
        </pc:picChg>
        <pc:picChg chg="del">
          <ac:chgData name="Sourav Bose" userId="a3480f76-fe68-4c03-a922-c4aa16f9bb6b" providerId="ADAL" clId="{DBB6B645-C36E-4B21-9704-373E2A71DC5E}" dt="2020-06-29T07:35:20.639" v="2753" actId="478"/>
          <ac:picMkLst>
            <pc:docMk/>
            <pc:sldMk cId="295365669" sldId="141168978"/>
            <ac:picMk id="24" creationId="{02FA4967-3EBD-458B-AA5E-DFF25B6CB2B6}"/>
          </ac:picMkLst>
        </pc:picChg>
        <pc:picChg chg="del">
          <ac:chgData name="Sourav Bose" userId="a3480f76-fe68-4c03-a922-c4aa16f9bb6b" providerId="ADAL" clId="{DBB6B645-C36E-4B21-9704-373E2A71DC5E}" dt="2020-06-29T07:35:20.639" v="2753" actId="478"/>
          <ac:picMkLst>
            <pc:docMk/>
            <pc:sldMk cId="295365669" sldId="141168978"/>
            <ac:picMk id="25" creationId="{145D0B63-3825-47F9-96E6-23F1DEA3F279}"/>
          </ac:picMkLst>
        </pc:picChg>
        <pc:picChg chg="del mod">
          <ac:chgData name="Sourav Bose" userId="a3480f76-fe68-4c03-a922-c4aa16f9bb6b" providerId="ADAL" clId="{DBB6B645-C36E-4B21-9704-373E2A71DC5E}" dt="2020-06-29T08:34:07.308" v="3516" actId="478"/>
          <ac:picMkLst>
            <pc:docMk/>
            <pc:sldMk cId="295365669" sldId="141168978"/>
            <ac:picMk id="30" creationId="{54179988-9313-462B-85EB-CE2CA4801141}"/>
          </ac:picMkLst>
        </pc:picChg>
        <pc:picChg chg="del">
          <ac:chgData name="Sourav Bose" userId="a3480f76-fe68-4c03-a922-c4aa16f9bb6b" providerId="ADAL" clId="{DBB6B645-C36E-4B21-9704-373E2A71DC5E}" dt="2020-06-29T08:34:09.521" v="3517" actId="478"/>
          <ac:picMkLst>
            <pc:docMk/>
            <pc:sldMk cId="295365669" sldId="141168978"/>
            <ac:picMk id="31" creationId="{912EB886-34EC-4B28-B3A2-B8915D216724}"/>
          </ac:picMkLst>
        </pc:picChg>
        <pc:picChg chg="add mod">
          <ac:chgData name="Sourav Bose" userId="a3480f76-fe68-4c03-a922-c4aa16f9bb6b" providerId="ADAL" clId="{DBB6B645-C36E-4B21-9704-373E2A71DC5E}" dt="2020-06-29T07:35:36.409" v="2779" actId="1036"/>
          <ac:picMkLst>
            <pc:docMk/>
            <pc:sldMk cId="295365669" sldId="141168978"/>
            <ac:picMk id="33" creationId="{4054F9EA-B008-4FE6-AD12-CB9C8691FA4C}"/>
          </ac:picMkLst>
        </pc:picChg>
      </pc:sldChg>
      <pc:sldChg chg="del">
        <pc:chgData name="Sourav Bose" userId="a3480f76-fe68-4c03-a922-c4aa16f9bb6b" providerId="ADAL" clId="{DBB6B645-C36E-4B21-9704-373E2A71DC5E}" dt="2020-07-02T04:26:26.532" v="8867" actId="2696"/>
        <pc:sldMkLst>
          <pc:docMk/>
          <pc:sldMk cId="3924665303" sldId="141168980"/>
        </pc:sldMkLst>
      </pc:sldChg>
      <pc:sldChg chg="del">
        <pc:chgData name="Sourav Bose" userId="a3480f76-fe68-4c03-a922-c4aa16f9bb6b" providerId="ADAL" clId="{DBB6B645-C36E-4B21-9704-373E2A71DC5E}" dt="2020-07-02T04:22:02.946" v="8817" actId="2696"/>
        <pc:sldMkLst>
          <pc:docMk/>
          <pc:sldMk cId="904676825" sldId="141168990"/>
        </pc:sldMkLst>
      </pc:sldChg>
      <pc:sldChg chg="modSp">
        <pc:chgData name="Sourav Bose" userId="a3480f76-fe68-4c03-a922-c4aa16f9bb6b" providerId="ADAL" clId="{DBB6B645-C36E-4B21-9704-373E2A71DC5E}" dt="2020-06-29T04:25:35.048" v="15" actId="6549"/>
        <pc:sldMkLst>
          <pc:docMk/>
          <pc:sldMk cId="3438390265" sldId="141168994"/>
        </pc:sldMkLst>
        <pc:graphicFrameChg chg="modGraphic">
          <ac:chgData name="Sourav Bose" userId="a3480f76-fe68-4c03-a922-c4aa16f9bb6b" providerId="ADAL" clId="{DBB6B645-C36E-4B21-9704-373E2A71DC5E}" dt="2020-06-29T04:25:35.048" v="15" actId="6549"/>
          <ac:graphicFrameMkLst>
            <pc:docMk/>
            <pc:sldMk cId="3438390265" sldId="141168994"/>
            <ac:graphicFrameMk id="20" creationId="{0C3B2DDD-C872-4EFB-A759-70CF9FDFC56A}"/>
          </ac:graphicFrameMkLst>
        </pc:graphicFrameChg>
      </pc:sldChg>
      <pc:sldChg chg="modSp del">
        <pc:chgData name="Sourav Bose" userId="a3480f76-fe68-4c03-a922-c4aa16f9bb6b" providerId="ADAL" clId="{DBB6B645-C36E-4B21-9704-373E2A71DC5E}" dt="2020-07-02T09:23:57.259" v="13693" actId="2696"/>
        <pc:sldMkLst>
          <pc:docMk/>
          <pc:sldMk cId="433779718" sldId="141168995"/>
        </pc:sldMkLst>
        <pc:spChg chg="mod">
          <ac:chgData name="Sourav Bose" userId="a3480f76-fe68-4c03-a922-c4aa16f9bb6b" providerId="ADAL" clId="{DBB6B645-C36E-4B21-9704-373E2A71DC5E}" dt="2020-07-02T09:11:06.155" v="13100" actId="20577"/>
          <ac:spMkLst>
            <pc:docMk/>
            <pc:sldMk cId="433779718" sldId="141168995"/>
            <ac:spMk id="8" creationId="{85D9CDC4-0A23-4A90-B392-A8BF66B06DE7}"/>
          </ac:spMkLst>
        </pc:spChg>
        <pc:grpChg chg="mod">
          <ac:chgData name="Sourav Bose" userId="a3480f76-fe68-4c03-a922-c4aa16f9bb6b" providerId="ADAL" clId="{DBB6B645-C36E-4B21-9704-373E2A71DC5E}" dt="2020-07-02T09:21:36.056" v="13636" actId="1076"/>
          <ac:grpSpMkLst>
            <pc:docMk/>
            <pc:sldMk cId="433779718" sldId="141168995"/>
            <ac:grpSpMk id="50" creationId="{220579DF-3122-4EC3-8D45-641937D4EC67}"/>
          </ac:grpSpMkLst>
        </pc:grpChg>
      </pc:sldChg>
      <pc:sldChg chg="addSp delSp modSp">
        <pc:chgData name="Sourav Bose" userId="a3480f76-fe68-4c03-a922-c4aa16f9bb6b" providerId="ADAL" clId="{DBB6B645-C36E-4B21-9704-373E2A71DC5E}" dt="2020-07-03T08:25:31.814" v="30526" actId="20577"/>
        <pc:sldMkLst>
          <pc:docMk/>
          <pc:sldMk cId="2125832369" sldId="141168995"/>
        </pc:sldMkLst>
        <pc:spChg chg="mod">
          <ac:chgData name="Sourav Bose" userId="a3480f76-fe68-4c03-a922-c4aa16f9bb6b" providerId="ADAL" clId="{DBB6B645-C36E-4B21-9704-373E2A71DC5E}" dt="2020-07-03T06:01:19.511" v="28103" actId="20577"/>
          <ac:spMkLst>
            <pc:docMk/>
            <pc:sldMk cId="2125832369" sldId="141168995"/>
            <ac:spMk id="2" creationId="{34CFF42B-A38D-4405-8078-E30A3AD3AFAE}"/>
          </ac:spMkLst>
        </pc:spChg>
        <pc:spChg chg="mod">
          <ac:chgData name="Sourav Bose" userId="a3480f76-fe68-4c03-a922-c4aa16f9bb6b" providerId="ADAL" clId="{DBB6B645-C36E-4B21-9704-373E2A71DC5E}" dt="2020-07-03T04:24:00.915" v="25131" actId="1036"/>
          <ac:spMkLst>
            <pc:docMk/>
            <pc:sldMk cId="2125832369" sldId="141168995"/>
            <ac:spMk id="3" creationId="{480CAC44-8FCB-4D9E-B36A-015128BAE705}"/>
          </ac:spMkLst>
        </pc:spChg>
        <pc:spChg chg="mod">
          <ac:chgData name="Sourav Bose" userId="a3480f76-fe68-4c03-a922-c4aa16f9bb6b" providerId="ADAL" clId="{DBB6B645-C36E-4B21-9704-373E2A71DC5E}" dt="2020-07-03T07:29:17.350" v="30426" actId="20577"/>
          <ac:spMkLst>
            <pc:docMk/>
            <pc:sldMk cId="2125832369" sldId="141168995"/>
            <ac:spMk id="4" creationId="{77CCE739-3E0D-4F1E-A00F-E5195937286D}"/>
          </ac:spMkLst>
        </pc:spChg>
        <pc:spChg chg="del mod">
          <ac:chgData name="Sourav Bose" userId="a3480f76-fe68-4c03-a922-c4aa16f9bb6b" providerId="ADAL" clId="{DBB6B645-C36E-4B21-9704-373E2A71DC5E}" dt="2020-07-03T04:23:38.744" v="25113" actId="478"/>
          <ac:spMkLst>
            <pc:docMk/>
            <pc:sldMk cId="2125832369" sldId="141168995"/>
            <ac:spMk id="5" creationId="{D545F62A-AE3C-4402-B764-DA4559FCDA24}"/>
          </ac:spMkLst>
        </pc:spChg>
        <pc:spChg chg="mod">
          <ac:chgData name="Sourav Bose" userId="a3480f76-fe68-4c03-a922-c4aa16f9bb6b" providerId="ADAL" clId="{DBB6B645-C36E-4B21-9704-373E2A71DC5E}" dt="2020-07-03T06:03:34.642" v="28288" actId="14100"/>
          <ac:spMkLst>
            <pc:docMk/>
            <pc:sldMk cId="2125832369" sldId="141168995"/>
            <ac:spMk id="6" creationId="{467611B1-4034-443C-8799-6DAD8D351D89}"/>
          </ac:spMkLst>
        </pc:spChg>
        <pc:spChg chg="mod">
          <ac:chgData name="Sourav Bose" userId="a3480f76-fe68-4c03-a922-c4aa16f9bb6b" providerId="ADAL" clId="{DBB6B645-C36E-4B21-9704-373E2A71DC5E}" dt="2020-07-03T06:03:34.642" v="28288" actId="14100"/>
          <ac:spMkLst>
            <pc:docMk/>
            <pc:sldMk cId="2125832369" sldId="141168995"/>
            <ac:spMk id="7" creationId="{FE14B445-587D-49CE-A6E9-D90B4F352164}"/>
          </ac:spMkLst>
        </pc:spChg>
        <pc:spChg chg="mod">
          <ac:chgData name="Sourav Bose" userId="a3480f76-fe68-4c03-a922-c4aa16f9bb6b" providerId="ADAL" clId="{DBB6B645-C36E-4B21-9704-373E2A71DC5E}" dt="2020-07-03T04:24:00.915" v="25131" actId="1036"/>
          <ac:spMkLst>
            <pc:docMk/>
            <pc:sldMk cId="2125832369" sldId="141168995"/>
            <ac:spMk id="8" creationId="{85D9CDC4-0A23-4A90-B392-A8BF66B06DE7}"/>
          </ac:spMkLst>
        </pc:spChg>
        <pc:spChg chg="mod">
          <ac:chgData name="Sourav Bose" userId="a3480f76-fe68-4c03-a922-c4aa16f9bb6b" providerId="ADAL" clId="{DBB6B645-C36E-4B21-9704-373E2A71DC5E}" dt="2020-07-03T04:24:00.915" v="25131" actId="1036"/>
          <ac:spMkLst>
            <pc:docMk/>
            <pc:sldMk cId="2125832369" sldId="141168995"/>
            <ac:spMk id="9" creationId="{915A6ED3-33E9-488F-8CB0-5F57FB492C17}"/>
          </ac:spMkLst>
        </pc:spChg>
        <pc:spChg chg="mod">
          <ac:chgData name="Sourav Bose" userId="a3480f76-fe68-4c03-a922-c4aa16f9bb6b" providerId="ADAL" clId="{DBB6B645-C36E-4B21-9704-373E2A71DC5E}" dt="2020-07-03T07:29:07.550" v="30420" actId="20577"/>
          <ac:spMkLst>
            <pc:docMk/>
            <pc:sldMk cId="2125832369" sldId="141168995"/>
            <ac:spMk id="11" creationId="{66FB5248-F394-4905-BB1F-6C157E28FB65}"/>
          </ac:spMkLst>
        </pc:spChg>
        <pc:spChg chg="del mod">
          <ac:chgData name="Sourav Bose" userId="a3480f76-fe68-4c03-a922-c4aa16f9bb6b" providerId="ADAL" clId="{DBB6B645-C36E-4B21-9704-373E2A71DC5E}" dt="2020-07-03T04:23:35.752" v="25112" actId="478"/>
          <ac:spMkLst>
            <pc:docMk/>
            <pc:sldMk cId="2125832369" sldId="141168995"/>
            <ac:spMk id="12" creationId="{21A09DAB-1839-4362-AD3C-3B1C7438D075}"/>
          </ac:spMkLst>
        </pc:spChg>
        <pc:spChg chg="del mod">
          <ac:chgData name="Sourav Bose" userId="a3480f76-fe68-4c03-a922-c4aa16f9bb6b" providerId="ADAL" clId="{DBB6B645-C36E-4B21-9704-373E2A71DC5E}" dt="2020-07-03T04:23:33.035" v="25111" actId="478"/>
          <ac:spMkLst>
            <pc:docMk/>
            <pc:sldMk cId="2125832369" sldId="141168995"/>
            <ac:spMk id="13" creationId="{F200E1D0-7F8F-457E-8ACE-5F1B0466E5F9}"/>
          </ac:spMkLst>
        </pc:spChg>
        <pc:spChg chg="mod">
          <ac:chgData name="Sourav Bose" userId="a3480f76-fe68-4c03-a922-c4aa16f9bb6b" providerId="ADAL" clId="{DBB6B645-C36E-4B21-9704-373E2A71DC5E}" dt="2020-07-03T06:03:34.642" v="28288" actId="14100"/>
          <ac:spMkLst>
            <pc:docMk/>
            <pc:sldMk cId="2125832369" sldId="141168995"/>
            <ac:spMk id="14" creationId="{A3CC324A-B2E2-418B-8E6A-C404A0FF4F4F}"/>
          </ac:spMkLst>
        </pc:spChg>
        <pc:spChg chg="mod">
          <ac:chgData name="Sourav Bose" userId="a3480f76-fe68-4c03-a922-c4aa16f9bb6b" providerId="ADAL" clId="{DBB6B645-C36E-4B21-9704-373E2A71DC5E}" dt="2020-07-03T06:03:34.642" v="28288" actId="14100"/>
          <ac:spMkLst>
            <pc:docMk/>
            <pc:sldMk cId="2125832369" sldId="141168995"/>
            <ac:spMk id="15" creationId="{3CBBB66E-44C3-4BFA-929B-03048150A78E}"/>
          </ac:spMkLst>
        </pc:spChg>
        <pc:spChg chg="del mod">
          <ac:chgData name="Sourav Bose" userId="a3480f76-fe68-4c03-a922-c4aa16f9bb6b" providerId="ADAL" clId="{DBB6B645-C36E-4B21-9704-373E2A71DC5E}" dt="2020-07-02T12:41:37.012" v="18059" actId="478"/>
          <ac:spMkLst>
            <pc:docMk/>
            <pc:sldMk cId="2125832369" sldId="141168995"/>
            <ac:spMk id="16" creationId="{37ECE805-C40F-4B54-9CD3-AFAAF726880D}"/>
          </ac:spMkLst>
        </pc:spChg>
        <pc:spChg chg="mod">
          <ac:chgData name="Sourav Bose" userId="a3480f76-fe68-4c03-a922-c4aa16f9bb6b" providerId="ADAL" clId="{DBB6B645-C36E-4B21-9704-373E2A71DC5E}" dt="2020-07-03T06:03:34.642" v="28288" actId="14100"/>
          <ac:spMkLst>
            <pc:docMk/>
            <pc:sldMk cId="2125832369" sldId="141168995"/>
            <ac:spMk id="17" creationId="{86656C7A-179C-4D80-943B-3D050A63039B}"/>
          </ac:spMkLst>
        </pc:spChg>
        <pc:spChg chg="mod">
          <ac:chgData name="Sourav Bose" userId="a3480f76-fe68-4c03-a922-c4aa16f9bb6b" providerId="ADAL" clId="{DBB6B645-C36E-4B21-9704-373E2A71DC5E}" dt="2020-07-03T07:29:10.429" v="30422" actId="20577"/>
          <ac:spMkLst>
            <pc:docMk/>
            <pc:sldMk cId="2125832369" sldId="141168995"/>
            <ac:spMk id="47" creationId="{F0E4EFD7-F893-412C-9E38-D784A404CFDF}"/>
          </ac:spMkLst>
        </pc:spChg>
        <pc:spChg chg="add mod">
          <ac:chgData name="Sourav Bose" userId="a3480f76-fe68-4c03-a922-c4aa16f9bb6b" providerId="ADAL" clId="{DBB6B645-C36E-4B21-9704-373E2A71DC5E}" dt="2020-07-03T08:25:31.814" v="30526" actId="20577"/>
          <ac:spMkLst>
            <pc:docMk/>
            <pc:sldMk cId="2125832369" sldId="141168995"/>
            <ac:spMk id="48" creationId="{5596123E-6772-4E3D-8566-92C44EF639D1}"/>
          </ac:spMkLst>
        </pc:spChg>
        <pc:grpChg chg="add mod">
          <ac:chgData name="Sourav Bose" userId="a3480f76-fe68-4c03-a922-c4aa16f9bb6b" providerId="ADAL" clId="{DBB6B645-C36E-4B21-9704-373E2A71DC5E}" dt="2020-07-03T06:03:45.588" v="28306" actId="1037"/>
          <ac:grpSpMkLst>
            <pc:docMk/>
            <pc:sldMk cId="2125832369" sldId="141168995"/>
            <ac:grpSpMk id="44" creationId="{AEC02FD8-5371-4178-AEA2-B1269FEAB33A}"/>
          </ac:grpSpMkLst>
        </pc:grpChg>
        <pc:grpChg chg="del mod">
          <ac:chgData name="Sourav Bose" userId="a3480f76-fe68-4c03-a922-c4aa16f9bb6b" providerId="ADAL" clId="{DBB6B645-C36E-4B21-9704-373E2A71DC5E}" dt="2020-07-02T12:43:26.971" v="18092" actId="478"/>
          <ac:grpSpMkLst>
            <pc:docMk/>
            <pc:sldMk cId="2125832369" sldId="141168995"/>
            <ac:grpSpMk id="50" creationId="{220579DF-3122-4EC3-8D45-641937D4EC67}"/>
          </ac:grpSpMkLst>
        </pc:grpChg>
        <pc:grpChg chg="del mod">
          <ac:chgData name="Sourav Bose" userId="a3480f76-fe68-4c03-a922-c4aa16f9bb6b" providerId="ADAL" clId="{DBB6B645-C36E-4B21-9704-373E2A71DC5E}" dt="2020-07-02T13:30:15.415" v="20023" actId="478"/>
          <ac:grpSpMkLst>
            <pc:docMk/>
            <pc:sldMk cId="2125832369" sldId="141168995"/>
            <ac:grpSpMk id="59" creationId="{707EF5EE-C859-4A34-95D4-60E22ABD3878}"/>
          </ac:grpSpMkLst>
        </pc:grpChg>
        <pc:picChg chg="add mod">
          <ac:chgData name="Sourav Bose" userId="a3480f76-fe68-4c03-a922-c4aa16f9bb6b" providerId="ADAL" clId="{DBB6B645-C36E-4B21-9704-373E2A71DC5E}" dt="2020-07-03T06:03:42.352" v="28299" actId="1035"/>
          <ac:picMkLst>
            <pc:docMk/>
            <pc:sldMk cId="2125832369" sldId="141168995"/>
            <ac:picMk id="38" creationId="{2AEB833A-8CE2-4505-BC9B-682FDF0D9CC9}"/>
          </ac:picMkLst>
        </pc:picChg>
        <pc:picChg chg="mod">
          <ac:chgData name="Sourav Bose" userId="a3480f76-fe68-4c03-a922-c4aa16f9bb6b" providerId="ADAL" clId="{DBB6B645-C36E-4B21-9704-373E2A71DC5E}" dt="2020-07-03T06:03:48.142" v="28312" actId="1037"/>
          <ac:picMkLst>
            <pc:docMk/>
            <pc:sldMk cId="2125832369" sldId="141168995"/>
            <ac:picMk id="49" creationId="{D429A9E4-4598-4F86-B125-D8083A905194}"/>
          </ac:picMkLst>
        </pc:picChg>
      </pc:sldChg>
      <pc:sldChg chg="del">
        <pc:chgData name="Sourav Bose" userId="a3480f76-fe68-4c03-a922-c4aa16f9bb6b" providerId="ADAL" clId="{DBB6B645-C36E-4B21-9704-373E2A71DC5E}" dt="2020-07-02T12:08:20.652" v="17358" actId="2696"/>
        <pc:sldMkLst>
          <pc:docMk/>
          <pc:sldMk cId="2589683234" sldId="141168995"/>
        </pc:sldMkLst>
      </pc:sldChg>
      <pc:sldChg chg="addSp delSp modSp">
        <pc:chgData name="Sourav Bose" userId="a3480f76-fe68-4c03-a922-c4aa16f9bb6b" providerId="ADAL" clId="{DBB6B645-C36E-4B21-9704-373E2A71DC5E}" dt="2020-07-03T07:28:59.715" v="30418" actId="20577"/>
        <pc:sldMkLst>
          <pc:docMk/>
          <pc:sldMk cId="2071970556" sldId="141168996"/>
        </pc:sldMkLst>
        <pc:spChg chg="mod">
          <ac:chgData name="Sourav Bose" userId="a3480f76-fe68-4c03-a922-c4aa16f9bb6b" providerId="ADAL" clId="{DBB6B645-C36E-4B21-9704-373E2A71DC5E}" dt="2020-07-03T05:40:40.003" v="27579" actId="20577"/>
          <ac:spMkLst>
            <pc:docMk/>
            <pc:sldMk cId="2071970556" sldId="141168996"/>
            <ac:spMk id="2" creationId="{20508790-C603-4DF1-BC89-E3B0BAD424D0}"/>
          </ac:spMkLst>
        </pc:spChg>
        <pc:spChg chg="add mod">
          <ac:chgData name="Sourav Bose" userId="a3480f76-fe68-4c03-a922-c4aa16f9bb6b" providerId="ADAL" clId="{DBB6B645-C36E-4B21-9704-373E2A71DC5E}" dt="2020-07-03T07:28:59.715" v="30418" actId="20577"/>
          <ac:spMkLst>
            <pc:docMk/>
            <pc:sldMk cId="2071970556" sldId="141168996"/>
            <ac:spMk id="80" creationId="{224AB964-F6A9-4333-A65B-DE85C4D9BC9A}"/>
          </ac:spMkLst>
        </pc:spChg>
        <pc:spChg chg="add mod">
          <ac:chgData name="Sourav Bose" userId="a3480f76-fe68-4c03-a922-c4aa16f9bb6b" providerId="ADAL" clId="{DBB6B645-C36E-4B21-9704-373E2A71DC5E}" dt="2020-07-03T07:28:54.266" v="30414" actId="20577"/>
          <ac:spMkLst>
            <pc:docMk/>
            <pc:sldMk cId="2071970556" sldId="141168996"/>
            <ac:spMk id="81" creationId="{ADE14A6F-D906-4D56-AFB8-9FE5B33FF377}"/>
          </ac:spMkLst>
        </pc:spChg>
        <pc:spChg chg="add mod">
          <ac:chgData name="Sourav Bose" userId="a3480f76-fe68-4c03-a922-c4aa16f9bb6b" providerId="ADAL" clId="{DBB6B645-C36E-4B21-9704-373E2A71DC5E}" dt="2020-07-03T07:28:48.533" v="30410" actId="20577"/>
          <ac:spMkLst>
            <pc:docMk/>
            <pc:sldMk cId="2071970556" sldId="141168996"/>
            <ac:spMk id="82" creationId="{A524FB92-4441-452B-889C-5A96D3575F67}"/>
          </ac:spMkLst>
        </pc:spChg>
        <pc:spChg chg="add mod">
          <ac:chgData name="Sourav Bose" userId="a3480f76-fe68-4c03-a922-c4aa16f9bb6b" providerId="ADAL" clId="{DBB6B645-C36E-4B21-9704-373E2A71DC5E}" dt="2020-07-02T04:52:51.201" v="9168" actId="14100"/>
          <ac:spMkLst>
            <pc:docMk/>
            <pc:sldMk cId="2071970556" sldId="141168996"/>
            <ac:spMk id="83" creationId="{86BF0C5A-3C84-4762-B9C8-03905702D7B3}"/>
          </ac:spMkLst>
        </pc:spChg>
        <pc:spChg chg="mod">
          <ac:chgData name="Sourav Bose" userId="a3480f76-fe68-4c03-a922-c4aa16f9bb6b" providerId="ADAL" clId="{DBB6B645-C36E-4B21-9704-373E2A71DC5E}" dt="2020-07-02T04:44:14.874" v="8925" actId="207"/>
          <ac:spMkLst>
            <pc:docMk/>
            <pc:sldMk cId="2071970556" sldId="141168996"/>
            <ac:spMk id="98" creationId="{D050A29F-2482-4724-9D3B-12FB0A7DACD7}"/>
          </ac:spMkLst>
        </pc:spChg>
        <pc:spChg chg="mod">
          <ac:chgData name="Sourav Bose" userId="a3480f76-fe68-4c03-a922-c4aa16f9bb6b" providerId="ADAL" clId="{DBB6B645-C36E-4B21-9704-373E2A71DC5E}" dt="2020-07-02T04:39:42.022" v="8870" actId="207"/>
          <ac:spMkLst>
            <pc:docMk/>
            <pc:sldMk cId="2071970556" sldId="141168996"/>
            <ac:spMk id="102" creationId="{C762FBDD-742C-440D-8586-1ED8864821BC}"/>
          </ac:spMkLst>
        </pc:spChg>
        <pc:spChg chg="mod">
          <ac:chgData name="Sourav Bose" userId="a3480f76-fe68-4c03-a922-c4aa16f9bb6b" providerId="ADAL" clId="{DBB6B645-C36E-4B21-9704-373E2A71DC5E}" dt="2020-07-02T04:45:00.581" v="8927" actId="207"/>
          <ac:spMkLst>
            <pc:docMk/>
            <pc:sldMk cId="2071970556" sldId="141168996"/>
            <ac:spMk id="103" creationId="{7D7B1F05-F9D2-4C76-BB55-B1761079092D}"/>
          </ac:spMkLst>
        </pc:spChg>
        <pc:spChg chg="mod ord">
          <ac:chgData name="Sourav Bose" userId="a3480f76-fe68-4c03-a922-c4aa16f9bb6b" providerId="ADAL" clId="{DBB6B645-C36E-4B21-9704-373E2A71DC5E}" dt="2020-07-02T04:42:47.513" v="8923"/>
          <ac:spMkLst>
            <pc:docMk/>
            <pc:sldMk cId="2071970556" sldId="141168996"/>
            <ac:spMk id="108" creationId="{3945A2C8-08AE-435C-99B4-42716D1028E2}"/>
          </ac:spMkLst>
        </pc:spChg>
        <pc:spChg chg="mod">
          <ac:chgData name="Sourav Bose" userId="a3480f76-fe68-4c03-a922-c4aa16f9bb6b" providerId="ADAL" clId="{DBB6B645-C36E-4B21-9704-373E2A71DC5E}" dt="2020-07-02T04:42:02.332" v="8877" actId="166"/>
          <ac:spMkLst>
            <pc:docMk/>
            <pc:sldMk cId="2071970556" sldId="141168996"/>
            <ac:spMk id="109" creationId="{EE4A3BF5-C585-4777-A7E2-40508F1E31FA}"/>
          </ac:spMkLst>
        </pc:spChg>
        <pc:spChg chg="mod">
          <ac:chgData name="Sourav Bose" userId="a3480f76-fe68-4c03-a922-c4aa16f9bb6b" providerId="ADAL" clId="{DBB6B645-C36E-4B21-9704-373E2A71DC5E}" dt="2020-07-03T05:39:31.644" v="27561" actId="20577"/>
          <ac:spMkLst>
            <pc:docMk/>
            <pc:sldMk cId="2071970556" sldId="141168996"/>
            <ac:spMk id="192" creationId="{9416B146-5ACA-446F-B4EF-8D6900E166D8}"/>
          </ac:spMkLst>
        </pc:spChg>
        <pc:spChg chg="mod">
          <ac:chgData name="Sourav Bose" userId="a3480f76-fe68-4c03-a922-c4aa16f9bb6b" providerId="ADAL" clId="{DBB6B645-C36E-4B21-9704-373E2A71DC5E}" dt="2020-07-03T05:39:06.615" v="27546" actId="20577"/>
          <ac:spMkLst>
            <pc:docMk/>
            <pc:sldMk cId="2071970556" sldId="141168996"/>
            <ac:spMk id="193" creationId="{E179DBA4-8FAB-406A-9BD5-06D190F878DC}"/>
          </ac:spMkLst>
        </pc:spChg>
        <pc:spChg chg="mod">
          <ac:chgData name="Sourav Bose" userId="a3480f76-fe68-4c03-a922-c4aa16f9bb6b" providerId="ADAL" clId="{DBB6B645-C36E-4B21-9704-373E2A71DC5E}" dt="2020-07-03T05:40:07.017" v="27577" actId="20577"/>
          <ac:spMkLst>
            <pc:docMk/>
            <pc:sldMk cId="2071970556" sldId="141168996"/>
            <ac:spMk id="194" creationId="{DCF64D12-0498-40B3-89EB-EA53CC89FCD7}"/>
          </ac:spMkLst>
        </pc:spChg>
        <pc:spChg chg="mod">
          <ac:chgData name="Sourav Bose" userId="a3480f76-fe68-4c03-a922-c4aa16f9bb6b" providerId="ADAL" clId="{DBB6B645-C36E-4B21-9704-373E2A71DC5E}" dt="2020-07-02T04:48:31.249" v="8939" actId="208"/>
          <ac:spMkLst>
            <pc:docMk/>
            <pc:sldMk cId="2071970556" sldId="141168996"/>
            <ac:spMk id="195" creationId="{763A1641-1A27-4D2E-9C12-3F0B60483512}"/>
          </ac:spMkLst>
        </pc:spChg>
        <pc:spChg chg="mod">
          <ac:chgData name="Sourav Bose" userId="a3480f76-fe68-4c03-a922-c4aa16f9bb6b" providerId="ADAL" clId="{DBB6B645-C36E-4B21-9704-373E2A71DC5E}" dt="2020-07-02T04:48:37.934" v="8940" actId="208"/>
          <ac:spMkLst>
            <pc:docMk/>
            <pc:sldMk cId="2071970556" sldId="141168996"/>
            <ac:spMk id="196" creationId="{0FC2B666-25DA-4132-BC52-0E06053BDC19}"/>
          </ac:spMkLst>
        </pc:spChg>
        <pc:spChg chg="mod">
          <ac:chgData name="Sourav Bose" userId="a3480f76-fe68-4c03-a922-c4aa16f9bb6b" providerId="ADAL" clId="{DBB6B645-C36E-4B21-9704-373E2A71DC5E}" dt="2020-07-02T04:47:30.068" v="8934" actId="207"/>
          <ac:spMkLst>
            <pc:docMk/>
            <pc:sldMk cId="2071970556" sldId="141168996"/>
            <ac:spMk id="197" creationId="{58897C1A-C2D0-4D0F-A7FD-E334D703246C}"/>
          </ac:spMkLst>
        </pc:spChg>
        <pc:spChg chg="del mod">
          <ac:chgData name="Sourav Bose" userId="a3480f76-fe68-4c03-a922-c4aa16f9bb6b" providerId="ADAL" clId="{DBB6B645-C36E-4B21-9704-373E2A71DC5E}" dt="2020-07-03T03:24:35.783" v="23089" actId="478"/>
          <ac:spMkLst>
            <pc:docMk/>
            <pc:sldMk cId="2071970556" sldId="141168996"/>
            <ac:spMk id="207" creationId="{4BE20008-A129-468D-8404-4FACB2383FFF}"/>
          </ac:spMkLst>
        </pc:spChg>
        <pc:grpChg chg="mod">
          <ac:chgData name="Sourav Bose" userId="a3480f76-fe68-4c03-a922-c4aa16f9bb6b" providerId="ADAL" clId="{DBB6B645-C36E-4B21-9704-373E2A71DC5E}" dt="2020-07-02T04:45:24.932" v="8928" actId="207"/>
          <ac:grpSpMkLst>
            <pc:docMk/>
            <pc:sldMk cId="2071970556" sldId="141168996"/>
            <ac:grpSpMk id="140" creationId="{0C0C16F3-B027-4120-B2C7-C2756977E613}"/>
          </ac:grpSpMkLst>
        </pc:grpChg>
        <pc:grpChg chg="mod">
          <ac:chgData name="Sourav Bose" userId="a3480f76-fe68-4c03-a922-c4aa16f9bb6b" providerId="ADAL" clId="{DBB6B645-C36E-4B21-9704-373E2A71DC5E}" dt="2020-07-02T04:45:49.183" v="8930" actId="207"/>
          <ac:grpSpMkLst>
            <pc:docMk/>
            <pc:sldMk cId="2071970556" sldId="141168996"/>
            <ac:grpSpMk id="163" creationId="{0B7FF4FA-DC63-435E-8CE0-FFD73E081BF2}"/>
          </ac:grpSpMkLst>
        </pc:grpChg>
        <pc:grpChg chg="mod">
          <ac:chgData name="Sourav Bose" userId="a3480f76-fe68-4c03-a922-c4aa16f9bb6b" providerId="ADAL" clId="{DBB6B645-C36E-4B21-9704-373E2A71DC5E}" dt="2020-07-02T04:46:23.902" v="8931" actId="207"/>
          <ac:grpSpMkLst>
            <pc:docMk/>
            <pc:sldMk cId="2071970556" sldId="141168996"/>
            <ac:grpSpMk id="200" creationId="{E6B31AE0-2C83-407C-AD3C-9CFE5E7D42B3}"/>
          </ac:grpSpMkLst>
        </pc:grpChg>
        <pc:picChg chg="del">
          <ac:chgData name="Sourav Bose" userId="a3480f76-fe68-4c03-a922-c4aa16f9bb6b" providerId="ADAL" clId="{DBB6B645-C36E-4B21-9704-373E2A71DC5E}" dt="2020-07-02T04:45:34.402" v="8929" actId="478"/>
          <ac:picMkLst>
            <pc:docMk/>
            <pc:sldMk cId="2071970556" sldId="141168996"/>
            <ac:picMk id="206" creationId="{3F6FA62F-AB49-4235-AEEC-6DC593432857}"/>
          </ac:picMkLst>
        </pc:picChg>
      </pc:sldChg>
      <pc:sldChg chg="del">
        <pc:chgData name="Sourav Bose" userId="a3480f76-fe68-4c03-a922-c4aa16f9bb6b" providerId="ADAL" clId="{DBB6B645-C36E-4B21-9704-373E2A71DC5E}" dt="2020-07-03T08:21:44.189" v="30484" actId="2696"/>
        <pc:sldMkLst>
          <pc:docMk/>
          <pc:sldMk cId="378627206" sldId="141168997"/>
        </pc:sldMkLst>
      </pc:sldChg>
      <pc:sldChg chg="addSp delSp modSp del">
        <pc:chgData name="Sourav Bose" userId="a3480f76-fe68-4c03-a922-c4aa16f9bb6b" providerId="ADAL" clId="{DBB6B645-C36E-4B21-9704-373E2A71DC5E}" dt="2020-07-03T03:59:43.760" v="24533" actId="2696"/>
        <pc:sldMkLst>
          <pc:docMk/>
          <pc:sldMk cId="1605287739" sldId="141168997"/>
        </pc:sldMkLst>
        <pc:spChg chg="mod">
          <ac:chgData name="Sourav Bose" userId="a3480f76-fe68-4c03-a922-c4aa16f9bb6b" providerId="ADAL" clId="{DBB6B645-C36E-4B21-9704-373E2A71DC5E}" dt="2020-07-03T02:33:17.561" v="21762" actId="20577"/>
          <ac:spMkLst>
            <pc:docMk/>
            <pc:sldMk cId="1605287739" sldId="141168997"/>
            <ac:spMk id="2" creationId="{6123EE0C-2167-4423-824B-88FC5C68AF89}"/>
          </ac:spMkLst>
        </pc:spChg>
        <pc:spChg chg="mod">
          <ac:chgData name="Sourav Bose" userId="a3480f76-fe68-4c03-a922-c4aa16f9bb6b" providerId="ADAL" clId="{DBB6B645-C36E-4B21-9704-373E2A71DC5E}" dt="2020-06-29T07:09:29.674" v="2002" actId="1038"/>
          <ac:spMkLst>
            <pc:docMk/>
            <pc:sldMk cId="1605287739" sldId="141168997"/>
            <ac:spMk id="4" creationId="{56B27D2A-0CA0-4238-978B-89FF2742A454}"/>
          </ac:spMkLst>
        </pc:spChg>
        <pc:spChg chg="mod">
          <ac:chgData name="Sourav Bose" userId="a3480f76-fe68-4c03-a922-c4aa16f9bb6b" providerId="ADAL" clId="{DBB6B645-C36E-4B21-9704-373E2A71DC5E}" dt="2020-06-29T07:09:29.674" v="2002" actId="1038"/>
          <ac:spMkLst>
            <pc:docMk/>
            <pc:sldMk cId="1605287739" sldId="141168997"/>
            <ac:spMk id="5" creationId="{2952F169-8BCF-4559-A720-52CCE4E2274D}"/>
          </ac:spMkLst>
        </pc:spChg>
        <pc:spChg chg="mod">
          <ac:chgData name="Sourav Bose" userId="a3480f76-fe68-4c03-a922-c4aa16f9bb6b" providerId="ADAL" clId="{DBB6B645-C36E-4B21-9704-373E2A71DC5E}" dt="2020-07-03T02:30:41.040" v="21750" actId="20577"/>
          <ac:spMkLst>
            <pc:docMk/>
            <pc:sldMk cId="1605287739" sldId="141168997"/>
            <ac:spMk id="6" creationId="{C7FDEE96-1333-4C8B-AB86-ADE379A470B8}"/>
          </ac:spMkLst>
        </pc:spChg>
        <pc:spChg chg="mod">
          <ac:chgData name="Sourav Bose" userId="a3480f76-fe68-4c03-a922-c4aa16f9bb6b" providerId="ADAL" clId="{DBB6B645-C36E-4B21-9704-373E2A71DC5E}" dt="2020-07-03T02:31:53.894" v="21753" actId="20577"/>
          <ac:spMkLst>
            <pc:docMk/>
            <pc:sldMk cId="1605287739" sldId="141168997"/>
            <ac:spMk id="7" creationId="{DE39E753-186D-4384-96B1-71EFAB029B0F}"/>
          </ac:spMkLst>
        </pc:spChg>
        <pc:spChg chg="mod">
          <ac:chgData name="Sourav Bose" userId="a3480f76-fe68-4c03-a922-c4aa16f9bb6b" providerId="ADAL" clId="{DBB6B645-C36E-4B21-9704-373E2A71DC5E}" dt="2020-07-02T10:55:53.194" v="16242" actId="208"/>
          <ac:spMkLst>
            <pc:docMk/>
            <pc:sldMk cId="1605287739" sldId="141168997"/>
            <ac:spMk id="8" creationId="{AF60575D-4A76-4BDA-A41A-51D8D5B074E4}"/>
          </ac:spMkLst>
        </pc:spChg>
        <pc:spChg chg="mod">
          <ac:chgData name="Sourav Bose" userId="a3480f76-fe68-4c03-a922-c4aa16f9bb6b" providerId="ADAL" clId="{DBB6B645-C36E-4B21-9704-373E2A71DC5E}" dt="2020-07-02T10:55:45.830" v="16241" actId="208"/>
          <ac:spMkLst>
            <pc:docMk/>
            <pc:sldMk cId="1605287739" sldId="141168997"/>
            <ac:spMk id="9" creationId="{A16AE5DD-E1B7-44D6-8C00-B17201A74CD2}"/>
          </ac:spMkLst>
        </pc:spChg>
        <pc:spChg chg="mod">
          <ac:chgData name="Sourav Bose" userId="a3480f76-fe68-4c03-a922-c4aa16f9bb6b" providerId="ADAL" clId="{DBB6B645-C36E-4B21-9704-373E2A71DC5E}" dt="2020-06-29T07:09:29.674" v="2002" actId="1038"/>
          <ac:spMkLst>
            <pc:docMk/>
            <pc:sldMk cId="1605287739" sldId="141168997"/>
            <ac:spMk id="10" creationId="{AAA48EFA-AD0F-47ED-BB60-A9AF2722F16D}"/>
          </ac:spMkLst>
        </pc:spChg>
        <pc:spChg chg="mod">
          <ac:chgData name="Sourav Bose" userId="a3480f76-fe68-4c03-a922-c4aa16f9bb6b" providerId="ADAL" clId="{DBB6B645-C36E-4B21-9704-373E2A71DC5E}" dt="2020-06-29T07:09:29.674" v="2002" actId="1038"/>
          <ac:spMkLst>
            <pc:docMk/>
            <pc:sldMk cId="1605287739" sldId="141168997"/>
            <ac:spMk id="11" creationId="{126C5DF7-16D4-4D44-B82C-68FD74373670}"/>
          </ac:spMkLst>
        </pc:spChg>
        <pc:spChg chg="mod">
          <ac:chgData name="Sourav Bose" userId="a3480f76-fe68-4c03-a922-c4aa16f9bb6b" providerId="ADAL" clId="{DBB6B645-C36E-4B21-9704-373E2A71DC5E}" dt="2020-06-29T07:09:29.674" v="2002" actId="1038"/>
          <ac:spMkLst>
            <pc:docMk/>
            <pc:sldMk cId="1605287739" sldId="141168997"/>
            <ac:spMk id="12" creationId="{28891AA5-7635-4FEA-AF68-EA3E37CE6DA8}"/>
          </ac:spMkLst>
        </pc:spChg>
        <pc:spChg chg="mod">
          <ac:chgData name="Sourav Bose" userId="a3480f76-fe68-4c03-a922-c4aa16f9bb6b" providerId="ADAL" clId="{DBB6B645-C36E-4B21-9704-373E2A71DC5E}" dt="2020-06-29T07:09:29.674" v="2002" actId="1038"/>
          <ac:spMkLst>
            <pc:docMk/>
            <pc:sldMk cId="1605287739" sldId="141168997"/>
            <ac:spMk id="13" creationId="{A455A67C-0C75-4582-BBCB-69BF84E1425B}"/>
          </ac:spMkLst>
        </pc:spChg>
        <pc:spChg chg="mod">
          <ac:chgData name="Sourav Bose" userId="a3480f76-fe68-4c03-a922-c4aa16f9bb6b" providerId="ADAL" clId="{DBB6B645-C36E-4B21-9704-373E2A71DC5E}" dt="2020-06-29T07:09:29.674" v="2002" actId="1038"/>
          <ac:spMkLst>
            <pc:docMk/>
            <pc:sldMk cId="1605287739" sldId="141168997"/>
            <ac:spMk id="14" creationId="{C18A85C1-6544-4573-A4ED-592495CB09C5}"/>
          </ac:spMkLst>
        </pc:spChg>
        <pc:spChg chg="mod">
          <ac:chgData name="Sourav Bose" userId="a3480f76-fe68-4c03-a922-c4aa16f9bb6b" providerId="ADAL" clId="{DBB6B645-C36E-4B21-9704-373E2A71DC5E}" dt="2020-06-29T07:09:29.674" v="2002" actId="1038"/>
          <ac:spMkLst>
            <pc:docMk/>
            <pc:sldMk cId="1605287739" sldId="141168997"/>
            <ac:spMk id="15" creationId="{0634C775-3974-4FA6-9FC9-C6C8B0224200}"/>
          </ac:spMkLst>
        </pc:spChg>
        <pc:spChg chg="mod">
          <ac:chgData name="Sourav Bose" userId="a3480f76-fe68-4c03-a922-c4aa16f9bb6b" providerId="ADAL" clId="{DBB6B645-C36E-4B21-9704-373E2A71DC5E}" dt="2020-07-03T02:32:42.970" v="21754" actId="6549"/>
          <ac:spMkLst>
            <pc:docMk/>
            <pc:sldMk cId="1605287739" sldId="141168997"/>
            <ac:spMk id="16" creationId="{36C61256-B8BC-42CB-ADA9-F4AF3A8B2AB2}"/>
          </ac:spMkLst>
        </pc:spChg>
        <pc:spChg chg="mod">
          <ac:chgData name="Sourav Bose" userId="a3480f76-fe68-4c03-a922-c4aa16f9bb6b" providerId="ADAL" clId="{DBB6B645-C36E-4B21-9704-373E2A71DC5E}" dt="2020-07-02T10:55:39.941" v="16240" actId="207"/>
          <ac:spMkLst>
            <pc:docMk/>
            <pc:sldMk cId="1605287739" sldId="141168997"/>
            <ac:spMk id="21" creationId="{41F9EC80-E519-466F-893B-50C2E6042840}"/>
          </ac:spMkLst>
        </pc:spChg>
        <pc:spChg chg="add mod">
          <ac:chgData name="Sourav Bose" userId="a3480f76-fe68-4c03-a922-c4aa16f9bb6b" providerId="ADAL" clId="{DBB6B645-C36E-4B21-9704-373E2A71DC5E}" dt="2020-06-29T08:14:47.118" v="3114" actId="208"/>
          <ac:spMkLst>
            <pc:docMk/>
            <pc:sldMk cId="1605287739" sldId="141168997"/>
            <ac:spMk id="22" creationId="{E5442866-C300-4627-87D2-BDE54C600C73}"/>
          </ac:spMkLst>
        </pc:spChg>
        <pc:spChg chg="mod">
          <ac:chgData name="Sourav Bose" userId="a3480f76-fe68-4c03-a922-c4aa16f9bb6b" providerId="ADAL" clId="{DBB6B645-C36E-4B21-9704-373E2A71DC5E}" dt="2020-06-29T07:09:29.674" v="2002" actId="1038"/>
          <ac:spMkLst>
            <pc:docMk/>
            <pc:sldMk cId="1605287739" sldId="141168997"/>
            <ac:spMk id="72" creationId="{9F041AEF-B4CA-458B-93A0-AC7F65C1F64F}"/>
          </ac:spMkLst>
        </pc:spChg>
        <pc:spChg chg="mod">
          <ac:chgData name="Sourav Bose" userId="a3480f76-fe68-4c03-a922-c4aa16f9bb6b" providerId="ADAL" clId="{DBB6B645-C36E-4B21-9704-373E2A71DC5E}" dt="2020-06-29T07:09:29.674" v="2002" actId="1038"/>
          <ac:spMkLst>
            <pc:docMk/>
            <pc:sldMk cId="1605287739" sldId="141168997"/>
            <ac:spMk id="73" creationId="{8D1899FB-E55C-4E77-AFFF-DA1E42979AE4}"/>
          </ac:spMkLst>
        </pc:spChg>
        <pc:spChg chg="mod">
          <ac:chgData name="Sourav Bose" userId="a3480f76-fe68-4c03-a922-c4aa16f9bb6b" providerId="ADAL" clId="{DBB6B645-C36E-4B21-9704-373E2A71DC5E}" dt="2020-07-03T02:29:16.342" v="21745" actId="20577"/>
          <ac:spMkLst>
            <pc:docMk/>
            <pc:sldMk cId="1605287739" sldId="141168997"/>
            <ac:spMk id="74" creationId="{5619C83B-D6C4-4C9D-9EB7-4BCAA336BA14}"/>
          </ac:spMkLst>
        </pc:spChg>
        <pc:spChg chg="mod">
          <ac:chgData name="Sourav Bose" userId="a3480f76-fe68-4c03-a922-c4aa16f9bb6b" providerId="ADAL" clId="{DBB6B645-C36E-4B21-9704-373E2A71DC5E}" dt="2020-06-29T07:09:29.674" v="2002" actId="1038"/>
          <ac:spMkLst>
            <pc:docMk/>
            <pc:sldMk cId="1605287739" sldId="141168997"/>
            <ac:spMk id="75" creationId="{93580180-585F-4358-8709-6E8679E66F4B}"/>
          </ac:spMkLst>
        </pc:spChg>
        <pc:spChg chg="mod">
          <ac:chgData name="Sourav Bose" userId="a3480f76-fe68-4c03-a922-c4aa16f9bb6b" providerId="ADAL" clId="{DBB6B645-C36E-4B21-9704-373E2A71DC5E}" dt="2020-06-29T07:09:29.674" v="2002" actId="1038"/>
          <ac:spMkLst>
            <pc:docMk/>
            <pc:sldMk cId="1605287739" sldId="141168997"/>
            <ac:spMk id="77" creationId="{C43A2B0C-4ECE-4D0C-B4B8-15C2DF08B2F8}"/>
          </ac:spMkLst>
        </pc:spChg>
        <pc:spChg chg="mod">
          <ac:chgData name="Sourav Bose" userId="a3480f76-fe68-4c03-a922-c4aa16f9bb6b" providerId="ADAL" clId="{DBB6B645-C36E-4B21-9704-373E2A71DC5E}" dt="2020-06-29T07:09:29.674" v="2002" actId="1038"/>
          <ac:spMkLst>
            <pc:docMk/>
            <pc:sldMk cId="1605287739" sldId="141168997"/>
            <ac:spMk id="78" creationId="{396F445E-A2DC-41CD-9D99-D42635F952D9}"/>
          </ac:spMkLst>
        </pc:spChg>
        <pc:spChg chg="mod">
          <ac:chgData name="Sourav Bose" userId="a3480f76-fe68-4c03-a922-c4aa16f9bb6b" providerId="ADAL" clId="{DBB6B645-C36E-4B21-9704-373E2A71DC5E}" dt="2020-06-29T07:09:29.674" v="2002" actId="1038"/>
          <ac:spMkLst>
            <pc:docMk/>
            <pc:sldMk cId="1605287739" sldId="141168997"/>
            <ac:spMk id="79" creationId="{4BEFABD7-7E9A-49DF-8FE5-3FF9734EB917}"/>
          </ac:spMkLst>
        </pc:spChg>
        <pc:spChg chg="mod">
          <ac:chgData name="Sourav Bose" userId="a3480f76-fe68-4c03-a922-c4aa16f9bb6b" providerId="ADAL" clId="{DBB6B645-C36E-4B21-9704-373E2A71DC5E}" dt="2020-06-29T07:09:29.674" v="2002" actId="1038"/>
          <ac:spMkLst>
            <pc:docMk/>
            <pc:sldMk cId="1605287739" sldId="141168997"/>
            <ac:spMk id="80" creationId="{D444C642-EE44-46BC-88D9-4BBD809C052F}"/>
          </ac:spMkLst>
        </pc:spChg>
        <pc:spChg chg="mod">
          <ac:chgData name="Sourav Bose" userId="a3480f76-fe68-4c03-a922-c4aa16f9bb6b" providerId="ADAL" clId="{DBB6B645-C36E-4B21-9704-373E2A71DC5E}" dt="2020-06-29T07:14:42.525" v="2088" actId="207"/>
          <ac:spMkLst>
            <pc:docMk/>
            <pc:sldMk cId="1605287739" sldId="141168997"/>
            <ac:spMk id="81" creationId="{36A66A63-131C-4CD0-8361-8B2FC5EF2B77}"/>
          </ac:spMkLst>
        </pc:spChg>
        <pc:spChg chg="mod">
          <ac:chgData name="Sourav Bose" userId="a3480f76-fe68-4c03-a922-c4aa16f9bb6b" providerId="ADAL" clId="{DBB6B645-C36E-4B21-9704-373E2A71DC5E}" dt="2020-06-29T07:14:45.557" v="2089" actId="207"/>
          <ac:spMkLst>
            <pc:docMk/>
            <pc:sldMk cId="1605287739" sldId="141168997"/>
            <ac:spMk id="82" creationId="{2054AC15-F673-4AA7-9C7F-08787066D01F}"/>
          </ac:spMkLst>
        </pc:spChg>
        <pc:spChg chg="mod">
          <ac:chgData name="Sourav Bose" userId="a3480f76-fe68-4c03-a922-c4aa16f9bb6b" providerId="ADAL" clId="{DBB6B645-C36E-4B21-9704-373E2A71DC5E}" dt="2020-06-29T07:14:38.704" v="2087" actId="207"/>
          <ac:spMkLst>
            <pc:docMk/>
            <pc:sldMk cId="1605287739" sldId="141168997"/>
            <ac:spMk id="83" creationId="{0DC0C52F-517F-4DB8-926A-2BB0CA62CA62}"/>
          </ac:spMkLst>
        </pc:spChg>
        <pc:spChg chg="mod">
          <ac:chgData name="Sourav Bose" userId="a3480f76-fe68-4c03-a922-c4aa16f9bb6b" providerId="ADAL" clId="{DBB6B645-C36E-4B21-9704-373E2A71DC5E}" dt="2020-06-29T07:14:48.227" v="2090" actId="207"/>
          <ac:spMkLst>
            <pc:docMk/>
            <pc:sldMk cId="1605287739" sldId="141168997"/>
            <ac:spMk id="84" creationId="{E3F2B632-9F2D-4789-B51D-B95360FFB902}"/>
          </ac:spMkLst>
        </pc:spChg>
        <pc:spChg chg="mod">
          <ac:chgData name="Sourav Bose" userId="a3480f76-fe68-4c03-a922-c4aa16f9bb6b" providerId="ADAL" clId="{DBB6B645-C36E-4B21-9704-373E2A71DC5E}" dt="2020-06-29T07:14:55.024" v="2093" actId="207"/>
          <ac:spMkLst>
            <pc:docMk/>
            <pc:sldMk cId="1605287739" sldId="141168997"/>
            <ac:spMk id="85" creationId="{29FB3B1E-2300-4BE9-9E2F-4354C9003138}"/>
          </ac:spMkLst>
        </pc:spChg>
        <pc:spChg chg="mod">
          <ac:chgData name="Sourav Bose" userId="a3480f76-fe68-4c03-a922-c4aa16f9bb6b" providerId="ADAL" clId="{DBB6B645-C36E-4B21-9704-373E2A71DC5E}" dt="2020-06-29T07:14:57.414" v="2094" actId="207"/>
          <ac:spMkLst>
            <pc:docMk/>
            <pc:sldMk cId="1605287739" sldId="141168997"/>
            <ac:spMk id="86" creationId="{2A837358-1A91-43F9-B854-D8B8C0B0187E}"/>
          </ac:spMkLst>
        </pc:spChg>
        <pc:spChg chg="mod">
          <ac:chgData name="Sourav Bose" userId="a3480f76-fe68-4c03-a922-c4aa16f9bb6b" providerId="ADAL" clId="{DBB6B645-C36E-4B21-9704-373E2A71DC5E}" dt="2020-06-29T07:16:58.141" v="2109" actId="207"/>
          <ac:spMkLst>
            <pc:docMk/>
            <pc:sldMk cId="1605287739" sldId="141168997"/>
            <ac:spMk id="87" creationId="{EFB13510-F624-4610-92CF-DF24D90C7CDF}"/>
          </ac:spMkLst>
        </pc:spChg>
        <pc:spChg chg="mod">
          <ac:chgData name="Sourav Bose" userId="a3480f76-fe68-4c03-a922-c4aa16f9bb6b" providerId="ADAL" clId="{DBB6B645-C36E-4B21-9704-373E2A71DC5E}" dt="2020-06-29T07:14:53.077" v="2092" actId="207"/>
          <ac:spMkLst>
            <pc:docMk/>
            <pc:sldMk cId="1605287739" sldId="141168997"/>
            <ac:spMk id="88" creationId="{76C02767-9191-4437-8271-BAA8E0191112}"/>
          </ac:spMkLst>
        </pc:spChg>
        <pc:spChg chg="mod">
          <ac:chgData name="Sourav Bose" userId="a3480f76-fe68-4c03-a922-c4aa16f9bb6b" providerId="ADAL" clId="{DBB6B645-C36E-4B21-9704-373E2A71DC5E}" dt="2020-06-29T07:17:00.126" v="2110" actId="207"/>
          <ac:spMkLst>
            <pc:docMk/>
            <pc:sldMk cId="1605287739" sldId="141168997"/>
            <ac:spMk id="89" creationId="{B4B09544-821B-4A38-9426-A23CA6D3E738}"/>
          </ac:spMkLst>
        </pc:spChg>
        <pc:spChg chg="mod">
          <ac:chgData name="Sourav Bose" userId="a3480f76-fe68-4c03-a922-c4aa16f9bb6b" providerId="ADAL" clId="{DBB6B645-C36E-4B21-9704-373E2A71DC5E}" dt="2020-06-29T07:16:51.535" v="2105" actId="207"/>
          <ac:spMkLst>
            <pc:docMk/>
            <pc:sldMk cId="1605287739" sldId="141168997"/>
            <ac:spMk id="90" creationId="{6A6D42E4-1166-4B9E-B4AB-BADDC533BACD}"/>
          </ac:spMkLst>
        </pc:spChg>
        <pc:spChg chg="mod">
          <ac:chgData name="Sourav Bose" userId="a3480f76-fe68-4c03-a922-c4aa16f9bb6b" providerId="ADAL" clId="{DBB6B645-C36E-4B21-9704-373E2A71DC5E}" dt="2020-06-29T07:15:02.921" v="2096" actId="207"/>
          <ac:spMkLst>
            <pc:docMk/>
            <pc:sldMk cId="1605287739" sldId="141168997"/>
            <ac:spMk id="91" creationId="{EF6A6DA5-BC42-4D16-A4B6-661BA16A29B3}"/>
          </ac:spMkLst>
        </pc:spChg>
        <pc:spChg chg="mod">
          <ac:chgData name="Sourav Bose" userId="a3480f76-fe68-4c03-a922-c4aa16f9bb6b" providerId="ADAL" clId="{DBB6B645-C36E-4B21-9704-373E2A71DC5E}" dt="2020-06-29T07:16:53.775" v="2106" actId="207"/>
          <ac:spMkLst>
            <pc:docMk/>
            <pc:sldMk cId="1605287739" sldId="141168997"/>
            <ac:spMk id="92" creationId="{E5ED1AF0-3765-44D6-8C05-B77A2CB870EF}"/>
          </ac:spMkLst>
        </pc:spChg>
        <pc:spChg chg="mod">
          <ac:chgData name="Sourav Bose" userId="a3480f76-fe68-4c03-a922-c4aa16f9bb6b" providerId="ADAL" clId="{DBB6B645-C36E-4B21-9704-373E2A71DC5E}" dt="2020-06-29T07:14:59.675" v="2095" actId="207"/>
          <ac:spMkLst>
            <pc:docMk/>
            <pc:sldMk cId="1605287739" sldId="141168997"/>
            <ac:spMk id="138" creationId="{D12E0EBA-075B-43CB-B9A9-A7FAA753B4E4}"/>
          </ac:spMkLst>
        </pc:spChg>
        <pc:spChg chg="mod">
          <ac:chgData name="Sourav Bose" userId="a3480f76-fe68-4c03-a922-c4aa16f9bb6b" providerId="ADAL" clId="{DBB6B645-C36E-4B21-9704-373E2A71DC5E}" dt="2020-06-29T07:14:50.602" v="2091" actId="207"/>
          <ac:spMkLst>
            <pc:docMk/>
            <pc:sldMk cId="1605287739" sldId="141168997"/>
            <ac:spMk id="140" creationId="{7C137227-6811-4D2F-BFCE-1FB2450069EB}"/>
          </ac:spMkLst>
        </pc:spChg>
        <pc:spChg chg="mod">
          <ac:chgData name="Sourav Bose" userId="a3480f76-fe68-4c03-a922-c4aa16f9bb6b" providerId="ADAL" clId="{DBB6B645-C36E-4B21-9704-373E2A71DC5E}" dt="2020-07-02T10:56:09.306" v="16244" actId="207"/>
          <ac:spMkLst>
            <pc:docMk/>
            <pc:sldMk cId="1605287739" sldId="141168997"/>
            <ac:spMk id="141" creationId="{82ADD797-409A-432A-9033-2D542E69216D}"/>
          </ac:spMkLst>
        </pc:spChg>
        <pc:spChg chg="mod">
          <ac:chgData name="Sourav Bose" userId="a3480f76-fe68-4c03-a922-c4aa16f9bb6b" providerId="ADAL" clId="{DBB6B645-C36E-4B21-9704-373E2A71DC5E}" dt="2020-07-02T10:56:05.825" v="16243" actId="207"/>
          <ac:spMkLst>
            <pc:docMk/>
            <pc:sldMk cId="1605287739" sldId="141168997"/>
            <ac:spMk id="142" creationId="{F41B2615-32B5-4AEF-A7AD-2CF25D27BCAD}"/>
          </ac:spMkLst>
        </pc:spChg>
        <pc:spChg chg="mod">
          <ac:chgData name="Sourav Bose" userId="a3480f76-fe68-4c03-a922-c4aa16f9bb6b" providerId="ADAL" clId="{DBB6B645-C36E-4B21-9704-373E2A71DC5E}" dt="2020-07-02T10:56:13.429" v="16245" actId="207"/>
          <ac:spMkLst>
            <pc:docMk/>
            <pc:sldMk cId="1605287739" sldId="141168997"/>
            <ac:spMk id="143" creationId="{DD3626BF-06D8-4E15-961C-6E83312AC32F}"/>
          </ac:spMkLst>
        </pc:spChg>
        <pc:spChg chg="mod">
          <ac:chgData name="Sourav Bose" userId="a3480f76-fe68-4c03-a922-c4aa16f9bb6b" providerId="ADAL" clId="{DBB6B645-C36E-4B21-9704-373E2A71DC5E}" dt="2020-06-29T07:15:25.333" v="2098" actId="207"/>
          <ac:spMkLst>
            <pc:docMk/>
            <pc:sldMk cId="1605287739" sldId="141168997"/>
            <ac:spMk id="144" creationId="{AF725957-3CB9-46F5-A8D2-AAD6CD54B80C}"/>
          </ac:spMkLst>
        </pc:spChg>
        <pc:spChg chg="mod">
          <ac:chgData name="Sourav Bose" userId="a3480f76-fe68-4c03-a922-c4aa16f9bb6b" providerId="ADAL" clId="{DBB6B645-C36E-4B21-9704-373E2A71DC5E}" dt="2020-06-29T07:15:41.549" v="2099" actId="207"/>
          <ac:spMkLst>
            <pc:docMk/>
            <pc:sldMk cId="1605287739" sldId="141168997"/>
            <ac:spMk id="145" creationId="{E72A0E82-3854-40B3-BA7E-28E89FDC0E02}"/>
          </ac:spMkLst>
        </pc:spChg>
        <pc:spChg chg="mod">
          <ac:chgData name="Sourav Bose" userId="a3480f76-fe68-4c03-a922-c4aa16f9bb6b" providerId="ADAL" clId="{DBB6B645-C36E-4B21-9704-373E2A71DC5E}" dt="2020-06-29T07:15:44.459" v="2100" actId="207"/>
          <ac:spMkLst>
            <pc:docMk/>
            <pc:sldMk cId="1605287739" sldId="141168997"/>
            <ac:spMk id="146" creationId="{C52B97AC-76F6-43F7-B063-8F51FCB06858}"/>
          </ac:spMkLst>
        </pc:spChg>
        <pc:spChg chg="mod">
          <ac:chgData name="Sourav Bose" userId="a3480f76-fe68-4c03-a922-c4aa16f9bb6b" providerId="ADAL" clId="{DBB6B645-C36E-4B21-9704-373E2A71DC5E}" dt="2020-06-29T07:15:22.030" v="2097" actId="207"/>
          <ac:spMkLst>
            <pc:docMk/>
            <pc:sldMk cId="1605287739" sldId="141168997"/>
            <ac:spMk id="147" creationId="{E9A6DAA3-2994-4523-9A16-EBEB63A2AB51}"/>
          </ac:spMkLst>
        </pc:spChg>
        <pc:spChg chg="mod">
          <ac:chgData name="Sourav Bose" userId="a3480f76-fe68-4c03-a922-c4aa16f9bb6b" providerId="ADAL" clId="{DBB6B645-C36E-4B21-9704-373E2A71DC5E}" dt="2020-06-29T07:14:22.450" v="2086" actId="207"/>
          <ac:spMkLst>
            <pc:docMk/>
            <pc:sldMk cId="1605287739" sldId="141168997"/>
            <ac:spMk id="148" creationId="{D1117467-8D96-41A2-80DE-B20F188683DC}"/>
          </ac:spMkLst>
        </pc:spChg>
        <pc:spChg chg="mod">
          <ac:chgData name="Sourav Bose" userId="a3480f76-fe68-4c03-a922-c4aa16f9bb6b" providerId="ADAL" clId="{DBB6B645-C36E-4B21-9704-373E2A71DC5E}" dt="2020-06-29T07:15:50.837" v="2102" actId="207"/>
          <ac:spMkLst>
            <pc:docMk/>
            <pc:sldMk cId="1605287739" sldId="141168997"/>
            <ac:spMk id="149" creationId="{40D1E237-DA7D-4E9E-B5F9-24DFCC02C830}"/>
          </ac:spMkLst>
        </pc:spChg>
        <pc:spChg chg="mod">
          <ac:chgData name="Sourav Bose" userId="a3480f76-fe68-4c03-a922-c4aa16f9bb6b" providerId="ADAL" clId="{DBB6B645-C36E-4B21-9704-373E2A71DC5E}" dt="2020-06-29T07:15:47.190" v="2101" actId="207"/>
          <ac:spMkLst>
            <pc:docMk/>
            <pc:sldMk cId="1605287739" sldId="141168997"/>
            <ac:spMk id="150" creationId="{6C0B464F-74A7-43AB-AC11-BB3A83FF5756}"/>
          </ac:spMkLst>
        </pc:spChg>
        <pc:spChg chg="mod">
          <ac:chgData name="Sourav Bose" userId="a3480f76-fe68-4c03-a922-c4aa16f9bb6b" providerId="ADAL" clId="{DBB6B645-C36E-4B21-9704-373E2A71DC5E}" dt="2020-06-29T07:16:55.407" v="2107" actId="207"/>
          <ac:spMkLst>
            <pc:docMk/>
            <pc:sldMk cId="1605287739" sldId="141168997"/>
            <ac:spMk id="151" creationId="{78DD3DFA-9342-4716-856A-B9F3702211C0}"/>
          </ac:spMkLst>
        </pc:spChg>
        <pc:spChg chg="mod">
          <ac:chgData name="Sourav Bose" userId="a3480f76-fe68-4c03-a922-c4aa16f9bb6b" providerId="ADAL" clId="{DBB6B645-C36E-4B21-9704-373E2A71DC5E}" dt="2020-06-29T07:16:56.676" v="2108" actId="207"/>
          <ac:spMkLst>
            <pc:docMk/>
            <pc:sldMk cId="1605287739" sldId="141168997"/>
            <ac:spMk id="152" creationId="{741A8C57-B968-4EE4-A315-7A8AD4FBC8AC}"/>
          </ac:spMkLst>
        </pc:spChg>
        <pc:spChg chg="add mod topLvl">
          <ac:chgData name="Sourav Bose" userId="a3480f76-fe68-4c03-a922-c4aa16f9bb6b" providerId="ADAL" clId="{DBB6B645-C36E-4B21-9704-373E2A71DC5E}" dt="2020-06-29T07:29:22.383" v="2688" actId="1035"/>
          <ac:spMkLst>
            <pc:docMk/>
            <pc:sldMk cId="1605287739" sldId="141168997"/>
            <ac:spMk id="153" creationId="{EF2770DD-DCAF-46AA-991A-8EF354B8D692}"/>
          </ac:spMkLst>
        </pc:spChg>
        <pc:spChg chg="add del mod topLvl">
          <ac:chgData name="Sourav Bose" userId="a3480f76-fe68-4c03-a922-c4aa16f9bb6b" providerId="ADAL" clId="{DBB6B645-C36E-4B21-9704-373E2A71DC5E}" dt="2020-06-29T07:19:53.145" v="2179" actId="478"/>
          <ac:spMkLst>
            <pc:docMk/>
            <pc:sldMk cId="1605287739" sldId="141168997"/>
            <ac:spMk id="154" creationId="{C5296F6E-D673-4B24-A6F7-5097139439C3}"/>
          </ac:spMkLst>
        </pc:spChg>
        <pc:spChg chg="mod">
          <ac:chgData name="Sourav Bose" userId="a3480f76-fe68-4c03-a922-c4aa16f9bb6b" providerId="ADAL" clId="{DBB6B645-C36E-4B21-9704-373E2A71DC5E}" dt="2020-06-29T07:09:50.139" v="2008" actId="404"/>
          <ac:spMkLst>
            <pc:docMk/>
            <pc:sldMk cId="1605287739" sldId="141168997"/>
            <ac:spMk id="156" creationId="{27592893-C2DC-4315-A835-211489B3BE0D}"/>
          </ac:spMkLst>
        </pc:spChg>
        <pc:spChg chg="mod">
          <ac:chgData name="Sourav Bose" userId="a3480f76-fe68-4c03-a922-c4aa16f9bb6b" providerId="ADAL" clId="{DBB6B645-C36E-4B21-9704-373E2A71DC5E}" dt="2020-06-29T07:09:50.139" v="2008" actId="404"/>
          <ac:spMkLst>
            <pc:docMk/>
            <pc:sldMk cId="1605287739" sldId="141168997"/>
            <ac:spMk id="157" creationId="{AB54C425-24AB-41BA-BEBD-0FCBCACBC36E}"/>
          </ac:spMkLst>
        </pc:spChg>
        <pc:spChg chg="mod">
          <ac:chgData name="Sourav Bose" userId="a3480f76-fe68-4c03-a922-c4aa16f9bb6b" providerId="ADAL" clId="{DBB6B645-C36E-4B21-9704-373E2A71DC5E}" dt="2020-06-29T07:27:16.287" v="2469" actId="20577"/>
          <ac:spMkLst>
            <pc:docMk/>
            <pc:sldMk cId="1605287739" sldId="141168997"/>
            <ac:spMk id="159" creationId="{1BC361C4-DE1B-4693-965E-ED2490E48762}"/>
          </ac:spMkLst>
        </pc:spChg>
        <pc:spChg chg="mod">
          <ac:chgData name="Sourav Bose" userId="a3480f76-fe68-4c03-a922-c4aa16f9bb6b" providerId="ADAL" clId="{DBB6B645-C36E-4B21-9704-373E2A71DC5E}" dt="2020-06-29T08:13:01.756" v="3093" actId="113"/>
          <ac:spMkLst>
            <pc:docMk/>
            <pc:sldMk cId="1605287739" sldId="141168997"/>
            <ac:spMk id="160" creationId="{2FE62178-2B49-4A2E-A6C2-77BA54758A10}"/>
          </ac:spMkLst>
        </pc:spChg>
        <pc:spChg chg="mod">
          <ac:chgData name="Sourav Bose" userId="a3480f76-fe68-4c03-a922-c4aa16f9bb6b" providerId="ADAL" clId="{DBB6B645-C36E-4B21-9704-373E2A71DC5E}" dt="2020-06-29T07:30:03.989" v="2738" actId="20577"/>
          <ac:spMkLst>
            <pc:docMk/>
            <pc:sldMk cId="1605287739" sldId="141168997"/>
            <ac:spMk id="162" creationId="{6FED8A6C-6187-4319-86B6-68CA411FD662}"/>
          </ac:spMkLst>
        </pc:spChg>
        <pc:spChg chg="mod">
          <ac:chgData name="Sourav Bose" userId="a3480f76-fe68-4c03-a922-c4aa16f9bb6b" providerId="ADAL" clId="{DBB6B645-C36E-4B21-9704-373E2A71DC5E}" dt="2020-06-29T08:13:01.925" v="3094" actId="113"/>
          <ac:spMkLst>
            <pc:docMk/>
            <pc:sldMk cId="1605287739" sldId="141168997"/>
            <ac:spMk id="163" creationId="{1D6D83F5-CC56-4B9F-90A6-E011DD2A03E5}"/>
          </ac:spMkLst>
        </pc:spChg>
        <pc:spChg chg="add mod">
          <ac:chgData name="Sourav Bose" userId="a3480f76-fe68-4c03-a922-c4aa16f9bb6b" providerId="ADAL" clId="{DBB6B645-C36E-4B21-9704-373E2A71DC5E}" dt="2020-06-29T07:30:16.491" v="2746" actId="1038"/>
          <ac:spMkLst>
            <pc:docMk/>
            <pc:sldMk cId="1605287739" sldId="141168997"/>
            <ac:spMk id="164" creationId="{57BBFB2A-8B22-47FD-ABB7-84AD89517842}"/>
          </ac:spMkLst>
        </pc:spChg>
        <pc:grpChg chg="add del mod">
          <ac:chgData name="Sourav Bose" userId="a3480f76-fe68-4c03-a922-c4aa16f9bb6b" providerId="ADAL" clId="{DBB6B645-C36E-4B21-9704-373E2A71DC5E}" dt="2020-06-29T07:10:18.316" v="2010" actId="165"/>
          <ac:grpSpMkLst>
            <pc:docMk/>
            <pc:sldMk cId="1605287739" sldId="141168997"/>
            <ac:grpSpMk id="3" creationId="{5231DCB3-8E9F-406B-BAD7-3DD3D1CEDDC1}"/>
          </ac:grpSpMkLst>
        </pc:grpChg>
        <pc:grpChg chg="mod">
          <ac:chgData name="Sourav Bose" userId="a3480f76-fe68-4c03-a922-c4aa16f9bb6b" providerId="ADAL" clId="{DBB6B645-C36E-4B21-9704-373E2A71DC5E}" dt="2020-06-29T07:09:29.674" v="2002" actId="1038"/>
          <ac:grpSpMkLst>
            <pc:docMk/>
            <pc:sldMk cId="1605287739" sldId="141168997"/>
            <ac:grpSpMk id="17" creationId="{5B4E535D-FC3A-49BB-8E08-803C6865B338}"/>
          </ac:grpSpMkLst>
        </pc:grpChg>
        <pc:grpChg chg="add mod topLvl">
          <ac:chgData name="Sourav Bose" userId="a3480f76-fe68-4c03-a922-c4aa16f9bb6b" providerId="ADAL" clId="{DBB6B645-C36E-4B21-9704-373E2A71DC5E}" dt="2020-06-29T07:13:56.515" v="2084" actId="14100"/>
          <ac:grpSpMkLst>
            <pc:docMk/>
            <pc:sldMk cId="1605287739" sldId="141168997"/>
            <ac:grpSpMk id="76" creationId="{FD467AD8-03C0-4A3A-99B7-F48862B905AA}"/>
          </ac:grpSpMkLst>
        </pc:grpChg>
        <pc:grpChg chg="mod">
          <ac:chgData name="Sourav Bose" userId="a3480f76-fe68-4c03-a922-c4aa16f9bb6b" providerId="ADAL" clId="{DBB6B645-C36E-4B21-9704-373E2A71DC5E}" dt="2020-06-29T07:09:29.674" v="2002" actId="1038"/>
          <ac:grpSpMkLst>
            <pc:docMk/>
            <pc:sldMk cId="1605287739" sldId="141168997"/>
            <ac:grpSpMk id="93" creationId="{76F0A073-00C7-428C-838F-99D5800D8101}"/>
          </ac:grpSpMkLst>
        </pc:grpChg>
        <pc:grpChg chg="mod">
          <ac:chgData name="Sourav Bose" userId="a3480f76-fe68-4c03-a922-c4aa16f9bb6b" providerId="ADAL" clId="{DBB6B645-C36E-4B21-9704-373E2A71DC5E}" dt="2020-06-29T07:09:29.674" v="2002" actId="1038"/>
          <ac:grpSpMkLst>
            <pc:docMk/>
            <pc:sldMk cId="1605287739" sldId="141168997"/>
            <ac:grpSpMk id="94" creationId="{82C1AD20-1483-4794-ABAA-0A54D43B9F87}"/>
          </ac:grpSpMkLst>
        </pc:grpChg>
        <pc:grpChg chg="mod">
          <ac:chgData name="Sourav Bose" userId="a3480f76-fe68-4c03-a922-c4aa16f9bb6b" providerId="ADAL" clId="{DBB6B645-C36E-4B21-9704-373E2A71DC5E}" dt="2020-06-29T07:09:29.674" v="2002" actId="1038"/>
          <ac:grpSpMkLst>
            <pc:docMk/>
            <pc:sldMk cId="1605287739" sldId="141168997"/>
            <ac:grpSpMk id="95" creationId="{6D239CDA-1577-4352-9E72-C94E91574DF6}"/>
          </ac:grpSpMkLst>
        </pc:grpChg>
        <pc:grpChg chg="del mod">
          <ac:chgData name="Sourav Bose" userId="a3480f76-fe68-4c03-a922-c4aa16f9bb6b" providerId="ADAL" clId="{DBB6B645-C36E-4B21-9704-373E2A71DC5E}" dt="2020-07-02T05:39:23.966" v="9755" actId="478"/>
          <ac:grpSpMkLst>
            <pc:docMk/>
            <pc:sldMk cId="1605287739" sldId="141168997"/>
            <ac:grpSpMk id="111" creationId="{B7EDBB87-6FEB-433B-AE80-FC945C7EF1AF}"/>
          </ac:grpSpMkLst>
        </pc:grpChg>
        <pc:grpChg chg="mod">
          <ac:chgData name="Sourav Bose" userId="a3480f76-fe68-4c03-a922-c4aa16f9bb6b" providerId="ADAL" clId="{DBB6B645-C36E-4B21-9704-373E2A71DC5E}" dt="2020-06-29T07:09:29.674" v="2002" actId="1038"/>
          <ac:grpSpMkLst>
            <pc:docMk/>
            <pc:sldMk cId="1605287739" sldId="141168997"/>
            <ac:grpSpMk id="127" creationId="{BBB1378A-7B00-47E7-B6A7-A0D9BA0CADCD}"/>
          </ac:grpSpMkLst>
        </pc:grpChg>
        <pc:grpChg chg="mod">
          <ac:chgData name="Sourav Bose" userId="a3480f76-fe68-4c03-a922-c4aa16f9bb6b" providerId="ADAL" clId="{DBB6B645-C36E-4B21-9704-373E2A71DC5E}" dt="2020-06-29T07:09:29.674" v="2002" actId="1038"/>
          <ac:grpSpMkLst>
            <pc:docMk/>
            <pc:sldMk cId="1605287739" sldId="141168997"/>
            <ac:grpSpMk id="131" creationId="{979CA7D1-B49C-4DFA-AC99-26396F20538D}"/>
          </ac:grpSpMkLst>
        </pc:grpChg>
        <pc:grpChg chg="add mod">
          <ac:chgData name="Sourav Bose" userId="a3480f76-fe68-4c03-a922-c4aa16f9bb6b" providerId="ADAL" clId="{DBB6B645-C36E-4B21-9704-373E2A71DC5E}" dt="2020-07-02T05:41:37.577" v="9810" actId="1035"/>
          <ac:grpSpMkLst>
            <pc:docMk/>
            <pc:sldMk cId="1605287739" sldId="141168997"/>
            <ac:grpSpMk id="154" creationId="{2D2C2477-E20D-4D9A-867E-14E786A3F6ED}"/>
          </ac:grpSpMkLst>
        </pc:grpChg>
        <pc:grpChg chg="add del mod topLvl">
          <ac:chgData name="Sourav Bose" userId="a3480f76-fe68-4c03-a922-c4aa16f9bb6b" providerId="ADAL" clId="{DBB6B645-C36E-4B21-9704-373E2A71DC5E}" dt="2020-06-29T07:19:28.058" v="2174" actId="478"/>
          <ac:grpSpMkLst>
            <pc:docMk/>
            <pc:sldMk cId="1605287739" sldId="141168997"/>
            <ac:grpSpMk id="155" creationId="{5A68B286-5757-4EB7-94E5-98413E2AD644}"/>
          </ac:grpSpMkLst>
        </pc:grpChg>
        <pc:grpChg chg="add mod topLvl">
          <ac:chgData name="Sourav Bose" userId="a3480f76-fe68-4c03-a922-c4aa16f9bb6b" providerId="ADAL" clId="{DBB6B645-C36E-4B21-9704-373E2A71DC5E}" dt="2020-06-29T07:29:29.638" v="2700" actId="1035"/>
          <ac:grpSpMkLst>
            <pc:docMk/>
            <pc:sldMk cId="1605287739" sldId="141168997"/>
            <ac:grpSpMk id="158" creationId="{5AB99FE3-958C-4AF8-8ED6-9F5B1814A6E0}"/>
          </ac:grpSpMkLst>
        </pc:grpChg>
        <pc:grpChg chg="add mod">
          <ac:chgData name="Sourav Bose" userId="a3480f76-fe68-4c03-a922-c4aa16f9bb6b" providerId="ADAL" clId="{DBB6B645-C36E-4B21-9704-373E2A71DC5E}" dt="2020-06-29T08:12:44.882" v="3090" actId="1035"/>
          <ac:grpSpMkLst>
            <pc:docMk/>
            <pc:sldMk cId="1605287739" sldId="141168997"/>
            <ac:grpSpMk id="161" creationId="{7F6C726D-4120-4B14-876F-D91D9175A3A4}"/>
          </ac:grpSpMkLst>
        </pc:grpChg>
      </pc:sldChg>
      <pc:sldChg chg="del">
        <pc:chgData name="Sourav Bose" userId="a3480f76-fe68-4c03-a922-c4aa16f9bb6b" providerId="ADAL" clId="{DBB6B645-C36E-4B21-9704-373E2A71DC5E}" dt="2020-07-03T08:21:47.242" v="30492" actId="2696"/>
        <pc:sldMkLst>
          <pc:docMk/>
          <pc:sldMk cId="2300526484" sldId="141169001"/>
        </pc:sldMkLst>
      </pc:sldChg>
      <pc:sldChg chg="del">
        <pc:chgData name="Sourav Bose" userId="a3480f76-fe68-4c03-a922-c4aa16f9bb6b" providerId="ADAL" clId="{DBB6B645-C36E-4B21-9704-373E2A71DC5E}" dt="2020-07-03T08:21:46.346" v="30490" actId="2696"/>
        <pc:sldMkLst>
          <pc:docMk/>
          <pc:sldMk cId="1847086525" sldId="141169002"/>
        </pc:sldMkLst>
      </pc:sldChg>
      <pc:sldChg chg="addSp delSp modSp">
        <pc:chgData name="Sourav Bose" userId="a3480f76-fe68-4c03-a922-c4aa16f9bb6b" providerId="ADAL" clId="{DBB6B645-C36E-4B21-9704-373E2A71DC5E}" dt="2020-06-29T08:20:26.497" v="3299" actId="688"/>
        <pc:sldMkLst>
          <pc:docMk/>
          <pc:sldMk cId="3998416901" sldId="141169002"/>
        </pc:sldMkLst>
        <pc:spChg chg="mod topLvl">
          <ac:chgData name="Sourav Bose" userId="a3480f76-fe68-4c03-a922-c4aa16f9bb6b" providerId="ADAL" clId="{DBB6B645-C36E-4B21-9704-373E2A71DC5E}" dt="2020-06-29T08:19:42.457" v="3217" actId="165"/>
          <ac:spMkLst>
            <pc:docMk/>
            <pc:sldMk cId="3998416901" sldId="141169002"/>
            <ac:spMk id="21" creationId="{0163B46E-0679-4181-AFAF-0DF34DA53EFA}"/>
          </ac:spMkLst>
        </pc:spChg>
        <pc:spChg chg="mod topLvl">
          <ac:chgData name="Sourav Bose" userId="a3480f76-fe68-4c03-a922-c4aa16f9bb6b" providerId="ADAL" clId="{DBB6B645-C36E-4B21-9704-373E2A71DC5E}" dt="2020-06-29T08:19:42.457" v="3217" actId="165"/>
          <ac:spMkLst>
            <pc:docMk/>
            <pc:sldMk cId="3998416901" sldId="141169002"/>
            <ac:spMk id="22" creationId="{38000C65-FEBB-4700-A00E-5C68110FF320}"/>
          </ac:spMkLst>
        </pc:spChg>
        <pc:spChg chg="mod topLvl">
          <ac:chgData name="Sourav Bose" userId="a3480f76-fe68-4c03-a922-c4aa16f9bb6b" providerId="ADAL" clId="{DBB6B645-C36E-4B21-9704-373E2A71DC5E}" dt="2020-06-29T08:19:42.457" v="3217" actId="165"/>
          <ac:spMkLst>
            <pc:docMk/>
            <pc:sldMk cId="3998416901" sldId="141169002"/>
            <ac:spMk id="23" creationId="{D9D58C59-D554-4C6C-9586-CEC62A06BC26}"/>
          </ac:spMkLst>
        </pc:spChg>
        <pc:spChg chg="mod topLvl">
          <ac:chgData name="Sourav Bose" userId="a3480f76-fe68-4c03-a922-c4aa16f9bb6b" providerId="ADAL" clId="{DBB6B645-C36E-4B21-9704-373E2A71DC5E}" dt="2020-06-29T08:19:42.457" v="3217" actId="165"/>
          <ac:spMkLst>
            <pc:docMk/>
            <pc:sldMk cId="3998416901" sldId="141169002"/>
            <ac:spMk id="24" creationId="{FC87339B-D157-4185-A022-12C2DC8F76DC}"/>
          </ac:spMkLst>
        </pc:spChg>
        <pc:spChg chg="mod topLvl">
          <ac:chgData name="Sourav Bose" userId="a3480f76-fe68-4c03-a922-c4aa16f9bb6b" providerId="ADAL" clId="{DBB6B645-C36E-4B21-9704-373E2A71DC5E}" dt="2020-06-29T08:19:42.457" v="3217" actId="165"/>
          <ac:spMkLst>
            <pc:docMk/>
            <pc:sldMk cId="3998416901" sldId="141169002"/>
            <ac:spMk id="25" creationId="{2CF3783C-080C-4A46-A8F0-271CB58EF4A3}"/>
          </ac:spMkLst>
        </pc:spChg>
        <pc:spChg chg="mod topLvl">
          <ac:chgData name="Sourav Bose" userId="a3480f76-fe68-4c03-a922-c4aa16f9bb6b" providerId="ADAL" clId="{DBB6B645-C36E-4B21-9704-373E2A71DC5E}" dt="2020-06-29T08:19:42.457" v="3217" actId="165"/>
          <ac:spMkLst>
            <pc:docMk/>
            <pc:sldMk cId="3998416901" sldId="141169002"/>
            <ac:spMk id="26" creationId="{2421C462-8119-4408-8B42-0D1B72DC2795}"/>
          </ac:spMkLst>
        </pc:spChg>
        <pc:spChg chg="mod">
          <ac:chgData name="Sourav Bose" userId="a3480f76-fe68-4c03-a922-c4aa16f9bb6b" providerId="ADAL" clId="{DBB6B645-C36E-4B21-9704-373E2A71DC5E}" dt="2020-06-29T08:19:20.541" v="3213" actId="1035"/>
          <ac:spMkLst>
            <pc:docMk/>
            <pc:sldMk cId="3998416901" sldId="141169002"/>
            <ac:spMk id="27" creationId="{E44D7EC5-3459-490E-90D5-DFEE8EC581AD}"/>
          </ac:spMkLst>
        </pc:spChg>
        <pc:spChg chg="mod">
          <ac:chgData name="Sourav Bose" userId="a3480f76-fe68-4c03-a922-c4aa16f9bb6b" providerId="ADAL" clId="{DBB6B645-C36E-4B21-9704-373E2A71DC5E}" dt="2020-06-29T08:19:20.541" v="3213" actId="1035"/>
          <ac:spMkLst>
            <pc:docMk/>
            <pc:sldMk cId="3998416901" sldId="141169002"/>
            <ac:spMk id="28" creationId="{2CCDB8F8-04DA-4078-B5CB-8B561360DBA9}"/>
          </ac:spMkLst>
        </pc:spChg>
        <pc:spChg chg="mod">
          <ac:chgData name="Sourav Bose" userId="a3480f76-fe68-4c03-a922-c4aa16f9bb6b" providerId="ADAL" clId="{DBB6B645-C36E-4B21-9704-373E2A71DC5E}" dt="2020-06-29T08:19:20.541" v="3213" actId="1035"/>
          <ac:spMkLst>
            <pc:docMk/>
            <pc:sldMk cId="3998416901" sldId="141169002"/>
            <ac:spMk id="29" creationId="{2A8233B2-6676-4A8C-AEDD-B1297DAFB6B8}"/>
          </ac:spMkLst>
        </pc:spChg>
        <pc:spChg chg="mod">
          <ac:chgData name="Sourav Bose" userId="a3480f76-fe68-4c03-a922-c4aa16f9bb6b" providerId="ADAL" clId="{DBB6B645-C36E-4B21-9704-373E2A71DC5E}" dt="2020-06-29T08:19:20.541" v="3213" actId="1035"/>
          <ac:spMkLst>
            <pc:docMk/>
            <pc:sldMk cId="3998416901" sldId="141169002"/>
            <ac:spMk id="30" creationId="{D4DF6AE3-3C2D-40F9-A83A-327802BB2F15}"/>
          </ac:spMkLst>
        </pc:spChg>
        <pc:spChg chg="mod">
          <ac:chgData name="Sourav Bose" userId="a3480f76-fe68-4c03-a922-c4aa16f9bb6b" providerId="ADAL" clId="{DBB6B645-C36E-4B21-9704-373E2A71DC5E}" dt="2020-06-29T08:19:20.541" v="3213" actId="1035"/>
          <ac:spMkLst>
            <pc:docMk/>
            <pc:sldMk cId="3998416901" sldId="141169002"/>
            <ac:spMk id="31" creationId="{C7050CFD-6461-46D3-8461-00F73CF42D82}"/>
          </ac:spMkLst>
        </pc:spChg>
        <pc:spChg chg="mod">
          <ac:chgData name="Sourav Bose" userId="a3480f76-fe68-4c03-a922-c4aa16f9bb6b" providerId="ADAL" clId="{DBB6B645-C36E-4B21-9704-373E2A71DC5E}" dt="2020-06-29T08:19:20.541" v="3213" actId="1035"/>
          <ac:spMkLst>
            <pc:docMk/>
            <pc:sldMk cId="3998416901" sldId="141169002"/>
            <ac:spMk id="32" creationId="{1605CFD3-24CE-4481-B837-20D476841699}"/>
          </ac:spMkLst>
        </pc:spChg>
        <pc:spChg chg="mod topLvl">
          <ac:chgData name="Sourav Bose" userId="a3480f76-fe68-4c03-a922-c4aa16f9bb6b" providerId="ADAL" clId="{DBB6B645-C36E-4B21-9704-373E2A71DC5E}" dt="2020-06-29T08:19:59.168" v="3252" actId="1038"/>
          <ac:spMkLst>
            <pc:docMk/>
            <pc:sldMk cId="3998416901" sldId="141169002"/>
            <ac:spMk id="46" creationId="{BB3273D0-1F03-49A7-B3AE-23B51C0EAC08}"/>
          </ac:spMkLst>
        </pc:spChg>
        <pc:spChg chg="mod topLvl">
          <ac:chgData name="Sourav Bose" userId="a3480f76-fe68-4c03-a922-c4aa16f9bb6b" providerId="ADAL" clId="{DBB6B645-C36E-4B21-9704-373E2A71DC5E}" dt="2020-06-29T08:20:11.365" v="3272" actId="1037"/>
          <ac:spMkLst>
            <pc:docMk/>
            <pc:sldMk cId="3998416901" sldId="141169002"/>
            <ac:spMk id="81" creationId="{44B49CF7-B524-40BC-ADCE-E24FFAA33B0D}"/>
          </ac:spMkLst>
        </pc:spChg>
        <pc:spChg chg="mod">
          <ac:chgData name="Sourav Bose" userId="a3480f76-fe68-4c03-a922-c4aa16f9bb6b" providerId="ADAL" clId="{DBB6B645-C36E-4B21-9704-373E2A71DC5E}" dt="2020-06-29T08:19:33.910" v="3216" actId="688"/>
          <ac:spMkLst>
            <pc:docMk/>
            <pc:sldMk cId="3998416901" sldId="141169002"/>
            <ac:spMk id="86" creationId="{B8CE2228-F3E5-4F20-850C-1032C4AF56F3}"/>
          </ac:spMkLst>
        </pc:spChg>
        <pc:grpChg chg="add del mod">
          <ac:chgData name="Sourav Bose" userId="a3480f76-fe68-4c03-a922-c4aa16f9bb6b" providerId="ADAL" clId="{DBB6B645-C36E-4B21-9704-373E2A71DC5E}" dt="2020-06-29T08:19:42.457" v="3217" actId="165"/>
          <ac:grpSpMkLst>
            <pc:docMk/>
            <pc:sldMk cId="3998416901" sldId="141169002"/>
            <ac:grpSpMk id="3" creationId="{4C741480-33C4-4C6C-85F3-58F5F13B9CAD}"/>
          </ac:grpSpMkLst>
        </pc:grpChg>
        <pc:grpChg chg="mod topLvl">
          <ac:chgData name="Sourav Bose" userId="a3480f76-fe68-4c03-a922-c4aa16f9bb6b" providerId="ADAL" clId="{DBB6B645-C36E-4B21-9704-373E2A71DC5E}" dt="2020-06-29T08:19:42.457" v="3217" actId="165"/>
          <ac:grpSpMkLst>
            <pc:docMk/>
            <pc:sldMk cId="3998416901" sldId="141169002"/>
            <ac:grpSpMk id="14" creationId="{2D0A3890-5321-45CE-84BD-433A4D0CA450}"/>
          </ac:grpSpMkLst>
        </pc:grpChg>
        <pc:grpChg chg="mod topLvl">
          <ac:chgData name="Sourav Bose" userId="a3480f76-fe68-4c03-a922-c4aa16f9bb6b" providerId="ADAL" clId="{DBB6B645-C36E-4B21-9704-373E2A71DC5E}" dt="2020-06-29T08:19:52.350" v="3239" actId="1037"/>
          <ac:grpSpMkLst>
            <pc:docMk/>
            <pc:sldMk cId="3998416901" sldId="141169002"/>
            <ac:grpSpMk id="83" creationId="{7DC2EC9F-9383-4BBA-A178-2C2987D85824}"/>
          </ac:grpSpMkLst>
        </pc:grpChg>
        <pc:picChg chg="mod topLvl">
          <ac:chgData name="Sourav Bose" userId="a3480f76-fe68-4c03-a922-c4aa16f9bb6b" providerId="ADAL" clId="{DBB6B645-C36E-4B21-9704-373E2A71DC5E}" dt="2020-06-29T08:20:08.172" v="3263" actId="1038"/>
          <ac:picMkLst>
            <pc:docMk/>
            <pc:sldMk cId="3998416901" sldId="141169002"/>
            <ac:picMk id="34" creationId="{3CB97B11-D60E-49BB-970A-615D82BDEE02}"/>
          </ac:picMkLst>
        </pc:picChg>
        <pc:picChg chg="mod topLvl">
          <ac:chgData name="Sourav Bose" userId="a3480f76-fe68-4c03-a922-c4aa16f9bb6b" providerId="ADAL" clId="{DBB6B645-C36E-4B21-9704-373E2A71DC5E}" dt="2020-06-29T08:20:14.674" v="3280" actId="1037"/>
          <ac:picMkLst>
            <pc:docMk/>
            <pc:sldMk cId="3998416901" sldId="141169002"/>
            <ac:picMk id="36" creationId="{FD9B4C96-21F7-4760-AEFC-3886A4805EBF}"/>
          </ac:picMkLst>
        </pc:picChg>
        <pc:picChg chg="mod topLvl">
          <ac:chgData name="Sourav Bose" userId="a3480f76-fe68-4c03-a922-c4aa16f9bb6b" providerId="ADAL" clId="{DBB6B645-C36E-4B21-9704-373E2A71DC5E}" dt="2020-06-29T08:20:18.840" v="3293" actId="1038"/>
          <ac:picMkLst>
            <pc:docMk/>
            <pc:sldMk cId="3998416901" sldId="141169002"/>
            <ac:picMk id="38" creationId="{979FAC54-8F21-420F-8181-DC726E095D26}"/>
          </ac:picMkLst>
        </pc:picChg>
        <pc:picChg chg="mod topLvl">
          <ac:chgData name="Sourav Bose" userId="a3480f76-fe68-4c03-a922-c4aa16f9bb6b" providerId="ADAL" clId="{DBB6B645-C36E-4B21-9704-373E2A71DC5E}" dt="2020-06-29T08:20:26.497" v="3299" actId="688"/>
          <ac:picMkLst>
            <pc:docMk/>
            <pc:sldMk cId="3998416901" sldId="141169002"/>
            <ac:picMk id="40" creationId="{1C1D30FE-3E58-4196-816F-201E3ADF99B3}"/>
          </ac:picMkLst>
        </pc:picChg>
        <pc:picChg chg="mod topLvl">
          <ac:chgData name="Sourav Bose" userId="a3480f76-fe68-4c03-a922-c4aa16f9bb6b" providerId="ADAL" clId="{DBB6B645-C36E-4B21-9704-373E2A71DC5E}" dt="2020-06-29T08:20:21.361" v="3298" actId="1037"/>
          <ac:picMkLst>
            <pc:docMk/>
            <pc:sldMk cId="3998416901" sldId="141169002"/>
            <ac:picMk id="44" creationId="{9A9C73A2-7CF7-4B91-8B14-C0DD0262EEF9}"/>
          </ac:picMkLst>
        </pc:picChg>
      </pc:sldChg>
      <pc:sldChg chg="addSp delSp modSp">
        <pc:chgData name="Sourav Bose" userId="a3480f76-fe68-4c03-a922-c4aa16f9bb6b" providerId="ADAL" clId="{DBB6B645-C36E-4B21-9704-373E2A71DC5E}" dt="2020-06-29T08:15:19.667" v="3161" actId="14100"/>
        <pc:sldMkLst>
          <pc:docMk/>
          <pc:sldMk cId="2694201823" sldId="141169003"/>
        </pc:sldMkLst>
        <pc:spChg chg="mod">
          <ac:chgData name="Sourav Bose" userId="a3480f76-fe68-4c03-a922-c4aa16f9bb6b" providerId="ADAL" clId="{DBB6B645-C36E-4B21-9704-373E2A71DC5E}" dt="2020-06-29T06:50:16.489" v="1705" actId="20577"/>
          <ac:spMkLst>
            <pc:docMk/>
            <pc:sldMk cId="2694201823" sldId="141169003"/>
            <ac:spMk id="2" creationId="{F76F42CE-01B0-4962-AC1B-437DD25390DB}"/>
          </ac:spMkLst>
        </pc:spChg>
        <pc:spChg chg="mod">
          <ac:chgData name="Sourav Bose" userId="a3480f76-fe68-4c03-a922-c4aa16f9bb6b" providerId="ADAL" clId="{DBB6B645-C36E-4B21-9704-373E2A71DC5E}" dt="2020-06-29T06:45:40.123" v="1495" actId="14100"/>
          <ac:spMkLst>
            <pc:docMk/>
            <pc:sldMk cId="2694201823" sldId="141169003"/>
            <ac:spMk id="5" creationId="{841AF0E8-A167-49D6-92E4-D639D3E3995A}"/>
          </ac:spMkLst>
        </pc:spChg>
        <pc:spChg chg="mod">
          <ac:chgData name="Sourav Bose" userId="a3480f76-fe68-4c03-a922-c4aa16f9bb6b" providerId="ADAL" clId="{DBB6B645-C36E-4B21-9704-373E2A71DC5E}" dt="2020-06-29T06:43:26.078" v="1390" actId="207"/>
          <ac:spMkLst>
            <pc:docMk/>
            <pc:sldMk cId="2694201823" sldId="141169003"/>
            <ac:spMk id="6" creationId="{30977CC3-121A-4B53-8D25-6E4210AEFDAB}"/>
          </ac:spMkLst>
        </pc:spChg>
        <pc:spChg chg="mod">
          <ac:chgData name="Sourav Bose" userId="a3480f76-fe68-4c03-a922-c4aa16f9bb6b" providerId="ADAL" clId="{DBB6B645-C36E-4B21-9704-373E2A71DC5E}" dt="2020-06-29T06:04:06.390" v="232" actId="20577"/>
          <ac:spMkLst>
            <pc:docMk/>
            <pc:sldMk cId="2694201823" sldId="141169003"/>
            <ac:spMk id="8" creationId="{8349C301-12E7-4E69-A6ED-7C6EA3127184}"/>
          </ac:spMkLst>
        </pc:spChg>
        <pc:spChg chg="mod">
          <ac:chgData name="Sourav Bose" userId="a3480f76-fe68-4c03-a922-c4aa16f9bb6b" providerId="ADAL" clId="{DBB6B645-C36E-4B21-9704-373E2A71DC5E}" dt="2020-06-29T06:04:15.702" v="249" actId="20577"/>
          <ac:spMkLst>
            <pc:docMk/>
            <pc:sldMk cId="2694201823" sldId="141169003"/>
            <ac:spMk id="9" creationId="{12C72034-46FF-4E52-AF01-515925682A46}"/>
          </ac:spMkLst>
        </pc:spChg>
        <pc:spChg chg="mod">
          <ac:chgData name="Sourav Bose" userId="a3480f76-fe68-4c03-a922-c4aa16f9bb6b" providerId="ADAL" clId="{DBB6B645-C36E-4B21-9704-373E2A71DC5E}" dt="2020-06-29T06:11:27.440" v="707" actId="14100"/>
          <ac:spMkLst>
            <pc:docMk/>
            <pc:sldMk cId="2694201823" sldId="141169003"/>
            <ac:spMk id="11" creationId="{04BE9C8D-1680-4FCC-B2C4-7B572B4A812C}"/>
          </ac:spMkLst>
        </pc:spChg>
        <pc:spChg chg="mod">
          <ac:chgData name="Sourav Bose" userId="a3480f76-fe68-4c03-a922-c4aa16f9bb6b" providerId="ADAL" clId="{DBB6B645-C36E-4B21-9704-373E2A71DC5E}" dt="2020-06-29T06:11:32.388" v="708" actId="14100"/>
          <ac:spMkLst>
            <pc:docMk/>
            <pc:sldMk cId="2694201823" sldId="141169003"/>
            <ac:spMk id="14" creationId="{416B1913-99EB-447C-BDB8-3045A2C41F78}"/>
          </ac:spMkLst>
        </pc:spChg>
        <pc:spChg chg="mod topLvl">
          <ac:chgData name="Sourav Bose" userId="a3480f76-fe68-4c03-a922-c4aa16f9bb6b" providerId="ADAL" clId="{DBB6B645-C36E-4B21-9704-373E2A71DC5E}" dt="2020-06-29T06:47:06.117" v="1526" actId="165"/>
          <ac:spMkLst>
            <pc:docMk/>
            <pc:sldMk cId="2694201823" sldId="141169003"/>
            <ac:spMk id="20" creationId="{E8CA5028-60D9-47FA-966A-A4359B3326E6}"/>
          </ac:spMkLst>
        </pc:spChg>
        <pc:spChg chg="mod topLvl">
          <ac:chgData name="Sourav Bose" userId="a3480f76-fe68-4c03-a922-c4aa16f9bb6b" providerId="ADAL" clId="{DBB6B645-C36E-4B21-9704-373E2A71DC5E}" dt="2020-06-29T06:47:06.117" v="1526" actId="165"/>
          <ac:spMkLst>
            <pc:docMk/>
            <pc:sldMk cId="2694201823" sldId="141169003"/>
            <ac:spMk id="21" creationId="{B6A14882-3B1E-4354-A60F-098B42CE894D}"/>
          </ac:spMkLst>
        </pc:spChg>
        <pc:spChg chg="mod topLvl">
          <ac:chgData name="Sourav Bose" userId="a3480f76-fe68-4c03-a922-c4aa16f9bb6b" providerId="ADAL" clId="{DBB6B645-C36E-4B21-9704-373E2A71DC5E}" dt="2020-06-29T06:47:06.117" v="1526" actId="165"/>
          <ac:spMkLst>
            <pc:docMk/>
            <pc:sldMk cId="2694201823" sldId="141169003"/>
            <ac:spMk id="22" creationId="{535B41E5-7BDD-403F-B5E9-61E081E8ADF3}"/>
          </ac:spMkLst>
        </pc:spChg>
        <pc:spChg chg="mod ord topLvl">
          <ac:chgData name="Sourav Bose" userId="a3480f76-fe68-4c03-a922-c4aa16f9bb6b" providerId="ADAL" clId="{DBB6B645-C36E-4B21-9704-373E2A71DC5E}" dt="2020-06-29T06:47:06.117" v="1526" actId="165"/>
          <ac:spMkLst>
            <pc:docMk/>
            <pc:sldMk cId="2694201823" sldId="141169003"/>
            <ac:spMk id="23" creationId="{7EF4766C-C676-4A13-B0C0-04409D6A173D}"/>
          </ac:spMkLst>
        </pc:spChg>
        <pc:spChg chg="mod topLvl">
          <ac:chgData name="Sourav Bose" userId="a3480f76-fe68-4c03-a922-c4aa16f9bb6b" providerId="ADAL" clId="{DBB6B645-C36E-4B21-9704-373E2A71DC5E}" dt="2020-06-29T06:47:06.117" v="1526" actId="165"/>
          <ac:spMkLst>
            <pc:docMk/>
            <pc:sldMk cId="2694201823" sldId="141169003"/>
            <ac:spMk id="24" creationId="{8540B2AE-ACF8-4DC3-AD8F-AA28078780DF}"/>
          </ac:spMkLst>
        </pc:spChg>
        <pc:spChg chg="mod topLvl">
          <ac:chgData name="Sourav Bose" userId="a3480f76-fe68-4c03-a922-c4aa16f9bb6b" providerId="ADAL" clId="{DBB6B645-C36E-4B21-9704-373E2A71DC5E}" dt="2020-06-29T06:47:06.117" v="1526" actId="165"/>
          <ac:spMkLst>
            <pc:docMk/>
            <pc:sldMk cId="2694201823" sldId="141169003"/>
            <ac:spMk id="26" creationId="{30EA8CDF-620F-4A0C-A071-4E7381AA805A}"/>
          </ac:spMkLst>
        </pc:spChg>
        <pc:spChg chg="del topLvl">
          <ac:chgData name="Sourav Bose" userId="a3480f76-fe68-4c03-a922-c4aa16f9bb6b" providerId="ADAL" clId="{DBB6B645-C36E-4B21-9704-373E2A71DC5E}" dt="2020-06-29T06:11:56.178" v="710" actId="478"/>
          <ac:spMkLst>
            <pc:docMk/>
            <pc:sldMk cId="2694201823" sldId="141169003"/>
            <ac:spMk id="27" creationId="{62ED2549-31E2-41AA-BDC2-494109E0373D}"/>
          </ac:spMkLst>
        </pc:spChg>
        <pc:spChg chg="mod topLvl">
          <ac:chgData name="Sourav Bose" userId="a3480f76-fe68-4c03-a922-c4aa16f9bb6b" providerId="ADAL" clId="{DBB6B645-C36E-4B21-9704-373E2A71DC5E}" dt="2020-06-29T06:47:06.117" v="1526" actId="165"/>
          <ac:spMkLst>
            <pc:docMk/>
            <pc:sldMk cId="2694201823" sldId="141169003"/>
            <ac:spMk id="29" creationId="{AAED815E-A869-4FA3-AC0D-56216B8BDC4A}"/>
          </ac:spMkLst>
        </pc:spChg>
        <pc:spChg chg="del topLvl">
          <ac:chgData name="Sourav Bose" userId="a3480f76-fe68-4c03-a922-c4aa16f9bb6b" providerId="ADAL" clId="{DBB6B645-C36E-4B21-9704-373E2A71DC5E}" dt="2020-06-29T06:12:16.753" v="724" actId="478"/>
          <ac:spMkLst>
            <pc:docMk/>
            <pc:sldMk cId="2694201823" sldId="141169003"/>
            <ac:spMk id="30" creationId="{8B081F6E-8D54-417B-988A-4611421D07F3}"/>
          </ac:spMkLst>
        </pc:spChg>
        <pc:spChg chg="mod">
          <ac:chgData name="Sourav Bose" userId="a3480f76-fe68-4c03-a922-c4aa16f9bb6b" providerId="ADAL" clId="{DBB6B645-C36E-4B21-9704-373E2A71DC5E}" dt="2020-06-29T06:00:55.052" v="62" actId="20577"/>
          <ac:spMkLst>
            <pc:docMk/>
            <pc:sldMk cId="2694201823" sldId="141169003"/>
            <ac:spMk id="32" creationId="{630208A6-6179-4728-B9E7-C61836CA273F}"/>
          </ac:spMkLst>
        </pc:spChg>
        <pc:spChg chg="mod">
          <ac:chgData name="Sourav Bose" userId="a3480f76-fe68-4c03-a922-c4aa16f9bb6b" providerId="ADAL" clId="{DBB6B645-C36E-4B21-9704-373E2A71DC5E}" dt="2020-06-29T06:01:00.199" v="68" actId="20577"/>
          <ac:spMkLst>
            <pc:docMk/>
            <pc:sldMk cId="2694201823" sldId="141169003"/>
            <ac:spMk id="35" creationId="{37A35D31-3083-4DD7-9996-109C9645B0D2}"/>
          </ac:spMkLst>
        </pc:spChg>
        <pc:spChg chg="mod">
          <ac:chgData name="Sourav Bose" userId="a3480f76-fe68-4c03-a922-c4aa16f9bb6b" providerId="ADAL" clId="{DBB6B645-C36E-4B21-9704-373E2A71DC5E}" dt="2020-06-29T06:01:23.594" v="77" actId="20577"/>
          <ac:spMkLst>
            <pc:docMk/>
            <pc:sldMk cId="2694201823" sldId="141169003"/>
            <ac:spMk id="38" creationId="{BFD7B391-1239-4358-BFCC-F98CFE482221}"/>
          </ac:spMkLst>
        </pc:spChg>
        <pc:spChg chg="add mod topLvl">
          <ac:chgData name="Sourav Bose" userId="a3480f76-fe68-4c03-a922-c4aa16f9bb6b" providerId="ADAL" clId="{DBB6B645-C36E-4B21-9704-373E2A71DC5E}" dt="2020-06-29T06:47:06.117" v="1526" actId="165"/>
          <ac:spMkLst>
            <pc:docMk/>
            <pc:sldMk cId="2694201823" sldId="141169003"/>
            <ac:spMk id="40" creationId="{878B9F71-87C6-48DE-98FC-87483728C90E}"/>
          </ac:spMkLst>
        </pc:spChg>
        <pc:spChg chg="add mod topLvl">
          <ac:chgData name="Sourav Bose" userId="a3480f76-fe68-4c03-a922-c4aa16f9bb6b" providerId="ADAL" clId="{DBB6B645-C36E-4B21-9704-373E2A71DC5E}" dt="2020-06-29T06:47:06.117" v="1526" actId="165"/>
          <ac:spMkLst>
            <pc:docMk/>
            <pc:sldMk cId="2694201823" sldId="141169003"/>
            <ac:spMk id="41" creationId="{F708E07D-B54F-462A-BBDA-07001F49FD78}"/>
          </ac:spMkLst>
        </pc:spChg>
        <pc:spChg chg="add mod topLvl">
          <ac:chgData name="Sourav Bose" userId="a3480f76-fe68-4c03-a922-c4aa16f9bb6b" providerId="ADAL" clId="{DBB6B645-C36E-4B21-9704-373E2A71DC5E}" dt="2020-06-29T06:47:06.117" v="1526" actId="165"/>
          <ac:spMkLst>
            <pc:docMk/>
            <pc:sldMk cId="2694201823" sldId="141169003"/>
            <ac:spMk id="42" creationId="{ECFD8460-4FD1-4385-9231-2B666272F99A}"/>
          </ac:spMkLst>
        </pc:spChg>
        <pc:spChg chg="add mod topLvl">
          <ac:chgData name="Sourav Bose" userId="a3480f76-fe68-4c03-a922-c4aa16f9bb6b" providerId="ADAL" clId="{DBB6B645-C36E-4B21-9704-373E2A71DC5E}" dt="2020-06-29T06:47:06.117" v="1526" actId="165"/>
          <ac:spMkLst>
            <pc:docMk/>
            <pc:sldMk cId="2694201823" sldId="141169003"/>
            <ac:spMk id="43" creationId="{3C1CF458-E055-422E-A7F6-D7B8A8F06AB1}"/>
          </ac:spMkLst>
        </pc:spChg>
        <pc:spChg chg="add mod topLvl">
          <ac:chgData name="Sourav Bose" userId="a3480f76-fe68-4c03-a922-c4aa16f9bb6b" providerId="ADAL" clId="{DBB6B645-C36E-4B21-9704-373E2A71DC5E}" dt="2020-06-29T06:47:06.117" v="1526" actId="165"/>
          <ac:spMkLst>
            <pc:docMk/>
            <pc:sldMk cId="2694201823" sldId="141169003"/>
            <ac:spMk id="44" creationId="{81D93E8B-7A2B-48B1-89FF-C98E3ADFAE1F}"/>
          </ac:spMkLst>
        </pc:spChg>
        <pc:spChg chg="add mod topLvl">
          <ac:chgData name="Sourav Bose" userId="a3480f76-fe68-4c03-a922-c4aa16f9bb6b" providerId="ADAL" clId="{DBB6B645-C36E-4B21-9704-373E2A71DC5E}" dt="2020-06-29T06:47:06.117" v="1526" actId="165"/>
          <ac:spMkLst>
            <pc:docMk/>
            <pc:sldMk cId="2694201823" sldId="141169003"/>
            <ac:spMk id="45" creationId="{9EA182E2-1172-41DD-9B85-F022197F1250}"/>
          </ac:spMkLst>
        </pc:spChg>
        <pc:spChg chg="add del mod topLvl">
          <ac:chgData name="Sourav Bose" userId="a3480f76-fe68-4c03-a922-c4aa16f9bb6b" providerId="ADAL" clId="{DBB6B645-C36E-4B21-9704-373E2A71DC5E}" dt="2020-06-29T06:18:00.238" v="833" actId="478"/>
          <ac:spMkLst>
            <pc:docMk/>
            <pc:sldMk cId="2694201823" sldId="141169003"/>
            <ac:spMk id="46" creationId="{964479D8-C523-4B86-964C-06D1B11F4102}"/>
          </ac:spMkLst>
        </pc:spChg>
        <pc:spChg chg="add del mod topLvl">
          <ac:chgData name="Sourav Bose" userId="a3480f76-fe68-4c03-a922-c4aa16f9bb6b" providerId="ADAL" clId="{DBB6B645-C36E-4B21-9704-373E2A71DC5E}" dt="2020-06-29T06:16:06.041" v="790" actId="478"/>
          <ac:spMkLst>
            <pc:docMk/>
            <pc:sldMk cId="2694201823" sldId="141169003"/>
            <ac:spMk id="47" creationId="{52843FC5-1489-4370-BB33-C4FE0EB7E246}"/>
          </ac:spMkLst>
        </pc:spChg>
        <pc:spChg chg="add del mod topLvl">
          <ac:chgData name="Sourav Bose" userId="a3480f76-fe68-4c03-a922-c4aa16f9bb6b" providerId="ADAL" clId="{DBB6B645-C36E-4B21-9704-373E2A71DC5E}" dt="2020-06-29T06:38:52.736" v="1232" actId="478"/>
          <ac:spMkLst>
            <pc:docMk/>
            <pc:sldMk cId="2694201823" sldId="141169003"/>
            <ac:spMk id="48" creationId="{670D3AFA-114D-4E86-9AE5-62E3DF1F94F4}"/>
          </ac:spMkLst>
        </pc:spChg>
        <pc:spChg chg="add del mod topLvl">
          <ac:chgData name="Sourav Bose" userId="a3480f76-fe68-4c03-a922-c4aa16f9bb6b" providerId="ADAL" clId="{DBB6B645-C36E-4B21-9704-373E2A71DC5E}" dt="2020-06-29T06:19:15.887" v="904" actId="478"/>
          <ac:spMkLst>
            <pc:docMk/>
            <pc:sldMk cId="2694201823" sldId="141169003"/>
            <ac:spMk id="49" creationId="{55847DB5-E7FA-4105-AC6C-D2E548480D62}"/>
          </ac:spMkLst>
        </pc:spChg>
        <pc:spChg chg="add del mod topLvl">
          <ac:chgData name="Sourav Bose" userId="a3480f76-fe68-4c03-a922-c4aa16f9bb6b" providerId="ADAL" clId="{DBB6B645-C36E-4B21-9704-373E2A71DC5E}" dt="2020-06-29T06:20:56.872" v="996" actId="478"/>
          <ac:spMkLst>
            <pc:docMk/>
            <pc:sldMk cId="2694201823" sldId="141169003"/>
            <ac:spMk id="50" creationId="{379B277F-AE80-45C1-BC65-10F63A3BA923}"/>
          </ac:spMkLst>
        </pc:spChg>
        <pc:spChg chg="mod">
          <ac:chgData name="Sourav Bose" userId="a3480f76-fe68-4c03-a922-c4aa16f9bb6b" providerId="ADAL" clId="{DBB6B645-C36E-4B21-9704-373E2A71DC5E}" dt="2020-06-29T06:44:38.102" v="1436" actId="14100"/>
          <ac:spMkLst>
            <pc:docMk/>
            <pc:sldMk cId="2694201823" sldId="141169003"/>
            <ac:spMk id="53" creationId="{CFCCEB55-6AC4-4694-9C9E-C95B522B5296}"/>
          </ac:spMkLst>
        </pc:spChg>
        <pc:spChg chg="mod">
          <ac:chgData name="Sourav Bose" userId="a3480f76-fe68-4c03-a922-c4aa16f9bb6b" providerId="ADAL" clId="{DBB6B645-C36E-4B21-9704-373E2A71DC5E}" dt="2020-06-29T06:28:30.471" v="1040" actId="6549"/>
          <ac:spMkLst>
            <pc:docMk/>
            <pc:sldMk cId="2694201823" sldId="141169003"/>
            <ac:spMk id="54" creationId="{A92AD7C3-3353-494C-98FE-226D4A985E05}"/>
          </ac:spMkLst>
        </pc:spChg>
        <pc:spChg chg="mod">
          <ac:chgData name="Sourav Bose" userId="a3480f76-fe68-4c03-a922-c4aa16f9bb6b" providerId="ADAL" clId="{DBB6B645-C36E-4B21-9704-373E2A71DC5E}" dt="2020-06-29T06:54:06.693" v="1972" actId="14100"/>
          <ac:spMkLst>
            <pc:docMk/>
            <pc:sldMk cId="2694201823" sldId="141169003"/>
            <ac:spMk id="56" creationId="{A6453FA1-574B-4DFF-9765-B41F52F5E1E1}"/>
          </ac:spMkLst>
        </pc:spChg>
        <pc:spChg chg="mod">
          <ac:chgData name="Sourav Bose" userId="a3480f76-fe68-4c03-a922-c4aa16f9bb6b" providerId="ADAL" clId="{DBB6B645-C36E-4B21-9704-373E2A71DC5E}" dt="2020-06-29T06:43:32.949" v="1391" actId="207"/>
          <ac:spMkLst>
            <pc:docMk/>
            <pc:sldMk cId="2694201823" sldId="141169003"/>
            <ac:spMk id="57" creationId="{7E2A0C2E-64E1-4589-BB3B-84C01DB3F16B}"/>
          </ac:spMkLst>
        </pc:spChg>
        <pc:spChg chg="add mod topLvl">
          <ac:chgData name="Sourav Bose" userId="a3480f76-fe68-4c03-a922-c4aa16f9bb6b" providerId="ADAL" clId="{DBB6B645-C36E-4B21-9704-373E2A71DC5E}" dt="2020-06-29T06:47:06.117" v="1526" actId="165"/>
          <ac:spMkLst>
            <pc:docMk/>
            <pc:sldMk cId="2694201823" sldId="141169003"/>
            <ac:spMk id="59" creationId="{B383584F-DF01-4DC9-93AC-899C32B016ED}"/>
          </ac:spMkLst>
        </pc:spChg>
        <pc:spChg chg="add mod topLvl">
          <ac:chgData name="Sourav Bose" userId="a3480f76-fe68-4c03-a922-c4aa16f9bb6b" providerId="ADAL" clId="{DBB6B645-C36E-4B21-9704-373E2A71DC5E}" dt="2020-06-29T06:47:06.117" v="1526" actId="165"/>
          <ac:spMkLst>
            <pc:docMk/>
            <pc:sldMk cId="2694201823" sldId="141169003"/>
            <ac:spMk id="82" creationId="{7537EDA8-3AC4-4B3A-9465-0EE28B8D1C3E}"/>
          </ac:spMkLst>
        </pc:spChg>
        <pc:spChg chg="add mod topLvl">
          <ac:chgData name="Sourav Bose" userId="a3480f76-fe68-4c03-a922-c4aa16f9bb6b" providerId="ADAL" clId="{DBB6B645-C36E-4B21-9704-373E2A71DC5E}" dt="2020-06-29T06:47:06.117" v="1526" actId="165"/>
          <ac:spMkLst>
            <pc:docMk/>
            <pc:sldMk cId="2694201823" sldId="141169003"/>
            <ac:spMk id="86" creationId="{D58D496E-05DE-42C0-804F-8B19B542B862}"/>
          </ac:spMkLst>
        </pc:spChg>
        <pc:spChg chg="mod">
          <ac:chgData name="Sourav Bose" userId="a3480f76-fe68-4c03-a922-c4aa16f9bb6b" providerId="ADAL" clId="{DBB6B645-C36E-4B21-9704-373E2A71DC5E}" dt="2020-06-29T06:24:19.154" v="1005" actId="2085"/>
          <ac:spMkLst>
            <pc:docMk/>
            <pc:sldMk cId="2694201823" sldId="141169003"/>
            <ac:spMk id="90" creationId="{F39EF677-627D-4464-AD1A-37A7DCF604F9}"/>
          </ac:spMkLst>
        </pc:spChg>
        <pc:spChg chg="mod">
          <ac:chgData name="Sourav Bose" userId="a3480f76-fe68-4c03-a922-c4aa16f9bb6b" providerId="ADAL" clId="{DBB6B645-C36E-4B21-9704-373E2A71DC5E}" dt="2020-06-29T08:15:19.667" v="3161" actId="14100"/>
          <ac:spMkLst>
            <pc:docMk/>
            <pc:sldMk cId="2694201823" sldId="141169003"/>
            <ac:spMk id="102" creationId="{70DACE81-A682-4FDC-8657-A8A53450A2F3}"/>
          </ac:spMkLst>
        </pc:spChg>
        <pc:spChg chg="mod">
          <ac:chgData name="Sourav Bose" userId="a3480f76-fe68-4c03-a922-c4aa16f9bb6b" providerId="ADAL" clId="{DBB6B645-C36E-4B21-9704-373E2A71DC5E}" dt="2020-06-29T06:43:41.872" v="1392" actId="207"/>
          <ac:spMkLst>
            <pc:docMk/>
            <pc:sldMk cId="2694201823" sldId="141169003"/>
            <ac:spMk id="103" creationId="{96ED649A-02AA-4427-B95C-1ECA5022189A}"/>
          </ac:spMkLst>
        </pc:spChg>
        <pc:spChg chg="mod">
          <ac:chgData name="Sourav Bose" userId="a3480f76-fe68-4c03-a922-c4aa16f9bb6b" providerId="ADAL" clId="{DBB6B645-C36E-4B21-9704-373E2A71DC5E}" dt="2020-06-29T06:44:09.367" v="1395" actId="14100"/>
          <ac:spMkLst>
            <pc:docMk/>
            <pc:sldMk cId="2694201823" sldId="141169003"/>
            <ac:spMk id="105" creationId="{62D5BCA6-B25C-4421-A357-9DB8B320129C}"/>
          </ac:spMkLst>
        </pc:spChg>
        <pc:spChg chg="mod">
          <ac:chgData name="Sourav Bose" userId="a3480f76-fe68-4c03-a922-c4aa16f9bb6b" providerId="ADAL" clId="{DBB6B645-C36E-4B21-9704-373E2A71DC5E}" dt="2020-06-29T06:43:53.227" v="1393" actId="207"/>
          <ac:spMkLst>
            <pc:docMk/>
            <pc:sldMk cId="2694201823" sldId="141169003"/>
            <ac:spMk id="106" creationId="{D2255879-AABD-4BD6-B6F8-56B9BCBFEF97}"/>
          </ac:spMkLst>
        </pc:spChg>
        <pc:spChg chg="add mod topLvl">
          <ac:chgData name="Sourav Bose" userId="a3480f76-fe68-4c03-a922-c4aa16f9bb6b" providerId="ADAL" clId="{DBB6B645-C36E-4B21-9704-373E2A71DC5E}" dt="2020-06-29T06:47:06.117" v="1526" actId="165"/>
          <ac:spMkLst>
            <pc:docMk/>
            <pc:sldMk cId="2694201823" sldId="141169003"/>
            <ac:spMk id="107" creationId="{CE9EF1CD-D9AE-4FAB-93FC-6313EEFAE35C}"/>
          </ac:spMkLst>
        </pc:spChg>
        <pc:spChg chg="add del">
          <ac:chgData name="Sourav Bose" userId="a3480f76-fe68-4c03-a922-c4aa16f9bb6b" providerId="ADAL" clId="{DBB6B645-C36E-4B21-9704-373E2A71DC5E}" dt="2020-06-29T06:40:32.956" v="1246"/>
          <ac:spMkLst>
            <pc:docMk/>
            <pc:sldMk cId="2694201823" sldId="141169003"/>
            <ac:spMk id="108" creationId="{D9624F7F-3A06-4B4B-A9E6-0873EC3F298D}"/>
          </ac:spMkLst>
        </pc:spChg>
        <pc:spChg chg="add mod">
          <ac:chgData name="Sourav Bose" userId="a3480f76-fe68-4c03-a922-c4aa16f9bb6b" providerId="ADAL" clId="{DBB6B645-C36E-4B21-9704-373E2A71DC5E}" dt="2020-06-29T06:53:52.595" v="1971" actId="20577"/>
          <ac:spMkLst>
            <pc:docMk/>
            <pc:sldMk cId="2694201823" sldId="141169003"/>
            <ac:spMk id="123" creationId="{9556B60E-0E8A-4D62-B4F2-908F94713FAC}"/>
          </ac:spMkLst>
        </pc:spChg>
        <pc:grpChg chg="add mod topLvl">
          <ac:chgData name="Sourav Bose" userId="a3480f76-fe68-4c03-a922-c4aa16f9bb6b" providerId="ADAL" clId="{DBB6B645-C36E-4B21-9704-373E2A71DC5E}" dt="2020-06-29T06:47:29.635" v="1545" actId="1035"/>
          <ac:grpSpMkLst>
            <pc:docMk/>
            <pc:sldMk cId="2694201823" sldId="141169003"/>
            <ac:grpSpMk id="4" creationId="{96AC20DB-1B65-401E-8706-71DB706026BD}"/>
          </ac:grpSpMkLst>
        </pc:grpChg>
        <pc:grpChg chg="add del mod topLvl">
          <ac:chgData name="Sourav Bose" userId="a3480f76-fe68-4c03-a922-c4aa16f9bb6b" providerId="ADAL" clId="{DBB6B645-C36E-4B21-9704-373E2A71DC5E}" dt="2020-06-29T06:07:54.515" v="441" actId="478"/>
          <ac:grpSpMkLst>
            <pc:docMk/>
            <pc:sldMk cId="2694201823" sldId="141169003"/>
            <ac:grpSpMk id="7" creationId="{630C14BD-6C9A-4E47-9E7C-652837B42C1B}"/>
          </ac:grpSpMkLst>
        </pc:grpChg>
        <pc:grpChg chg="add del mod topLvl">
          <ac:chgData name="Sourav Bose" userId="a3480f76-fe68-4c03-a922-c4aa16f9bb6b" providerId="ADAL" clId="{DBB6B645-C36E-4B21-9704-373E2A71DC5E}" dt="2020-06-29T06:37:57.516" v="1215" actId="478"/>
          <ac:grpSpMkLst>
            <pc:docMk/>
            <pc:sldMk cId="2694201823" sldId="141169003"/>
            <ac:grpSpMk id="10" creationId="{515442CD-5BA1-41B7-9E96-E8B1D81EE34C}"/>
          </ac:grpSpMkLst>
        </pc:grpChg>
        <pc:grpChg chg="add del mod topLvl">
          <ac:chgData name="Sourav Bose" userId="a3480f76-fe68-4c03-a922-c4aa16f9bb6b" providerId="ADAL" clId="{DBB6B645-C36E-4B21-9704-373E2A71DC5E}" dt="2020-06-29T06:35:00.855" v="1168" actId="478"/>
          <ac:grpSpMkLst>
            <pc:docMk/>
            <pc:sldMk cId="2694201823" sldId="141169003"/>
            <ac:grpSpMk id="13" creationId="{58E190FC-4B51-4421-955C-3A37BD0DECA1}"/>
          </ac:grpSpMkLst>
        </pc:grpChg>
        <pc:grpChg chg="add del mod topLvl">
          <ac:chgData name="Sourav Bose" userId="a3480f76-fe68-4c03-a922-c4aa16f9bb6b" providerId="ADAL" clId="{DBB6B645-C36E-4B21-9704-373E2A71DC5E}" dt="2020-06-29T06:09:42.339" v="642" actId="478"/>
          <ac:grpSpMkLst>
            <pc:docMk/>
            <pc:sldMk cId="2694201823" sldId="141169003"/>
            <ac:grpSpMk id="16" creationId="{6A76E5F2-B07C-41A4-B833-02D3AA878FA5}"/>
          </ac:grpSpMkLst>
        </pc:grpChg>
        <pc:grpChg chg="add del mod topLvl">
          <ac:chgData name="Sourav Bose" userId="a3480f76-fe68-4c03-a922-c4aa16f9bb6b" providerId="ADAL" clId="{DBB6B645-C36E-4B21-9704-373E2A71DC5E}" dt="2020-06-29T06:16:02.816" v="789" actId="165"/>
          <ac:grpSpMkLst>
            <pc:docMk/>
            <pc:sldMk cId="2694201823" sldId="141169003"/>
            <ac:grpSpMk id="19" creationId="{C5413044-A659-46AE-817F-8C7CEDDC3A3F}"/>
          </ac:grpSpMkLst>
        </pc:grpChg>
        <pc:grpChg chg="add del mod topLvl">
          <ac:chgData name="Sourav Bose" userId="a3480f76-fe68-4c03-a922-c4aa16f9bb6b" providerId="ADAL" clId="{DBB6B645-C36E-4B21-9704-373E2A71DC5E}" dt="2020-06-29T06:11:56.178" v="710" actId="478"/>
          <ac:grpSpMkLst>
            <pc:docMk/>
            <pc:sldMk cId="2694201823" sldId="141169003"/>
            <ac:grpSpMk id="25" creationId="{6613E98A-46AA-4FED-AAF5-B65B463BB09E}"/>
          </ac:grpSpMkLst>
        </pc:grpChg>
        <pc:grpChg chg="add del mod topLvl">
          <ac:chgData name="Sourav Bose" userId="a3480f76-fe68-4c03-a922-c4aa16f9bb6b" providerId="ADAL" clId="{DBB6B645-C36E-4B21-9704-373E2A71DC5E}" dt="2020-06-29T06:12:16.753" v="724" actId="478"/>
          <ac:grpSpMkLst>
            <pc:docMk/>
            <pc:sldMk cId="2694201823" sldId="141169003"/>
            <ac:grpSpMk id="28" creationId="{6AF5F95C-07F8-4652-B027-C1816334AFC7}"/>
          </ac:grpSpMkLst>
        </pc:grpChg>
        <pc:grpChg chg="add del mod topLvl">
          <ac:chgData name="Sourav Bose" userId="a3480f76-fe68-4c03-a922-c4aa16f9bb6b" providerId="ADAL" clId="{DBB6B645-C36E-4B21-9704-373E2A71DC5E}" dt="2020-06-29T06:13:05.348" v="759" actId="478"/>
          <ac:grpSpMkLst>
            <pc:docMk/>
            <pc:sldMk cId="2694201823" sldId="141169003"/>
            <ac:grpSpMk id="31" creationId="{0B7D7265-674A-4787-87AD-B5194E471078}"/>
          </ac:grpSpMkLst>
        </pc:grpChg>
        <pc:grpChg chg="add del mod topLvl">
          <ac:chgData name="Sourav Bose" userId="a3480f76-fe68-4c03-a922-c4aa16f9bb6b" providerId="ADAL" clId="{DBB6B645-C36E-4B21-9704-373E2A71DC5E}" dt="2020-06-29T06:20:28.400" v="956" actId="478"/>
          <ac:grpSpMkLst>
            <pc:docMk/>
            <pc:sldMk cId="2694201823" sldId="141169003"/>
            <ac:grpSpMk id="34" creationId="{FFF7AAFE-3995-4875-AD7D-A09CF8AA41CA}"/>
          </ac:grpSpMkLst>
        </pc:grpChg>
        <pc:grpChg chg="add del mod topLvl">
          <ac:chgData name="Sourav Bose" userId="a3480f76-fe68-4c03-a922-c4aa16f9bb6b" providerId="ADAL" clId="{DBB6B645-C36E-4B21-9704-373E2A71DC5E}" dt="2020-06-29T06:38:56.037" v="1233" actId="478"/>
          <ac:grpSpMkLst>
            <pc:docMk/>
            <pc:sldMk cId="2694201823" sldId="141169003"/>
            <ac:grpSpMk id="37" creationId="{3EF8671B-47BE-4E74-95BE-DB7203A71ED8}"/>
          </ac:grpSpMkLst>
        </pc:grpChg>
        <pc:grpChg chg="add del mod">
          <ac:chgData name="Sourav Bose" userId="a3480f76-fe68-4c03-a922-c4aa16f9bb6b" providerId="ADAL" clId="{DBB6B645-C36E-4B21-9704-373E2A71DC5E}" dt="2020-06-29T05:59:06.733" v="25" actId="165"/>
          <ac:grpSpMkLst>
            <pc:docMk/>
            <pc:sldMk cId="2694201823" sldId="141169003"/>
            <ac:grpSpMk id="51" creationId="{7046946A-1DBF-4E22-9CBE-D39E423F6926}"/>
          </ac:grpSpMkLst>
        </pc:grpChg>
        <pc:grpChg chg="add mod">
          <ac:chgData name="Sourav Bose" userId="a3480f76-fe68-4c03-a922-c4aa16f9bb6b" providerId="ADAL" clId="{DBB6B645-C36E-4B21-9704-373E2A71DC5E}" dt="2020-06-29T06:47:25.247" v="1535" actId="1035"/>
          <ac:grpSpMkLst>
            <pc:docMk/>
            <pc:sldMk cId="2694201823" sldId="141169003"/>
            <ac:grpSpMk id="52" creationId="{1E33EC25-7F07-4EBC-92F9-A1B062C6619D}"/>
          </ac:grpSpMkLst>
        </pc:grpChg>
        <pc:grpChg chg="add mod">
          <ac:chgData name="Sourav Bose" userId="a3480f76-fe68-4c03-a922-c4aa16f9bb6b" providerId="ADAL" clId="{DBB6B645-C36E-4B21-9704-373E2A71DC5E}" dt="2020-06-29T06:47:39.267" v="1548" actId="1036"/>
          <ac:grpSpMkLst>
            <pc:docMk/>
            <pc:sldMk cId="2694201823" sldId="141169003"/>
            <ac:grpSpMk id="55" creationId="{66C9B476-9AEC-4428-8524-12FB02022172}"/>
          </ac:grpSpMkLst>
        </pc:grpChg>
        <pc:grpChg chg="add del mod">
          <ac:chgData name="Sourav Bose" userId="a3480f76-fe68-4c03-a922-c4aa16f9bb6b" providerId="ADAL" clId="{DBB6B645-C36E-4B21-9704-373E2A71DC5E}" dt="2020-06-29T06:11:48.130" v="709" actId="165"/>
          <ac:grpSpMkLst>
            <pc:docMk/>
            <pc:sldMk cId="2694201823" sldId="141169003"/>
            <ac:grpSpMk id="58" creationId="{55BEB6DF-32E7-45A3-A4F2-598AB2867140}"/>
          </ac:grpSpMkLst>
        </pc:grpChg>
        <pc:grpChg chg="add mod">
          <ac:chgData name="Sourav Bose" userId="a3480f76-fe68-4c03-a922-c4aa16f9bb6b" providerId="ADAL" clId="{DBB6B645-C36E-4B21-9704-373E2A71DC5E}" dt="2020-06-29T06:45:18.526" v="1466" actId="1036"/>
          <ac:grpSpMkLst>
            <pc:docMk/>
            <pc:sldMk cId="2694201823" sldId="141169003"/>
            <ac:grpSpMk id="60" creationId="{0FE070F4-D70F-40DC-B232-BA73BFD19F65}"/>
          </ac:grpSpMkLst>
        </pc:grpChg>
        <pc:grpChg chg="add mod topLvl">
          <ac:chgData name="Sourav Bose" userId="a3480f76-fe68-4c03-a922-c4aa16f9bb6b" providerId="ADAL" clId="{DBB6B645-C36E-4B21-9704-373E2A71DC5E}" dt="2020-06-29T06:47:06.117" v="1526" actId="165"/>
          <ac:grpSpMkLst>
            <pc:docMk/>
            <pc:sldMk cId="2694201823" sldId="141169003"/>
            <ac:grpSpMk id="83" creationId="{32F3A638-96D1-443C-ADAA-99E50F75894D}"/>
          </ac:grpSpMkLst>
        </pc:grpChg>
        <pc:grpChg chg="add mod topLvl">
          <ac:chgData name="Sourav Bose" userId="a3480f76-fe68-4c03-a922-c4aa16f9bb6b" providerId="ADAL" clId="{DBB6B645-C36E-4B21-9704-373E2A71DC5E}" dt="2020-06-29T06:47:13.028" v="1527" actId="688"/>
          <ac:grpSpMkLst>
            <pc:docMk/>
            <pc:sldMk cId="2694201823" sldId="141169003"/>
            <ac:grpSpMk id="88" creationId="{BA901C5E-532C-425F-91CD-54CA0D5976DE}"/>
          </ac:grpSpMkLst>
        </pc:grpChg>
        <pc:grpChg chg="add mod">
          <ac:chgData name="Sourav Bose" userId="a3480f76-fe68-4c03-a922-c4aa16f9bb6b" providerId="ADAL" clId="{DBB6B645-C36E-4B21-9704-373E2A71DC5E}" dt="2020-06-29T08:15:13.003" v="3160" actId="1037"/>
          <ac:grpSpMkLst>
            <pc:docMk/>
            <pc:sldMk cId="2694201823" sldId="141169003"/>
            <ac:grpSpMk id="101" creationId="{9A0D3B7F-4F85-4E3F-824E-F0858AD759ED}"/>
          </ac:grpSpMkLst>
        </pc:grpChg>
        <pc:grpChg chg="add mod">
          <ac:chgData name="Sourav Bose" userId="a3480f76-fe68-4c03-a922-c4aa16f9bb6b" providerId="ADAL" clId="{DBB6B645-C36E-4B21-9704-373E2A71DC5E}" dt="2020-06-29T08:15:07.844" v="3134" actId="1038"/>
          <ac:grpSpMkLst>
            <pc:docMk/>
            <pc:sldMk cId="2694201823" sldId="141169003"/>
            <ac:grpSpMk id="104" creationId="{63ADB48C-3FCC-4279-8258-34503AEA27E7}"/>
          </ac:grpSpMkLst>
        </pc:grpChg>
        <pc:grpChg chg="add mod topLvl">
          <ac:chgData name="Sourav Bose" userId="a3480f76-fe68-4c03-a922-c4aa16f9bb6b" providerId="ADAL" clId="{DBB6B645-C36E-4B21-9704-373E2A71DC5E}" dt="2020-06-29T06:47:19.907" v="1528" actId="688"/>
          <ac:grpSpMkLst>
            <pc:docMk/>
            <pc:sldMk cId="2694201823" sldId="141169003"/>
            <ac:grpSpMk id="109" creationId="{A6468403-865B-4F5F-AAD5-87BD9CDE9806}"/>
          </ac:grpSpMkLst>
        </pc:grpChg>
        <pc:grpChg chg="mod">
          <ac:chgData name="Sourav Bose" userId="a3480f76-fe68-4c03-a922-c4aa16f9bb6b" providerId="ADAL" clId="{DBB6B645-C36E-4B21-9704-373E2A71DC5E}" dt="2020-06-29T06:47:19.907" v="1528" actId="688"/>
          <ac:grpSpMkLst>
            <pc:docMk/>
            <pc:sldMk cId="2694201823" sldId="141169003"/>
            <ac:grpSpMk id="110" creationId="{57A2B9C0-36DB-42C5-9AEE-998131032D5D}"/>
          </ac:grpSpMkLst>
        </pc:grpChg>
        <pc:grpChg chg="add del mod">
          <ac:chgData name="Sourav Bose" userId="a3480f76-fe68-4c03-a922-c4aa16f9bb6b" providerId="ADAL" clId="{DBB6B645-C36E-4B21-9704-373E2A71DC5E}" dt="2020-06-29T06:42:55.173" v="1388" actId="478"/>
          <ac:grpSpMkLst>
            <pc:docMk/>
            <pc:sldMk cId="2694201823" sldId="141169003"/>
            <ac:grpSpMk id="115" creationId="{9A65A886-A1EF-4F02-B86D-91B61A4FD5D0}"/>
          </ac:grpSpMkLst>
        </pc:grpChg>
        <pc:grpChg chg="add del mod">
          <ac:chgData name="Sourav Bose" userId="a3480f76-fe68-4c03-a922-c4aa16f9bb6b" providerId="ADAL" clId="{DBB6B645-C36E-4B21-9704-373E2A71DC5E}" dt="2020-06-29T06:47:06.117" v="1526" actId="165"/>
          <ac:grpSpMkLst>
            <pc:docMk/>
            <pc:sldMk cId="2694201823" sldId="141169003"/>
            <ac:grpSpMk id="122" creationId="{43DD0BC9-63C5-47CC-A5AD-F127D410D604}"/>
          </ac:grpSpMkLst>
        </pc:grpChg>
        <pc:picChg chg="add del mod">
          <ac:chgData name="Sourav Bose" userId="a3480f76-fe68-4c03-a922-c4aa16f9bb6b" providerId="ADAL" clId="{DBB6B645-C36E-4B21-9704-373E2A71DC5E}" dt="2020-06-29T06:23:32.378" v="999" actId="478"/>
          <ac:picMkLst>
            <pc:docMk/>
            <pc:sldMk cId="2694201823" sldId="141169003"/>
            <ac:picMk id="87" creationId="{54405078-ED92-4CE5-B185-8BCEFA3D3CFC}"/>
          </ac:picMkLst>
        </pc:picChg>
        <pc:picChg chg="add mod">
          <ac:chgData name="Sourav Bose" userId="a3480f76-fe68-4c03-a922-c4aa16f9bb6b" providerId="ADAL" clId="{DBB6B645-C36E-4B21-9704-373E2A71DC5E}" dt="2020-06-29T06:56:00.890" v="1976" actId="14100"/>
          <ac:picMkLst>
            <pc:docMk/>
            <pc:sldMk cId="2694201823" sldId="141169003"/>
            <ac:picMk id="125" creationId="{F6429058-27FF-475B-98D6-C0CC881E6976}"/>
          </ac:picMkLst>
        </pc:picChg>
      </pc:sldChg>
      <pc:sldChg chg="addSp delSp modSp del">
        <pc:chgData name="Sourav Bose" userId="a3480f76-fe68-4c03-a922-c4aa16f9bb6b" providerId="ADAL" clId="{DBB6B645-C36E-4B21-9704-373E2A71DC5E}" dt="2020-07-03T08:21:46.661" v="30491" actId="2696"/>
        <pc:sldMkLst>
          <pc:docMk/>
          <pc:sldMk cId="3511587128" sldId="141169003"/>
        </pc:sldMkLst>
        <pc:spChg chg="mod topLvl">
          <ac:chgData name="Sourav Bose" userId="a3480f76-fe68-4c03-a922-c4aa16f9bb6b" providerId="ADAL" clId="{DBB6B645-C36E-4B21-9704-373E2A71DC5E}" dt="2020-07-02T12:42:16.011" v="18091" actId="165"/>
          <ac:spMkLst>
            <pc:docMk/>
            <pc:sldMk cId="3511587128" sldId="141169003"/>
            <ac:spMk id="20" creationId="{E8CA5028-60D9-47FA-966A-A4359B3326E6}"/>
          </ac:spMkLst>
        </pc:spChg>
        <pc:spChg chg="add del mod topLvl">
          <ac:chgData name="Sourav Bose" userId="a3480f76-fe68-4c03-a922-c4aa16f9bb6b" providerId="ADAL" clId="{DBB6B645-C36E-4B21-9704-373E2A71DC5E}" dt="2020-07-02T12:42:16.011" v="18091" actId="165"/>
          <ac:spMkLst>
            <pc:docMk/>
            <pc:sldMk cId="3511587128" sldId="141169003"/>
            <ac:spMk id="21" creationId="{B6A14882-3B1E-4354-A60F-098B42CE894D}"/>
          </ac:spMkLst>
        </pc:spChg>
        <pc:spChg chg="mod topLvl">
          <ac:chgData name="Sourav Bose" userId="a3480f76-fe68-4c03-a922-c4aa16f9bb6b" providerId="ADAL" clId="{DBB6B645-C36E-4B21-9704-373E2A71DC5E}" dt="2020-07-02T12:42:16.011" v="18091" actId="165"/>
          <ac:spMkLst>
            <pc:docMk/>
            <pc:sldMk cId="3511587128" sldId="141169003"/>
            <ac:spMk id="22" creationId="{535B41E5-7BDD-403F-B5E9-61E081E8ADF3}"/>
          </ac:spMkLst>
        </pc:spChg>
        <pc:spChg chg="add del mod topLvl">
          <ac:chgData name="Sourav Bose" userId="a3480f76-fe68-4c03-a922-c4aa16f9bb6b" providerId="ADAL" clId="{DBB6B645-C36E-4B21-9704-373E2A71DC5E}" dt="2020-07-02T12:42:16.011" v="18091" actId="165"/>
          <ac:spMkLst>
            <pc:docMk/>
            <pc:sldMk cId="3511587128" sldId="141169003"/>
            <ac:spMk id="23" creationId="{7EF4766C-C676-4A13-B0C0-04409D6A173D}"/>
          </ac:spMkLst>
        </pc:spChg>
        <pc:spChg chg="add del mod topLvl">
          <ac:chgData name="Sourav Bose" userId="a3480f76-fe68-4c03-a922-c4aa16f9bb6b" providerId="ADAL" clId="{DBB6B645-C36E-4B21-9704-373E2A71DC5E}" dt="2020-07-02T12:42:16.011" v="18091" actId="165"/>
          <ac:spMkLst>
            <pc:docMk/>
            <pc:sldMk cId="3511587128" sldId="141169003"/>
            <ac:spMk id="24" creationId="{8540B2AE-ACF8-4DC3-AD8F-AA28078780DF}"/>
          </ac:spMkLst>
        </pc:spChg>
        <pc:spChg chg="add del mod topLvl">
          <ac:chgData name="Sourav Bose" userId="a3480f76-fe68-4c03-a922-c4aa16f9bb6b" providerId="ADAL" clId="{DBB6B645-C36E-4B21-9704-373E2A71DC5E}" dt="2020-07-02T12:42:16.011" v="18091" actId="165"/>
          <ac:spMkLst>
            <pc:docMk/>
            <pc:sldMk cId="3511587128" sldId="141169003"/>
            <ac:spMk id="26" creationId="{30EA8CDF-620F-4A0C-A071-4E7381AA805A}"/>
          </ac:spMkLst>
        </pc:spChg>
        <pc:spChg chg="add del mod topLvl">
          <ac:chgData name="Sourav Bose" userId="a3480f76-fe68-4c03-a922-c4aa16f9bb6b" providerId="ADAL" clId="{DBB6B645-C36E-4B21-9704-373E2A71DC5E}" dt="2020-07-02T12:42:16.011" v="18091" actId="165"/>
          <ac:spMkLst>
            <pc:docMk/>
            <pc:sldMk cId="3511587128" sldId="141169003"/>
            <ac:spMk id="29" creationId="{AAED815E-A869-4FA3-AC0D-56216B8BDC4A}"/>
          </ac:spMkLst>
        </pc:spChg>
        <pc:spChg chg="add del mod topLvl">
          <ac:chgData name="Sourav Bose" userId="a3480f76-fe68-4c03-a922-c4aa16f9bb6b" providerId="ADAL" clId="{DBB6B645-C36E-4B21-9704-373E2A71DC5E}" dt="2020-07-02T12:42:16.011" v="18091" actId="165"/>
          <ac:spMkLst>
            <pc:docMk/>
            <pc:sldMk cId="3511587128" sldId="141169003"/>
            <ac:spMk id="40" creationId="{878B9F71-87C6-48DE-98FC-87483728C90E}"/>
          </ac:spMkLst>
        </pc:spChg>
        <pc:spChg chg="add del mod topLvl">
          <ac:chgData name="Sourav Bose" userId="a3480f76-fe68-4c03-a922-c4aa16f9bb6b" providerId="ADAL" clId="{DBB6B645-C36E-4B21-9704-373E2A71DC5E}" dt="2020-07-02T12:42:16.011" v="18091" actId="165"/>
          <ac:spMkLst>
            <pc:docMk/>
            <pc:sldMk cId="3511587128" sldId="141169003"/>
            <ac:spMk id="41" creationId="{F708E07D-B54F-462A-BBDA-07001F49FD78}"/>
          </ac:spMkLst>
        </pc:spChg>
        <pc:spChg chg="add del mod topLvl">
          <ac:chgData name="Sourav Bose" userId="a3480f76-fe68-4c03-a922-c4aa16f9bb6b" providerId="ADAL" clId="{DBB6B645-C36E-4B21-9704-373E2A71DC5E}" dt="2020-07-02T12:42:16.011" v="18091" actId="165"/>
          <ac:spMkLst>
            <pc:docMk/>
            <pc:sldMk cId="3511587128" sldId="141169003"/>
            <ac:spMk id="42" creationId="{ECFD8460-4FD1-4385-9231-2B666272F99A}"/>
          </ac:spMkLst>
        </pc:spChg>
        <pc:spChg chg="add del mod topLvl">
          <ac:chgData name="Sourav Bose" userId="a3480f76-fe68-4c03-a922-c4aa16f9bb6b" providerId="ADAL" clId="{DBB6B645-C36E-4B21-9704-373E2A71DC5E}" dt="2020-07-02T12:42:16.011" v="18091" actId="165"/>
          <ac:spMkLst>
            <pc:docMk/>
            <pc:sldMk cId="3511587128" sldId="141169003"/>
            <ac:spMk id="43" creationId="{3C1CF458-E055-422E-A7F6-D7B8A8F06AB1}"/>
          </ac:spMkLst>
        </pc:spChg>
        <pc:spChg chg="add del mod topLvl">
          <ac:chgData name="Sourav Bose" userId="a3480f76-fe68-4c03-a922-c4aa16f9bb6b" providerId="ADAL" clId="{DBB6B645-C36E-4B21-9704-373E2A71DC5E}" dt="2020-07-02T12:42:16.011" v="18091" actId="165"/>
          <ac:spMkLst>
            <pc:docMk/>
            <pc:sldMk cId="3511587128" sldId="141169003"/>
            <ac:spMk id="44" creationId="{81D93E8B-7A2B-48B1-89FF-C98E3ADFAE1F}"/>
          </ac:spMkLst>
        </pc:spChg>
        <pc:spChg chg="add del mod topLvl">
          <ac:chgData name="Sourav Bose" userId="a3480f76-fe68-4c03-a922-c4aa16f9bb6b" providerId="ADAL" clId="{DBB6B645-C36E-4B21-9704-373E2A71DC5E}" dt="2020-07-02T12:42:16.011" v="18091" actId="165"/>
          <ac:spMkLst>
            <pc:docMk/>
            <pc:sldMk cId="3511587128" sldId="141169003"/>
            <ac:spMk id="45" creationId="{9EA182E2-1172-41DD-9B85-F022197F1250}"/>
          </ac:spMkLst>
        </pc:spChg>
        <pc:spChg chg="add del mod topLvl">
          <ac:chgData name="Sourav Bose" userId="a3480f76-fe68-4c03-a922-c4aa16f9bb6b" providerId="ADAL" clId="{DBB6B645-C36E-4B21-9704-373E2A71DC5E}" dt="2020-07-02T12:42:16.011" v="18091" actId="165"/>
          <ac:spMkLst>
            <pc:docMk/>
            <pc:sldMk cId="3511587128" sldId="141169003"/>
            <ac:spMk id="59" creationId="{B383584F-DF01-4DC9-93AC-899C32B016ED}"/>
          </ac:spMkLst>
        </pc:spChg>
        <pc:spChg chg="add del mod topLvl">
          <ac:chgData name="Sourav Bose" userId="a3480f76-fe68-4c03-a922-c4aa16f9bb6b" providerId="ADAL" clId="{DBB6B645-C36E-4B21-9704-373E2A71DC5E}" dt="2020-07-02T12:42:16.011" v="18091" actId="165"/>
          <ac:spMkLst>
            <pc:docMk/>
            <pc:sldMk cId="3511587128" sldId="141169003"/>
            <ac:spMk id="82" creationId="{7537EDA8-3AC4-4B3A-9465-0EE28B8D1C3E}"/>
          </ac:spMkLst>
        </pc:spChg>
        <pc:spChg chg="add del mod topLvl">
          <ac:chgData name="Sourav Bose" userId="a3480f76-fe68-4c03-a922-c4aa16f9bb6b" providerId="ADAL" clId="{DBB6B645-C36E-4B21-9704-373E2A71DC5E}" dt="2020-07-02T12:42:16.011" v="18091" actId="165"/>
          <ac:spMkLst>
            <pc:docMk/>
            <pc:sldMk cId="3511587128" sldId="141169003"/>
            <ac:spMk id="86" creationId="{D58D496E-05DE-42C0-804F-8B19B542B862}"/>
          </ac:spMkLst>
        </pc:spChg>
        <pc:spChg chg="add del mod topLvl">
          <ac:chgData name="Sourav Bose" userId="a3480f76-fe68-4c03-a922-c4aa16f9bb6b" providerId="ADAL" clId="{DBB6B645-C36E-4B21-9704-373E2A71DC5E}" dt="2020-07-02T12:42:16.011" v="18091" actId="165"/>
          <ac:spMkLst>
            <pc:docMk/>
            <pc:sldMk cId="3511587128" sldId="141169003"/>
            <ac:spMk id="107" creationId="{CE9EF1CD-D9AE-4FAB-93FC-6313EEFAE35C}"/>
          </ac:spMkLst>
        </pc:spChg>
        <pc:grpChg chg="add del mod">
          <ac:chgData name="Sourav Bose" userId="a3480f76-fe68-4c03-a922-c4aa16f9bb6b" providerId="ADAL" clId="{DBB6B645-C36E-4B21-9704-373E2A71DC5E}" dt="2020-07-02T12:42:16.011" v="18091" actId="165"/>
          <ac:grpSpMkLst>
            <pc:docMk/>
            <pc:sldMk cId="3511587128" sldId="141169003"/>
            <ac:grpSpMk id="7" creationId="{A0F81AE1-EA75-4069-839A-67BD24E3ABD2}"/>
          </ac:grpSpMkLst>
        </pc:grpChg>
        <pc:grpChg chg="add del mod topLvl">
          <ac:chgData name="Sourav Bose" userId="a3480f76-fe68-4c03-a922-c4aa16f9bb6b" providerId="ADAL" clId="{DBB6B645-C36E-4B21-9704-373E2A71DC5E}" dt="2020-07-02T12:42:16.011" v="18091" actId="165"/>
          <ac:grpSpMkLst>
            <pc:docMk/>
            <pc:sldMk cId="3511587128" sldId="141169003"/>
            <ac:grpSpMk id="83" creationId="{32F3A638-96D1-443C-ADAA-99E50F75894D}"/>
          </ac:grpSpMkLst>
        </pc:grpChg>
        <pc:grpChg chg="add del mod topLvl">
          <ac:chgData name="Sourav Bose" userId="a3480f76-fe68-4c03-a922-c4aa16f9bb6b" providerId="ADAL" clId="{DBB6B645-C36E-4B21-9704-373E2A71DC5E}" dt="2020-07-02T12:42:16.011" v="18091" actId="165"/>
          <ac:grpSpMkLst>
            <pc:docMk/>
            <pc:sldMk cId="3511587128" sldId="141169003"/>
            <ac:grpSpMk id="88" creationId="{BA901C5E-532C-425F-91CD-54CA0D5976DE}"/>
          </ac:grpSpMkLst>
        </pc:grpChg>
        <pc:grpChg chg="add del mod topLvl">
          <ac:chgData name="Sourav Bose" userId="a3480f76-fe68-4c03-a922-c4aa16f9bb6b" providerId="ADAL" clId="{DBB6B645-C36E-4B21-9704-373E2A71DC5E}" dt="2020-07-02T12:42:16.011" v="18091" actId="165"/>
          <ac:grpSpMkLst>
            <pc:docMk/>
            <pc:sldMk cId="3511587128" sldId="141169003"/>
            <ac:grpSpMk id="109" creationId="{A6468403-865B-4F5F-AAD5-87BD9CDE9806}"/>
          </ac:grpSpMkLst>
        </pc:grpChg>
        <pc:picChg chg="add del mod topLvl">
          <ac:chgData name="Sourav Bose" userId="a3480f76-fe68-4c03-a922-c4aa16f9bb6b" providerId="ADAL" clId="{DBB6B645-C36E-4B21-9704-373E2A71DC5E}" dt="2020-07-02T12:42:16.011" v="18091" actId="165"/>
          <ac:picMkLst>
            <pc:docMk/>
            <pc:sldMk cId="3511587128" sldId="141169003"/>
            <ac:picMk id="125" creationId="{F6429058-27FF-475B-98D6-C0CC881E6976}"/>
          </ac:picMkLst>
        </pc:picChg>
      </pc:sldChg>
      <pc:sldChg chg="addSp delSp modSp del">
        <pc:chgData name="Sourav Bose" userId="a3480f76-fe68-4c03-a922-c4aa16f9bb6b" providerId="ADAL" clId="{DBB6B645-C36E-4B21-9704-373E2A71DC5E}" dt="2020-07-02T05:34:25.384" v="9683" actId="2696"/>
        <pc:sldMkLst>
          <pc:docMk/>
          <pc:sldMk cId="2162379219" sldId="141169004"/>
        </pc:sldMkLst>
        <pc:spChg chg="mod">
          <ac:chgData name="Sourav Bose" userId="a3480f76-fe68-4c03-a922-c4aa16f9bb6b" providerId="ADAL" clId="{DBB6B645-C36E-4B21-9704-373E2A71DC5E}" dt="2020-07-02T05:30:54.641" v="9400" actId="164"/>
          <ac:spMkLst>
            <pc:docMk/>
            <pc:sldMk cId="2162379219" sldId="141169004"/>
            <ac:spMk id="6" creationId="{48404C05-A801-4E26-ACF1-77C9A914B9F1}"/>
          </ac:spMkLst>
        </pc:spChg>
        <pc:spChg chg="mod">
          <ac:chgData name="Sourav Bose" userId="a3480f76-fe68-4c03-a922-c4aa16f9bb6b" providerId="ADAL" clId="{DBB6B645-C36E-4B21-9704-373E2A71DC5E}" dt="2020-07-02T05:30:54.641" v="9400" actId="164"/>
          <ac:spMkLst>
            <pc:docMk/>
            <pc:sldMk cId="2162379219" sldId="141169004"/>
            <ac:spMk id="7" creationId="{A84EA4EB-F2F0-4F79-B0D3-D206C26CA19A}"/>
          </ac:spMkLst>
        </pc:spChg>
        <pc:spChg chg="mod">
          <ac:chgData name="Sourav Bose" userId="a3480f76-fe68-4c03-a922-c4aa16f9bb6b" providerId="ADAL" clId="{DBB6B645-C36E-4B21-9704-373E2A71DC5E}" dt="2020-07-02T05:31:11.689" v="9401" actId="164"/>
          <ac:spMkLst>
            <pc:docMk/>
            <pc:sldMk cId="2162379219" sldId="141169004"/>
            <ac:spMk id="20" creationId="{49414D50-800E-46BC-AD50-A8BD5AF280C3}"/>
          </ac:spMkLst>
        </pc:spChg>
        <pc:spChg chg="mod">
          <ac:chgData name="Sourav Bose" userId="a3480f76-fe68-4c03-a922-c4aa16f9bb6b" providerId="ADAL" clId="{DBB6B645-C36E-4B21-9704-373E2A71DC5E}" dt="2020-07-02T05:31:11.689" v="9401" actId="164"/>
          <ac:spMkLst>
            <pc:docMk/>
            <pc:sldMk cId="2162379219" sldId="141169004"/>
            <ac:spMk id="21" creationId="{EB699588-5711-4C44-8FB9-140DA342ABE6}"/>
          </ac:spMkLst>
        </pc:spChg>
        <pc:spChg chg="mod">
          <ac:chgData name="Sourav Bose" userId="a3480f76-fe68-4c03-a922-c4aa16f9bb6b" providerId="ADAL" clId="{DBB6B645-C36E-4B21-9704-373E2A71DC5E}" dt="2020-07-02T05:30:46.963" v="9399" actId="164"/>
          <ac:spMkLst>
            <pc:docMk/>
            <pc:sldMk cId="2162379219" sldId="141169004"/>
            <ac:spMk id="26" creationId="{FEA51DA3-2377-4E15-A155-236D25BB65B8}"/>
          </ac:spMkLst>
        </pc:spChg>
        <pc:spChg chg="mod">
          <ac:chgData name="Sourav Bose" userId="a3480f76-fe68-4c03-a922-c4aa16f9bb6b" providerId="ADAL" clId="{DBB6B645-C36E-4B21-9704-373E2A71DC5E}" dt="2020-07-02T05:30:46.963" v="9399" actId="164"/>
          <ac:spMkLst>
            <pc:docMk/>
            <pc:sldMk cId="2162379219" sldId="141169004"/>
            <ac:spMk id="27" creationId="{1AF10FFE-2F62-4AF5-965E-AC034B025DCB}"/>
          </ac:spMkLst>
        </pc:spChg>
        <pc:grpChg chg="add del mod">
          <ac:chgData name="Sourav Bose" userId="a3480f76-fe68-4c03-a922-c4aa16f9bb6b" providerId="ADAL" clId="{DBB6B645-C36E-4B21-9704-373E2A71DC5E}" dt="2020-07-02T05:32:41.335" v="9418"/>
          <ac:grpSpMkLst>
            <pc:docMk/>
            <pc:sldMk cId="2162379219" sldId="141169004"/>
            <ac:grpSpMk id="4" creationId="{4A63B5BA-9648-42C2-B23C-AC931D474494}"/>
          </ac:grpSpMkLst>
        </pc:grpChg>
        <pc:grpChg chg="add mod">
          <ac:chgData name="Sourav Bose" userId="a3480f76-fe68-4c03-a922-c4aa16f9bb6b" providerId="ADAL" clId="{DBB6B645-C36E-4B21-9704-373E2A71DC5E}" dt="2020-07-02T05:30:54.641" v="9400" actId="164"/>
          <ac:grpSpMkLst>
            <pc:docMk/>
            <pc:sldMk cId="2162379219" sldId="141169004"/>
            <ac:grpSpMk id="5" creationId="{F546E3B6-73AE-4037-B36E-5A3499523D15}"/>
          </ac:grpSpMkLst>
        </pc:grpChg>
        <pc:grpChg chg="add mod">
          <ac:chgData name="Sourav Bose" userId="a3480f76-fe68-4c03-a922-c4aa16f9bb6b" providerId="ADAL" clId="{DBB6B645-C36E-4B21-9704-373E2A71DC5E}" dt="2020-07-02T05:31:11.689" v="9401" actId="164"/>
          <ac:grpSpMkLst>
            <pc:docMk/>
            <pc:sldMk cId="2162379219" sldId="141169004"/>
            <ac:grpSpMk id="8" creationId="{7FBF5453-FA0F-4EAF-88E0-C7B919767C17}"/>
          </ac:grpSpMkLst>
        </pc:grpChg>
        <pc:grpChg chg="add del mod">
          <ac:chgData name="Sourav Bose" userId="a3480f76-fe68-4c03-a922-c4aa16f9bb6b" providerId="ADAL" clId="{DBB6B645-C36E-4B21-9704-373E2A71DC5E}" dt="2020-07-02T05:32:05.577" v="9412"/>
          <ac:grpSpMkLst>
            <pc:docMk/>
            <pc:sldMk cId="2162379219" sldId="141169004"/>
            <ac:grpSpMk id="13" creationId="{CE5EB737-4F72-4562-9779-492A2D53ECE8}"/>
          </ac:grpSpMkLst>
        </pc:grpChg>
      </pc:sldChg>
      <pc:sldChg chg="addSp delSp modSp del">
        <pc:chgData name="Sourav Bose" userId="a3480f76-fe68-4c03-a922-c4aa16f9bb6b" providerId="ADAL" clId="{DBB6B645-C36E-4B21-9704-373E2A71DC5E}" dt="2020-07-02T09:34:58.799" v="13976" actId="2696"/>
        <pc:sldMkLst>
          <pc:docMk/>
          <pc:sldMk cId="3343505216" sldId="141169005"/>
        </pc:sldMkLst>
        <pc:spChg chg="mod">
          <ac:chgData name="Sourav Bose" userId="a3480f76-fe68-4c03-a922-c4aa16f9bb6b" providerId="ADAL" clId="{DBB6B645-C36E-4B21-9704-373E2A71DC5E}" dt="2020-07-02T05:31:34.172" v="9406" actId="1076"/>
          <ac:spMkLst>
            <pc:docMk/>
            <pc:sldMk cId="3343505216" sldId="141169005"/>
            <ac:spMk id="2" creationId="{7293BC31-CD40-4548-8B0B-DA2ED6A17047}"/>
          </ac:spMkLst>
        </pc:spChg>
        <pc:spChg chg="mod">
          <ac:chgData name="Sourav Bose" userId="a3480f76-fe68-4c03-a922-c4aa16f9bb6b" providerId="ADAL" clId="{DBB6B645-C36E-4B21-9704-373E2A71DC5E}" dt="2020-07-02T05:34:13.732" v="9681" actId="14100"/>
          <ac:spMkLst>
            <pc:docMk/>
            <pc:sldMk cId="3343505216" sldId="141169005"/>
            <ac:spMk id="6" creationId="{48404C05-A801-4E26-ACF1-77C9A914B9F1}"/>
          </ac:spMkLst>
        </pc:spChg>
        <pc:spChg chg="mod">
          <ac:chgData name="Sourav Bose" userId="a3480f76-fe68-4c03-a922-c4aa16f9bb6b" providerId="ADAL" clId="{DBB6B645-C36E-4B21-9704-373E2A71DC5E}" dt="2020-07-02T05:31:41.513" v="9407" actId="164"/>
          <ac:spMkLst>
            <pc:docMk/>
            <pc:sldMk cId="3343505216" sldId="141169005"/>
            <ac:spMk id="7" creationId="{A84EA4EB-F2F0-4F79-B0D3-D206C26CA19A}"/>
          </ac:spMkLst>
        </pc:spChg>
        <pc:spChg chg="mod">
          <ac:chgData name="Sourav Bose" userId="a3480f76-fe68-4c03-a922-c4aa16f9bb6b" providerId="ADAL" clId="{DBB6B645-C36E-4B21-9704-373E2A71DC5E}" dt="2020-07-02T05:34:19.561" v="9682" actId="14100"/>
          <ac:spMkLst>
            <pc:docMk/>
            <pc:sldMk cId="3343505216" sldId="141169005"/>
            <ac:spMk id="17" creationId="{0753EAD7-9B02-4B07-B564-7A3BA0F285D5}"/>
          </ac:spMkLst>
        </pc:spChg>
        <pc:spChg chg="mod">
          <ac:chgData name="Sourav Bose" userId="a3480f76-fe68-4c03-a922-c4aa16f9bb6b" providerId="ADAL" clId="{DBB6B645-C36E-4B21-9704-373E2A71DC5E}" dt="2020-07-02T05:34:07.496" v="9680" actId="14100"/>
          <ac:spMkLst>
            <pc:docMk/>
            <pc:sldMk cId="3343505216" sldId="141169005"/>
            <ac:spMk id="20" creationId="{49414D50-800E-46BC-AD50-A8BD5AF280C3}"/>
          </ac:spMkLst>
        </pc:spChg>
        <pc:spChg chg="mod">
          <ac:chgData name="Sourav Bose" userId="a3480f76-fe68-4c03-a922-c4aa16f9bb6b" providerId="ADAL" clId="{DBB6B645-C36E-4B21-9704-373E2A71DC5E}" dt="2020-07-02T05:31:31.503" v="9404" actId="164"/>
          <ac:spMkLst>
            <pc:docMk/>
            <pc:sldMk cId="3343505216" sldId="141169005"/>
            <ac:spMk id="21" creationId="{EB699588-5711-4C44-8FB9-140DA342ABE6}"/>
          </ac:spMkLst>
        </pc:spChg>
        <pc:spChg chg="mod">
          <ac:chgData name="Sourav Bose" userId="a3480f76-fe68-4c03-a922-c4aa16f9bb6b" providerId="ADAL" clId="{DBB6B645-C36E-4B21-9704-373E2A71DC5E}" dt="2020-07-02T05:31:50.276" v="9408" actId="164"/>
          <ac:spMkLst>
            <pc:docMk/>
            <pc:sldMk cId="3343505216" sldId="141169005"/>
            <ac:spMk id="26" creationId="{FEA51DA3-2377-4E15-A155-236D25BB65B8}"/>
          </ac:spMkLst>
        </pc:spChg>
        <pc:spChg chg="mod">
          <ac:chgData name="Sourav Bose" userId="a3480f76-fe68-4c03-a922-c4aa16f9bb6b" providerId="ADAL" clId="{DBB6B645-C36E-4B21-9704-373E2A71DC5E}" dt="2020-07-02T05:31:50.276" v="9408" actId="164"/>
          <ac:spMkLst>
            <pc:docMk/>
            <pc:sldMk cId="3343505216" sldId="141169005"/>
            <ac:spMk id="27" creationId="{1AF10FFE-2F62-4AF5-965E-AC034B025DCB}"/>
          </ac:spMkLst>
        </pc:spChg>
        <pc:grpChg chg="add mod">
          <ac:chgData name="Sourav Bose" userId="a3480f76-fe68-4c03-a922-c4aa16f9bb6b" providerId="ADAL" clId="{DBB6B645-C36E-4B21-9704-373E2A71DC5E}" dt="2020-07-02T05:33:36.236" v="9676" actId="1037"/>
          <ac:grpSpMkLst>
            <pc:docMk/>
            <pc:sldMk cId="3343505216" sldId="141169005"/>
            <ac:grpSpMk id="4" creationId="{BD5983DD-0E22-4877-8F99-555E94AA0FC8}"/>
          </ac:grpSpMkLst>
        </pc:grpChg>
        <pc:grpChg chg="add mod">
          <ac:chgData name="Sourav Bose" userId="a3480f76-fe68-4c03-a922-c4aa16f9bb6b" providerId="ADAL" clId="{DBB6B645-C36E-4B21-9704-373E2A71DC5E}" dt="2020-07-02T05:33:59.863" v="9679" actId="14100"/>
          <ac:grpSpMkLst>
            <pc:docMk/>
            <pc:sldMk cId="3343505216" sldId="141169005"/>
            <ac:grpSpMk id="5" creationId="{C6C5CEDB-8096-454F-9141-FD23D80B13BC}"/>
          </ac:grpSpMkLst>
        </pc:grpChg>
        <pc:grpChg chg="add del mod">
          <ac:chgData name="Sourav Bose" userId="a3480f76-fe68-4c03-a922-c4aa16f9bb6b" providerId="ADAL" clId="{DBB6B645-C36E-4B21-9704-373E2A71DC5E}" dt="2020-07-02T05:32:21.508" v="9415"/>
          <ac:grpSpMkLst>
            <pc:docMk/>
            <pc:sldMk cId="3343505216" sldId="141169005"/>
            <ac:grpSpMk id="8" creationId="{0C132B63-C5F1-44F3-87C7-4084415DBC32}"/>
          </ac:grpSpMkLst>
        </pc:grpChg>
        <pc:grpChg chg="add del mod">
          <ac:chgData name="Sourav Bose" userId="a3480f76-fe68-4c03-a922-c4aa16f9bb6b" providerId="ADAL" clId="{DBB6B645-C36E-4B21-9704-373E2A71DC5E}" dt="2020-07-02T05:32:55.059" v="9424"/>
          <ac:grpSpMkLst>
            <pc:docMk/>
            <pc:sldMk cId="3343505216" sldId="141169005"/>
            <ac:grpSpMk id="13" creationId="{7D8CBEEF-6AD3-43D5-8F76-8A9AEB8A9440}"/>
          </ac:grpSpMkLst>
        </pc:grpChg>
        <pc:grpChg chg="add mod">
          <ac:chgData name="Sourav Bose" userId="a3480f76-fe68-4c03-a922-c4aa16f9bb6b" providerId="ADAL" clId="{DBB6B645-C36E-4B21-9704-373E2A71DC5E}" dt="2020-07-02T05:33:15.217" v="9637" actId="1038"/>
          <ac:grpSpMkLst>
            <pc:docMk/>
            <pc:sldMk cId="3343505216" sldId="141169005"/>
            <ac:grpSpMk id="16" creationId="{67622130-6C4F-4035-8D4B-2447A8B59127}"/>
          </ac:grpSpMkLst>
        </pc:grpChg>
      </pc:sldChg>
      <pc:sldChg chg="add del">
        <pc:chgData name="Sourav Bose" userId="a3480f76-fe68-4c03-a922-c4aa16f9bb6b" providerId="ADAL" clId="{DBB6B645-C36E-4B21-9704-373E2A71DC5E}" dt="2020-07-03T08:21:44.604" v="30485" actId="2696"/>
        <pc:sldMkLst>
          <pc:docMk/>
          <pc:sldMk cId="2169648815" sldId="141169006"/>
        </pc:sldMkLst>
      </pc:sldChg>
      <pc:sldChg chg="modSp del">
        <pc:chgData name="Sourav Bose" userId="a3480f76-fe68-4c03-a922-c4aa16f9bb6b" providerId="ADAL" clId="{DBB6B645-C36E-4B21-9704-373E2A71DC5E}" dt="2020-07-03T03:03:48.820" v="21929" actId="2696"/>
        <pc:sldMkLst>
          <pc:docMk/>
          <pc:sldMk cId="2340076094" sldId="141169006"/>
        </pc:sldMkLst>
        <pc:spChg chg="mod">
          <ac:chgData name="Sourav Bose" userId="a3480f76-fe68-4c03-a922-c4aa16f9bb6b" providerId="ADAL" clId="{DBB6B645-C36E-4B21-9704-373E2A71DC5E}" dt="2020-07-02T11:38:53.554" v="17286" actId="20577"/>
          <ac:spMkLst>
            <pc:docMk/>
            <pc:sldMk cId="2340076094" sldId="141169006"/>
            <ac:spMk id="2" creationId="{77DC6956-528F-4456-98DF-B005927B392C}"/>
          </ac:spMkLst>
        </pc:spChg>
        <pc:spChg chg="mod">
          <ac:chgData name="Sourav Bose" userId="a3480f76-fe68-4c03-a922-c4aa16f9bb6b" providerId="ADAL" clId="{DBB6B645-C36E-4B21-9704-373E2A71DC5E}" dt="2020-07-02T03:41:21.975" v="7821" actId="20577"/>
          <ac:spMkLst>
            <pc:docMk/>
            <pc:sldMk cId="2340076094" sldId="141169006"/>
            <ac:spMk id="155" creationId="{F1A4C78E-B220-4B3A-86E7-560570A6C405}"/>
          </ac:spMkLst>
        </pc:spChg>
      </pc:sldChg>
      <pc:sldChg chg="addSp delSp modSp del">
        <pc:chgData name="Sourav Bose" userId="a3480f76-fe68-4c03-a922-c4aa16f9bb6b" providerId="ADAL" clId="{DBB6B645-C36E-4B21-9704-373E2A71DC5E}" dt="2020-07-03T04:38:45.586" v="25783" actId="2696"/>
        <pc:sldMkLst>
          <pc:docMk/>
          <pc:sldMk cId="1507358347" sldId="141169009"/>
        </pc:sldMkLst>
        <pc:spChg chg="mod">
          <ac:chgData name="Sourav Bose" userId="a3480f76-fe68-4c03-a922-c4aa16f9bb6b" providerId="ADAL" clId="{DBB6B645-C36E-4B21-9704-373E2A71DC5E}" dt="2020-07-03T02:48:22.325" v="21892" actId="20577"/>
          <ac:spMkLst>
            <pc:docMk/>
            <pc:sldMk cId="1507358347" sldId="141169009"/>
            <ac:spMk id="3" creationId="{2628184F-BB51-4520-9982-EA93EF50D704}"/>
          </ac:spMkLst>
        </pc:spChg>
        <pc:spChg chg="mod">
          <ac:chgData name="Sourav Bose" userId="a3480f76-fe68-4c03-a922-c4aa16f9bb6b" providerId="ADAL" clId="{DBB6B645-C36E-4B21-9704-373E2A71DC5E}" dt="2020-07-03T02:48:11.328" v="21887" actId="1036"/>
          <ac:spMkLst>
            <pc:docMk/>
            <pc:sldMk cId="1507358347" sldId="141169009"/>
            <ac:spMk id="10" creationId="{B16841C1-E4C6-4208-A4A9-71945541CA3B}"/>
          </ac:spMkLst>
        </pc:spChg>
        <pc:spChg chg="del">
          <ac:chgData name="Sourav Bose" userId="a3480f76-fe68-4c03-a922-c4aa16f9bb6b" providerId="ADAL" clId="{DBB6B645-C36E-4B21-9704-373E2A71DC5E}" dt="2020-07-02T08:08:17.936" v="11141" actId="478"/>
          <ac:spMkLst>
            <pc:docMk/>
            <pc:sldMk cId="1507358347" sldId="141169009"/>
            <ac:spMk id="30" creationId="{02C5C868-CB8B-47FF-BAAF-B72CBA00B498}"/>
          </ac:spMkLst>
        </pc:spChg>
        <pc:spChg chg="mod">
          <ac:chgData name="Sourav Bose" userId="a3480f76-fe68-4c03-a922-c4aa16f9bb6b" providerId="ADAL" clId="{DBB6B645-C36E-4B21-9704-373E2A71DC5E}" dt="2020-07-02T11:00:26.836" v="16469" actId="1036"/>
          <ac:spMkLst>
            <pc:docMk/>
            <pc:sldMk cId="1507358347" sldId="141169009"/>
            <ac:spMk id="49" creationId="{23831945-796A-463C-8EE8-9293A3FC0FDF}"/>
          </ac:spMkLst>
        </pc:spChg>
        <pc:spChg chg="mod">
          <ac:chgData name="Sourav Bose" userId="a3480f76-fe68-4c03-a922-c4aa16f9bb6b" providerId="ADAL" clId="{DBB6B645-C36E-4B21-9704-373E2A71DC5E}" dt="2020-07-02T11:00:26.836" v="16469" actId="1036"/>
          <ac:spMkLst>
            <pc:docMk/>
            <pc:sldMk cId="1507358347" sldId="141169009"/>
            <ac:spMk id="50" creationId="{13546F35-1F87-4C1B-9702-0374B6966B51}"/>
          </ac:spMkLst>
        </pc:spChg>
        <pc:spChg chg="mod">
          <ac:chgData name="Sourav Bose" userId="a3480f76-fe68-4c03-a922-c4aa16f9bb6b" providerId="ADAL" clId="{DBB6B645-C36E-4B21-9704-373E2A71DC5E}" dt="2020-07-03T04:20:01.165" v="25087" actId="20577"/>
          <ac:spMkLst>
            <pc:docMk/>
            <pc:sldMk cId="1507358347" sldId="141169009"/>
            <ac:spMk id="58" creationId="{7F06C013-41F6-49DE-9101-7A21E195BD01}"/>
          </ac:spMkLst>
        </pc:spChg>
        <pc:spChg chg="mod">
          <ac:chgData name="Sourav Bose" userId="a3480f76-fe68-4c03-a922-c4aa16f9bb6b" providerId="ADAL" clId="{DBB6B645-C36E-4B21-9704-373E2A71DC5E}" dt="2020-07-03T04:20:08.466" v="25092" actId="20577"/>
          <ac:spMkLst>
            <pc:docMk/>
            <pc:sldMk cId="1507358347" sldId="141169009"/>
            <ac:spMk id="59" creationId="{28A45A25-54A0-4271-8129-FE70ACD9E5BC}"/>
          </ac:spMkLst>
        </pc:spChg>
        <pc:spChg chg="mod">
          <ac:chgData name="Sourav Bose" userId="a3480f76-fe68-4c03-a922-c4aa16f9bb6b" providerId="ADAL" clId="{DBB6B645-C36E-4B21-9704-373E2A71DC5E}" dt="2020-07-02T11:00:44.566" v="16480" actId="1036"/>
          <ac:spMkLst>
            <pc:docMk/>
            <pc:sldMk cId="1507358347" sldId="141169009"/>
            <ac:spMk id="60" creationId="{457DA9C7-3D81-4149-932B-131C6663D3BB}"/>
          </ac:spMkLst>
        </pc:spChg>
        <pc:spChg chg="add mod">
          <ac:chgData name="Sourav Bose" userId="a3480f76-fe68-4c03-a922-c4aa16f9bb6b" providerId="ADAL" clId="{DBB6B645-C36E-4B21-9704-373E2A71DC5E}" dt="2020-07-02T08:17:02.094" v="11449" actId="14100"/>
          <ac:spMkLst>
            <pc:docMk/>
            <pc:sldMk cId="1507358347" sldId="141169009"/>
            <ac:spMk id="61" creationId="{CC58E8AF-0F04-4EA8-8CA8-E72D35C9BC85}"/>
          </ac:spMkLst>
        </pc:spChg>
        <pc:spChg chg="mod">
          <ac:chgData name="Sourav Bose" userId="a3480f76-fe68-4c03-a922-c4aa16f9bb6b" providerId="ADAL" clId="{DBB6B645-C36E-4B21-9704-373E2A71DC5E}" dt="2020-07-02T11:00:44.566" v="16480" actId="1036"/>
          <ac:spMkLst>
            <pc:docMk/>
            <pc:sldMk cId="1507358347" sldId="141169009"/>
            <ac:spMk id="70" creationId="{FF786C08-088E-4AFE-A4BC-6BA04BD67CDC}"/>
          </ac:spMkLst>
        </pc:spChg>
        <pc:spChg chg="mod">
          <ac:chgData name="Sourav Bose" userId="a3480f76-fe68-4c03-a922-c4aa16f9bb6b" providerId="ADAL" clId="{DBB6B645-C36E-4B21-9704-373E2A71DC5E}" dt="2020-07-02T11:00:44.566" v="16480" actId="1036"/>
          <ac:spMkLst>
            <pc:docMk/>
            <pc:sldMk cId="1507358347" sldId="141169009"/>
            <ac:spMk id="71" creationId="{834E909C-20E8-4C47-990D-9F7680001EC3}"/>
          </ac:spMkLst>
        </pc:spChg>
        <pc:spChg chg="mod">
          <ac:chgData name="Sourav Bose" userId="a3480f76-fe68-4c03-a922-c4aa16f9bb6b" providerId="ADAL" clId="{DBB6B645-C36E-4B21-9704-373E2A71DC5E}" dt="2020-07-02T11:00:44.566" v="16480" actId="1036"/>
          <ac:spMkLst>
            <pc:docMk/>
            <pc:sldMk cId="1507358347" sldId="141169009"/>
            <ac:spMk id="72" creationId="{74099FCE-4138-4D20-9032-4F9A53D22211}"/>
          </ac:spMkLst>
        </pc:spChg>
        <pc:spChg chg="del mod">
          <ac:chgData name="Sourav Bose" userId="a3480f76-fe68-4c03-a922-c4aa16f9bb6b" providerId="ADAL" clId="{DBB6B645-C36E-4B21-9704-373E2A71DC5E}" dt="2020-07-02T08:09:40.733" v="11194" actId="478"/>
          <ac:spMkLst>
            <pc:docMk/>
            <pc:sldMk cId="1507358347" sldId="141169009"/>
            <ac:spMk id="75" creationId="{3E0DCA68-9711-43CA-A75C-C00A7CEF5745}"/>
          </ac:spMkLst>
        </pc:spChg>
        <pc:spChg chg="mod">
          <ac:chgData name="Sourav Bose" userId="a3480f76-fe68-4c03-a922-c4aa16f9bb6b" providerId="ADAL" clId="{DBB6B645-C36E-4B21-9704-373E2A71DC5E}" dt="2020-07-02T11:00:26.836" v="16469" actId="1036"/>
          <ac:spMkLst>
            <pc:docMk/>
            <pc:sldMk cId="1507358347" sldId="141169009"/>
            <ac:spMk id="80" creationId="{8321B3DF-23E6-450A-9400-499C17A23585}"/>
          </ac:spMkLst>
        </pc:spChg>
        <pc:spChg chg="mod">
          <ac:chgData name="Sourav Bose" userId="a3480f76-fe68-4c03-a922-c4aa16f9bb6b" providerId="ADAL" clId="{DBB6B645-C36E-4B21-9704-373E2A71DC5E}" dt="2020-07-02T11:00:44.566" v="16480" actId="1036"/>
          <ac:spMkLst>
            <pc:docMk/>
            <pc:sldMk cId="1507358347" sldId="141169009"/>
            <ac:spMk id="89" creationId="{0F4B81E8-1183-48DE-A9EB-A2C0378C7719}"/>
          </ac:spMkLst>
        </pc:spChg>
        <pc:spChg chg="del mod">
          <ac:chgData name="Sourav Bose" userId="a3480f76-fe68-4c03-a922-c4aa16f9bb6b" providerId="ADAL" clId="{DBB6B645-C36E-4B21-9704-373E2A71DC5E}" dt="2020-07-02T08:19:26.187" v="11574" actId="478"/>
          <ac:spMkLst>
            <pc:docMk/>
            <pc:sldMk cId="1507358347" sldId="141169009"/>
            <ac:spMk id="90" creationId="{D3D36340-7712-4745-A78B-60B8B377B2EA}"/>
          </ac:spMkLst>
        </pc:spChg>
        <pc:spChg chg="add mod">
          <ac:chgData name="Sourav Bose" userId="a3480f76-fe68-4c03-a922-c4aa16f9bb6b" providerId="ADAL" clId="{DBB6B645-C36E-4B21-9704-373E2A71DC5E}" dt="2020-07-02T11:00:26.836" v="16469" actId="1036"/>
          <ac:spMkLst>
            <pc:docMk/>
            <pc:sldMk cId="1507358347" sldId="141169009"/>
            <ac:spMk id="94" creationId="{B7EEDBF8-C33A-49FD-95BF-71ECA43F4EFF}"/>
          </ac:spMkLst>
        </pc:spChg>
        <pc:spChg chg="mod">
          <ac:chgData name="Sourav Bose" userId="a3480f76-fe68-4c03-a922-c4aa16f9bb6b" providerId="ADAL" clId="{DBB6B645-C36E-4B21-9704-373E2A71DC5E}" dt="2020-07-02T11:00:26.836" v="16469" actId="1036"/>
          <ac:spMkLst>
            <pc:docMk/>
            <pc:sldMk cId="1507358347" sldId="141169009"/>
            <ac:spMk id="95" creationId="{E7E5C6D1-D519-4C11-B003-A5D7CFC4FA0F}"/>
          </ac:spMkLst>
        </pc:spChg>
        <pc:spChg chg="mod">
          <ac:chgData name="Sourav Bose" userId="a3480f76-fe68-4c03-a922-c4aa16f9bb6b" providerId="ADAL" clId="{DBB6B645-C36E-4B21-9704-373E2A71DC5E}" dt="2020-07-02T11:00:26.836" v="16469" actId="1036"/>
          <ac:spMkLst>
            <pc:docMk/>
            <pc:sldMk cId="1507358347" sldId="141169009"/>
            <ac:spMk id="96" creationId="{C80B4210-61E7-48EE-8C12-FC79C7472391}"/>
          </ac:spMkLst>
        </pc:spChg>
        <pc:spChg chg="mod">
          <ac:chgData name="Sourav Bose" userId="a3480f76-fe68-4c03-a922-c4aa16f9bb6b" providerId="ADAL" clId="{DBB6B645-C36E-4B21-9704-373E2A71DC5E}" dt="2020-07-02T11:00:26.836" v="16469" actId="1036"/>
          <ac:spMkLst>
            <pc:docMk/>
            <pc:sldMk cId="1507358347" sldId="141169009"/>
            <ac:spMk id="97" creationId="{1B997E85-FBC0-4AD5-9480-442870D83D8A}"/>
          </ac:spMkLst>
        </pc:spChg>
        <pc:spChg chg="mod">
          <ac:chgData name="Sourav Bose" userId="a3480f76-fe68-4c03-a922-c4aa16f9bb6b" providerId="ADAL" clId="{DBB6B645-C36E-4B21-9704-373E2A71DC5E}" dt="2020-07-02T11:00:26.836" v="16469" actId="1036"/>
          <ac:spMkLst>
            <pc:docMk/>
            <pc:sldMk cId="1507358347" sldId="141169009"/>
            <ac:spMk id="98" creationId="{003F2544-F548-42FB-A16D-CFB6B306FDA0}"/>
          </ac:spMkLst>
        </pc:spChg>
        <pc:spChg chg="mod">
          <ac:chgData name="Sourav Bose" userId="a3480f76-fe68-4c03-a922-c4aa16f9bb6b" providerId="ADAL" clId="{DBB6B645-C36E-4B21-9704-373E2A71DC5E}" dt="2020-07-02T08:16:26.247" v="11438" actId="14100"/>
          <ac:spMkLst>
            <pc:docMk/>
            <pc:sldMk cId="1507358347" sldId="141169009"/>
            <ac:spMk id="100" creationId="{2E7DF3E5-B902-4125-B3ED-E4DC63CA29A1}"/>
          </ac:spMkLst>
        </pc:spChg>
        <pc:spChg chg="mod">
          <ac:chgData name="Sourav Bose" userId="a3480f76-fe68-4c03-a922-c4aa16f9bb6b" providerId="ADAL" clId="{DBB6B645-C36E-4B21-9704-373E2A71DC5E}" dt="2020-07-02T11:00:26.836" v="16469" actId="1036"/>
          <ac:spMkLst>
            <pc:docMk/>
            <pc:sldMk cId="1507358347" sldId="141169009"/>
            <ac:spMk id="102" creationId="{83935AB9-2467-4803-B4C2-0808D5A20712}"/>
          </ac:spMkLst>
        </pc:spChg>
        <pc:spChg chg="mod">
          <ac:chgData name="Sourav Bose" userId="a3480f76-fe68-4c03-a922-c4aa16f9bb6b" providerId="ADAL" clId="{DBB6B645-C36E-4B21-9704-373E2A71DC5E}" dt="2020-07-02T08:26:29.050" v="12080" actId="14100"/>
          <ac:spMkLst>
            <pc:docMk/>
            <pc:sldMk cId="1507358347" sldId="141169009"/>
            <ac:spMk id="106" creationId="{59CE6037-E339-4080-B152-D7EABA7A7ADB}"/>
          </ac:spMkLst>
        </pc:spChg>
        <pc:spChg chg="add mod">
          <ac:chgData name="Sourav Bose" userId="a3480f76-fe68-4c03-a922-c4aa16f9bb6b" providerId="ADAL" clId="{DBB6B645-C36E-4B21-9704-373E2A71DC5E}" dt="2020-07-02T11:00:26.836" v="16469" actId="1036"/>
          <ac:spMkLst>
            <pc:docMk/>
            <pc:sldMk cId="1507358347" sldId="141169009"/>
            <ac:spMk id="110" creationId="{101B950E-B4E0-4E90-9487-E0810B33FCB1}"/>
          </ac:spMkLst>
        </pc:spChg>
        <pc:spChg chg="del mod">
          <ac:chgData name="Sourav Bose" userId="a3480f76-fe68-4c03-a922-c4aa16f9bb6b" providerId="ADAL" clId="{DBB6B645-C36E-4B21-9704-373E2A71DC5E}" dt="2020-07-02T08:08:42.665" v="11164" actId="478"/>
          <ac:spMkLst>
            <pc:docMk/>
            <pc:sldMk cId="1507358347" sldId="141169009"/>
            <ac:spMk id="125" creationId="{91DC8C9F-17A7-4DB9-A2D8-F33F89002166}"/>
          </ac:spMkLst>
        </pc:spChg>
        <pc:spChg chg="mod">
          <ac:chgData name="Sourav Bose" userId="a3480f76-fe68-4c03-a922-c4aa16f9bb6b" providerId="ADAL" clId="{DBB6B645-C36E-4B21-9704-373E2A71DC5E}" dt="2020-07-02T11:00:26.836" v="16469" actId="1036"/>
          <ac:spMkLst>
            <pc:docMk/>
            <pc:sldMk cId="1507358347" sldId="141169009"/>
            <ac:spMk id="140" creationId="{A887B2BE-5D14-43B9-9345-2EC04E469E55}"/>
          </ac:spMkLst>
        </pc:spChg>
        <pc:spChg chg="mod">
          <ac:chgData name="Sourav Bose" userId="a3480f76-fe68-4c03-a922-c4aa16f9bb6b" providerId="ADAL" clId="{DBB6B645-C36E-4B21-9704-373E2A71DC5E}" dt="2020-07-02T11:00:26.836" v="16469" actId="1036"/>
          <ac:spMkLst>
            <pc:docMk/>
            <pc:sldMk cId="1507358347" sldId="141169009"/>
            <ac:spMk id="142" creationId="{B4C3FE7C-42DE-4AED-A151-B8E24241AC6E}"/>
          </ac:spMkLst>
        </pc:spChg>
        <pc:spChg chg="mod">
          <ac:chgData name="Sourav Bose" userId="a3480f76-fe68-4c03-a922-c4aa16f9bb6b" providerId="ADAL" clId="{DBB6B645-C36E-4B21-9704-373E2A71DC5E}" dt="2020-07-02T11:00:26.836" v="16469" actId="1036"/>
          <ac:spMkLst>
            <pc:docMk/>
            <pc:sldMk cId="1507358347" sldId="141169009"/>
            <ac:spMk id="143" creationId="{827424B3-2712-4D5E-86BD-D602E81D399A}"/>
          </ac:spMkLst>
        </pc:spChg>
        <pc:spChg chg="mod">
          <ac:chgData name="Sourav Bose" userId="a3480f76-fe68-4c03-a922-c4aa16f9bb6b" providerId="ADAL" clId="{DBB6B645-C36E-4B21-9704-373E2A71DC5E}" dt="2020-07-02T11:00:26.836" v="16469" actId="1036"/>
          <ac:spMkLst>
            <pc:docMk/>
            <pc:sldMk cId="1507358347" sldId="141169009"/>
            <ac:spMk id="144" creationId="{2A97DA90-AC38-4C33-9B86-A3609AA76730}"/>
          </ac:spMkLst>
        </pc:spChg>
        <pc:spChg chg="mod">
          <ac:chgData name="Sourav Bose" userId="a3480f76-fe68-4c03-a922-c4aa16f9bb6b" providerId="ADAL" clId="{DBB6B645-C36E-4B21-9704-373E2A71DC5E}" dt="2020-07-02T11:00:26.836" v="16469" actId="1036"/>
          <ac:spMkLst>
            <pc:docMk/>
            <pc:sldMk cId="1507358347" sldId="141169009"/>
            <ac:spMk id="145" creationId="{DA473B17-B207-4F75-BBB2-E04DFFE71745}"/>
          </ac:spMkLst>
        </pc:spChg>
        <pc:spChg chg="mod">
          <ac:chgData name="Sourav Bose" userId="a3480f76-fe68-4c03-a922-c4aa16f9bb6b" providerId="ADAL" clId="{DBB6B645-C36E-4B21-9704-373E2A71DC5E}" dt="2020-07-03T04:20:25.304" v="25094" actId="20577"/>
          <ac:spMkLst>
            <pc:docMk/>
            <pc:sldMk cId="1507358347" sldId="141169009"/>
            <ac:spMk id="158" creationId="{1C5F2A4A-6787-4E28-BDF2-80B77B6186C0}"/>
          </ac:spMkLst>
        </pc:spChg>
        <pc:spChg chg="mod">
          <ac:chgData name="Sourav Bose" userId="a3480f76-fe68-4c03-a922-c4aa16f9bb6b" providerId="ADAL" clId="{DBB6B645-C36E-4B21-9704-373E2A71DC5E}" dt="2020-07-02T11:00:26.836" v="16469" actId="1036"/>
          <ac:spMkLst>
            <pc:docMk/>
            <pc:sldMk cId="1507358347" sldId="141169009"/>
            <ac:spMk id="161" creationId="{1AF0BDB3-86EA-4D15-9E92-1C58073B54DC}"/>
          </ac:spMkLst>
        </pc:spChg>
        <pc:grpChg chg="add mod">
          <ac:chgData name="Sourav Bose" userId="a3480f76-fe68-4c03-a922-c4aa16f9bb6b" providerId="ADAL" clId="{DBB6B645-C36E-4B21-9704-373E2A71DC5E}" dt="2020-07-02T11:00:26.836" v="16469" actId="1036"/>
          <ac:grpSpMkLst>
            <pc:docMk/>
            <pc:sldMk cId="1507358347" sldId="141169009"/>
            <ac:grpSpMk id="2" creationId="{B2DD70D0-EB84-426E-B69F-CF798CF595C1}"/>
          </ac:grpSpMkLst>
        </pc:grpChg>
        <pc:grpChg chg="mod">
          <ac:chgData name="Sourav Bose" userId="a3480f76-fe68-4c03-a922-c4aa16f9bb6b" providerId="ADAL" clId="{DBB6B645-C36E-4B21-9704-373E2A71DC5E}" dt="2020-07-02T11:00:44.566" v="16480" actId="1036"/>
          <ac:grpSpMkLst>
            <pc:docMk/>
            <pc:sldMk cId="1507358347" sldId="141169009"/>
            <ac:grpSpMk id="62" creationId="{97EF2D08-BE41-481C-830B-CF67C003FC74}"/>
          </ac:grpSpMkLst>
        </pc:grpChg>
        <pc:grpChg chg="mod">
          <ac:chgData name="Sourav Bose" userId="a3480f76-fe68-4c03-a922-c4aa16f9bb6b" providerId="ADAL" clId="{DBB6B645-C36E-4B21-9704-373E2A71DC5E}" dt="2020-07-02T11:00:44.566" v="16480" actId="1036"/>
          <ac:grpSpMkLst>
            <pc:docMk/>
            <pc:sldMk cId="1507358347" sldId="141169009"/>
            <ac:grpSpMk id="81" creationId="{1C5A3059-5B09-4301-AE03-390E18AEDFDE}"/>
          </ac:grpSpMkLst>
        </pc:grpChg>
        <pc:grpChg chg="mod">
          <ac:chgData name="Sourav Bose" userId="a3480f76-fe68-4c03-a922-c4aa16f9bb6b" providerId="ADAL" clId="{DBB6B645-C36E-4B21-9704-373E2A71DC5E}" dt="2020-07-02T11:00:44.566" v="16480" actId="1036"/>
          <ac:grpSpMkLst>
            <pc:docMk/>
            <pc:sldMk cId="1507358347" sldId="141169009"/>
            <ac:grpSpMk id="86" creationId="{E52EA3CE-DAC3-45B8-A905-DAB5377FD483}"/>
          </ac:grpSpMkLst>
        </pc:grpChg>
        <pc:grpChg chg="add mod">
          <ac:chgData name="Sourav Bose" userId="a3480f76-fe68-4c03-a922-c4aa16f9bb6b" providerId="ADAL" clId="{DBB6B645-C36E-4B21-9704-373E2A71DC5E}" dt="2020-07-02T11:00:26.836" v="16469" actId="1036"/>
          <ac:grpSpMkLst>
            <pc:docMk/>
            <pc:sldMk cId="1507358347" sldId="141169009"/>
            <ac:grpSpMk id="99" creationId="{69631A4C-BD6A-404E-8458-E19441327891}"/>
          </ac:grpSpMkLst>
        </pc:grpChg>
        <pc:grpChg chg="add mod">
          <ac:chgData name="Sourav Bose" userId="a3480f76-fe68-4c03-a922-c4aa16f9bb6b" providerId="ADAL" clId="{DBB6B645-C36E-4B21-9704-373E2A71DC5E}" dt="2020-07-02T11:00:26.836" v="16469" actId="1036"/>
          <ac:grpSpMkLst>
            <pc:docMk/>
            <pc:sldMk cId="1507358347" sldId="141169009"/>
            <ac:grpSpMk id="105" creationId="{7A493F6B-593C-49B6-AE6E-285E159BF858}"/>
          </ac:grpSpMkLst>
        </pc:grpChg>
        <pc:picChg chg="del mod">
          <ac:chgData name="Sourav Bose" userId="a3480f76-fe68-4c03-a922-c4aa16f9bb6b" providerId="ADAL" clId="{DBB6B645-C36E-4B21-9704-373E2A71DC5E}" dt="2020-07-02T08:08:45.099" v="11165" actId="478"/>
          <ac:picMkLst>
            <pc:docMk/>
            <pc:sldMk cId="1507358347" sldId="141169009"/>
            <ac:picMk id="5" creationId="{B8621AEC-C2BC-4095-8766-5F65AA98F02E}"/>
          </ac:picMkLst>
        </pc:picChg>
        <pc:picChg chg="add del mod">
          <ac:chgData name="Sourav Bose" userId="a3480f76-fe68-4c03-a922-c4aa16f9bb6b" providerId="ADAL" clId="{DBB6B645-C36E-4B21-9704-373E2A71DC5E}" dt="2020-07-02T08:10:14.364" v="11202"/>
          <ac:picMkLst>
            <pc:docMk/>
            <pc:sldMk cId="1507358347" sldId="141169009"/>
            <ac:picMk id="57" creationId="{F46461A9-8117-4E1E-AF92-2BA7F55EF603}"/>
          </ac:picMkLst>
        </pc:picChg>
        <pc:picChg chg="add mod">
          <ac:chgData name="Sourav Bose" userId="a3480f76-fe68-4c03-a922-c4aa16f9bb6b" providerId="ADAL" clId="{DBB6B645-C36E-4B21-9704-373E2A71DC5E}" dt="2020-07-02T08:10:39.378" v="11248" actId="164"/>
          <ac:picMkLst>
            <pc:docMk/>
            <pc:sldMk cId="1507358347" sldId="141169009"/>
            <ac:picMk id="63" creationId="{F92C2EE7-4D25-49C7-A7B3-58CAB713C587}"/>
          </ac:picMkLst>
        </pc:picChg>
        <pc:picChg chg="add mod">
          <ac:chgData name="Sourav Bose" userId="a3480f76-fe68-4c03-a922-c4aa16f9bb6b" providerId="ADAL" clId="{DBB6B645-C36E-4B21-9704-373E2A71DC5E}" dt="2020-07-02T08:10:39.378" v="11248" actId="164"/>
          <ac:picMkLst>
            <pc:docMk/>
            <pc:sldMk cId="1507358347" sldId="141169009"/>
            <ac:picMk id="64" creationId="{522A0411-DBA1-4B13-A02D-43785D96C53B}"/>
          </ac:picMkLst>
        </pc:picChg>
        <pc:picChg chg="add mod">
          <ac:chgData name="Sourav Bose" userId="a3480f76-fe68-4c03-a922-c4aa16f9bb6b" providerId="ADAL" clId="{DBB6B645-C36E-4B21-9704-373E2A71DC5E}" dt="2020-07-02T08:10:39.378" v="11248" actId="164"/>
          <ac:picMkLst>
            <pc:docMk/>
            <pc:sldMk cId="1507358347" sldId="141169009"/>
            <ac:picMk id="65" creationId="{86498614-594F-408B-8144-F83A623A1511}"/>
          </ac:picMkLst>
        </pc:picChg>
        <pc:picChg chg="del mod">
          <ac:chgData name="Sourav Bose" userId="a3480f76-fe68-4c03-a922-c4aa16f9bb6b" providerId="ADAL" clId="{DBB6B645-C36E-4B21-9704-373E2A71DC5E}" dt="2020-07-02T08:08:45.099" v="11165" actId="478"/>
          <ac:picMkLst>
            <pc:docMk/>
            <pc:sldMk cId="1507358347" sldId="141169009"/>
            <ac:picMk id="68" creationId="{3EF001DD-C8AB-4E3E-A995-5CF1CE82F22D}"/>
          </ac:picMkLst>
        </pc:picChg>
        <pc:picChg chg="del mod">
          <ac:chgData name="Sourav Bose" userId="a3480f76-fe68-4c03-a922-c4aa16f9bb6b" providerId="ADAL" clId="{DBB6B645-C36E-4B21-9704-373E2A71DC5E}" dt="2020-07-02T08:08:45.099" v="11165" actId="478"/>
          <ac:picMkLst>
            <pc:docMk/>
            <pc:sldMk cId="1507358347" sldId="141169009"/>
            <ac:picMk id="69" creationId="{046F025A-6B46-411E-92AC-3AA76DE57EE2}"/>
          </ac:picMkLst>
        </pc:picChg>
        <pc:picChg chg="del">
          <ac:chgData name="Sourav Bose" userId="a3480f76-fe68-4c03-a922-c4aa16f9bb6b" providerId="ADAL" clId="{DBB6B645-C36E-4B21-9704-373E2A71DC5E}" dt="2020-07-02T08:07:37.054" v="11137" actId="478"/>
          <ac:picMkLst>
            <pc:docMk/>
            <pc:sldMk cId="1507358347" sldId="141169009"/>
            <ac:picMk id="74" creationId="{6BC798E3-E91E-4640-A707-507231FF3169}"/>
          </ac:picMkLst>
        </pc:picChg>
        <pc:picChg chg="del mod">
          <ac:chgData name="Sourav Bose" userId="a3480f76-fe68-4c03-a922-c4aa16f9bb6b" providerId="ADAL" clId="{DBB6B645-C36E-4B21-9704-373E2A71DC5E}" dt="2020-07-02T08:09:40.733" v="11194" actId="478"/>
          <ac:picMkLst>
            <pc:docMk/>
            <pc:sldMk cId="1507358347" sldId="141169009"/>
            <ac:picMk id="76" creationId="{8920A337-49FF-4E67-B831-C3BFFB841C95}"/>
          </ac:picMkLst>
        </pc:picChg>
        <pc:picChg chg="del mod">
          <ac:chgData name="Sourav Bose" userId="a3480f76-fe68-4c03-a922-c4aa16f9bb6b" providerId="ADAL" clId="{DBB6B645-C36E-4B21-9704-373E2A71DC5E}" dt="2020-07-02T08:09:40.733" v="11194" actId="478"/>
          <ac:picMkLst>
            <pc:docMk/>
            <pc:sldMk cId="1507358347" sldId="141169009"/>
            <ac:picMk id="77" creationId="{589DEB3C-6E5E-4F98-81A3-50512D62420B}"/>
          </ac:picMkLst>
        </pc:picChg>
        <pc:picChg chg="del mod">
          <ac:chgData name="Sourav Bose" userId="a3480f76-fe68-4c03-a922-c4aa16f9bb6b" providerId="ADAL" clId="{DBB6B645-C36E-4B21-9704-373E2A71DC5E}" dt="2020-07-02T08:09:40.733" v="11194" actId="478"/>
          <ac:picMkLst>
            <pc:docMk/>
            <pc:sldMk cId="1507358347" sldId="141169009"/>
            <ac:picMk id="78" creationId="{F423C3E6-5B44-4851-8D24-1482558223CA}"/>
          </ac:picMkLst>
        </pc:picChg>
        <pc:picChg chg="del mod">
          <ac:chgData name="Sourav Bose" userId="a3480f76-fe68-4c03-a922-c4aa16f9bb6b" providerId="ADAL" clId="{DBB6B645-C36E-4B21-9704-373E2A71DC5E}" dt="2020-07-02T08:09:40.733" v="11194" actId="478"/>
          <ac:picMkLst>
            <pc:docMk/>
            <pc:sldMk cId="1507358347" sldId="141169009"/>
            <ac:picMk id="79" creationId="{0AC76E14-4399-45AE-B555-C061BE79F4A3}"/>
          </ac:picMkLst>
        </pc:picChg>
        <pc:picChg chg="del mod">
          <ac:chgData name="Sourav Bose" userId="a3480f76-fe68-4c03-a922-c4aa16f9bb6b" providerId="ADAL" clId="{DBB6B645-C36E-4B21-9704-373E2A71DC5E}" dt="2020-07-02T08:19:26.187" v="11574" actId="478"/>
          <ac:picMkLst>
            <pc:docMk/>
            <pc:sldMk cId="1507358347" sldId="141169009"/>
            <ac:picMk id="91" creationId="{049C3BBC-0710-4BED-909A-50016636CC11}"/>
          </ac:picMkLst>
        </pc:picChg>
        <pc:picChg chg="del mod">
          <ac:chgData name="Sourav Bose" userId="a3480f76-fe68-4c03-a922-c4aa16f9bb6b" providerId="ADAL" clId="{DBB6B645-C36E-4B21-9704-373E2A71DC5E}" dt="2020-07-02T08:19:26.187" v="11574" actId="478"/>
          <ac:picMkLst>
            <pc:docMk/>
            <pc:sldMk cId="1507358347" sldId="141169009"/>
            <ac:picMk id="92" creationId="{5765B68B-DCE7-49E2-858A-5BF2E8470F7B}"/>
          </ac:picMkLst>
        </pc:picChg>
        <pc:picChg chg="del mod">
          <ac:chgData name="Sourav Bose" userId="a3480f76-fe68-4c03-a922-c4aa16f9bb6b" providerId="ADAL" clId="{DBB6B645-C36E-4B21-9704-373E2A71DC5E}" dt="2020-07-02T08:19:26.187" v="11574" actId="478"/>
          <ac:picMkLst>
            <pc:docMk/>
            <pc:sldMk cId="1507358347" sldId="141169009"/>
            <ac:picMk id="93" creationId="{83C906DF-6131-48BB-91FB-92DFA3E30A8C}"/>
          </ac:picMkLst>
        </pc:picChg>
        <pc:picChg chg="mod">
          <ac:chgData name="Sourav Bose" userId="a3480f76-fe68-4c03-a922-c4aa16f9bb6b" providerId="ADAL" clId="{DBB6B645-C36E-4B21-9704-373E2A71DC5E}" dt="2020-07-02T08:16:20.952" v="11437" actId="1037"/>
          <ac:picMkLst>
            <pc:docMk/>
            <pc:sldMk cId="1507358347" sldId="141169009"/>
            <ac:picMk id="104" creationId="{1692D0C8-71E4-454A-8FD7-8EB37B3D1CE3}"/>
          </ac:picMkLst>
        </pc:picChg>
        <pc:picChg chg="del">
          <ac:chgData name="Sourav Bose" userId="a3480f76-fe68-4c03-a922-c4aa16f9bb6b" providerId="ADAL" clId="{DBB6B645-C36E-4B21-9704-373E2A71DC5E}" dt="2020-07-02T08:26:25.227" v="12079" actId="478"/>
          <ac:picMkLst>
            <pc:docMk/>
            <pc:sldMk cId="1507358347" sldId="141169009"/>
            <ac:picMk id="109" creationId="{A2EA1B57-C18E-4F2E-8C97-757C577DA9E1}"/>
          </ac:picMkLst>
        </pc:picChg>
        <pc:cxnChg chg="del">
          <ac:chgData name="Sourav Bose" userId="a3480f76-fe68-4c03-a922-c4aa16f9bb6b" providerId="ADAL" clId="{DBB6B645-C36E-4B21-9704-373E2A71DC5E}" dt="2020-07-02T08:08:17.936" v="11141" actId="478"/>
          <ac:cxnSpMkLst>
            <pc:docMk/>
            <pc:sldMk cId="1507358347" sldId="141169009"/>
            <ac:cxnSpMk id="7" creationId="{A2EB4CAA-2D93-45EE-90E5-641B0235EF18}"/>
          </ac:cxnSpMkLst>
        </pc:cxnChg>
        <pc:cxnChg chg="mod">
          <ac:chgData name="Sourav Bose" userId="a3480f76-fe68-4c03-a922-c4aa16f9bb6b" providerId="ADAL" clId="{DBB6B645-C36E-4B21-9704-373E2A71DC5E}" dt="2020-07-02T11:00:44.566" v="16480" actId="1036"/>
          <ac:cxnSpMkLst>
            <pc:docMk/>
            <pc:sldMk cId="1507358347" sldId="141169009"/>
            <ac:cxnSpMk id="73" creationId="{22348C24-E396-4605-BCA0-D7A860191460}"/>
          </ac:cxnSpMkLst>
        </pc:cxnChg>
        <pc:cxnChg chg="mod">
          <ac:chgData name="Sourav Bose" userId="a3480f76-fe68-4c03-a922-c4aa16f9bb6b" providerId="ADAL" clId="{DBB6B645-C36E-4B21-9704-373E2A71DC5E}" dt="2020-07-02T11:00:44.566" v="16480" actId="1036"/>
          <ac:cxnSpMkLst>
            <pc:docMk/>
            <pc:sldMk cId="1507358347" sldId="141169009"/>
            <ac:cxnSpMk id="84" creationId="{DF453A61-03AD-4072-80A2-1519DE916E19}"/>
          </ac:cxnSpMkLst>
        </pc:cxnChg>
        <pc:cxnChg chg="mod">
          <ac:chgData name="Sourav Bose" userId="a3480f76-fe68-4c03-a922-c4aa16f9bb6b" providerId="ADAL" clId="{DBB6B645-C36E-4B21-9704-373E2A71DC5E}" dt="2020-07-02T11:00:44.566" v="16480" actId="1036"/>
          <ac:cxnSpMkLst>
            <pc:docMk/>
            <pc:sldMk cId="1507358347" sldId="141169009"/>
            <ac:cxnSpMk id="85" creationId="{991E2BD6-4BF4-4393-846D-C4DD0469772E}"/>
          </ac:cxnSpMkLst>
        </pc:cxnChg>
        <pc:cxnChg chg="mod">
          <ac:chgData name="Sourav Bose" userId="a3480f76-fe68-4c03-a922-c4aa16f9bb6b" providerId="ADAL" clId="{DBB6B645-C36E-4B21-9704-373E2A71DC5E}" dt="2020-07-02T11:00:26.836" v="16469" actId="1036"/>
          <ac:cxnSpMkLst>
            <pc:docMk/>
            <pc:sldMk cId="1507358347" sldId="141169009"/>
            <ac:cxnSpMk id="117" creationId="{B7DA6982-4C7F-4E36-9034-633C45918137}"/>
          </ac:cxnSpMkLst>
        </pc:cxnChg>
        <pc:cxnChg chg="mod">
          <ac:chgData name="Sourav Bose" userId="a3480f76-fe68-4c03-a922-c4aa16f9bb6b" providerId="ADAL" clId="{DBB6B645-C36E-4B21-9704-373E2A71DC5E}" dt="2020-07-02T11:00:26.836" v="16469" actId="1036"/>
          <ac:cxnSpMkLst>
            <pc:docMk/>
            <pc:sldMk cId="1507358347" sldId="141169009"/>
            <ac:cxnSpMk id="118" creationId="{069B9895-DCBF-479E-9D7D-815A56B29593}"/>
          </ac:cxnSpMkLst>
        </pc:cxnChg>
        <pc:cxnChg chg="mod">
          <ac:chgData name="Sourav Bose" userId="a3480f76-fe68-4c03-a922-c4aa16f9bb6b" providerId="ADAL" clId="{DBB6B645-C36E-4B21-9704-373E2A71DC5E}" dt="2020-07-02T11:00:26.836" v="16469" actId="1036"/>
          <ac:cxnSpMkLst>
            <pc:docMk/>
            <pc:sldMk cId="1507358347" sldId="141169009"/>
            <ac:cxnSpMk id="163" creationId="{26F841DB-B7BA-4D11-8699-6F0BC36CB5D9}"/>
          </ac:cxnSpMkLst>
        </pc:cxnChg>
      </pc:sldChg>
      <pc:sldChg chg="del">
        <pc:chgData name="Sourav Bose" userId="a3480f76-fe68-4c03-a922-c4aa16f9bb6b" providerId="ADAL" clId="{DBB6B645-C36E-4B21-9704-373E2A71DC5E}" dt="2020-07-03T08:21:43.760" v="30483" actId="2696"/>
        <pc:sldMkLst>
          <pc:docMk/>
          <pc:sldMk cId="3339772495" sldId="141169009"/>
        </pc:sldMkLst>
      </pc:sldChg>
      <pc:sldChg chg="addSp delSp modSp del">
        <pc:chgData name="Sourav Bose" userId="a3480f76-fe68-4c03-a922-c4aa16f9bb6b" providerId="ADAL" clId="{DBB6B645-C36E-4B21-9704-373E2A71DC5E}" dt="2020-07-02T13:12:55.247" v="19580" actId="2696"/>
        <pc:sldMkLst>
          <pc:docMk/>
          <pc:sldMk cId="741010753" sldId="141169085"/>
        </pc:sldMkLst>
        <pc:spChg chg="mod">
          <ac:chgData name="Sourav Bose" userId="a3480f76-fe68-4c03-a922-c4aa16f9bb6b" providerId="ADAL" clId="{DBB6B645-C36E-4B21-9704-373E2A71DC5E}" dt="2020-07-02T01:36:43.909" v="4987" actId="14100"/>
          <ac:spMkLst>
            <pc:docMk/>
            <pc:sldMk cId="741010753" sldId="141169085"/>
            <ac:spMk id="10" creationId="{8E8AED8D-D90F-41F0-BF3E-7BE6B09A752C}"/>
          </ac:spMkLst>
        </pc:spChg>
        <pc:spChg chg="mod">
          <ac:chgData name="Sourav Bose" userId="a3480f76-fe68-4c03-a922-c4aa16f9bb6b" providerId="ADAL" clId="{DBB6B645-C36E-4B21-9704-373E2A71DC5E}" dt="2020-07-02T02:27:52.425" v="6388" actId="164"/>
          <ac:spMkLst>
            <pc:docMk/>
            <pc:sldMk cId="741010753" sldId="141169085"/>
            <ac:spMk id="17" creationId="{5C2D9D0F-272F-4643-8758-E000F575F83F}"/>
          </ac:spMkLst>
        </pc:spChg>
        <pc:spChg chg="mod">
          <ac:chgData name="Sourav Bose" userId="a3480f76-fe68-4c03-a922-c4aa16f9bb6b" providerId="ADAL" clId="{DBB6B645-C36E-4B21-9704-373E2A71DC5E}" dt="2020-07-02T01:54:36.075" v="5606" actId="1037"/>
          <ac:spMkLst>
            <pc:docMk/>
            <pc:sldMk cId="741010753" sldId="141169085"/>
            <ac:spMk id="20" creationId="{18723695-AF3C-428F-B10E-9856ED3B2D71}"/>
          </ac:spMkLst>
        </pc:spChg>
        <pc:spChg chg="mod">
          <ac:chgData name="Sourav Bose" userId="a3480f76-fe68-4c03-a922-c4aa16f9bb6b" providerId="ADAL" clId="{DBB6B645-C36E-4B21-9704-373E2A71DC5E}" dt="2020-07-02T02:26:44.333" v="6211" actId="164"/>
          <ac:spMkLst>
            <pc:docMk/>
            <pc:sldMk cId="741010753" sldId="141169085"/>
            <ac:spMk id="33" creationId="{85C9ACAD-1C3C-4CA2-8C71-92E1F337BCFC}"/>
          </ac:spMkLst>
        </pc:spChg>
        <pc:spChg chg="add del mod">
          <ac:chgData name="Sourav Bose" userId="a3480f76-fe68-4c03-a922-c4aa16f9bb6b" providerId="ADAL" clId="{DBB6B645-C36E-4B21-9704-373E2A71DC5E}" dt="2020-07-02T01:33:01.326" v="4924" actId="478"/>
          <ac:spMkLst>
            <pc:docMk/>
            <pc:sldMk cId="741010753" sldId="141169085"/>
            <ac:spMk id="34" creationId="{F69B5B34-A813-4C0D-8471-481254D6624E}"/>
          </ac:spMkLst>
        </pc:spChg>
        <pc:spChg chg="mod">
          <ac:chgData name="Sourav Bose" userId="a3480f76-fe68-4c03-a922-c4aa16f9bb6b" providerId="ADAL" clId="{DBB6B645-C36E-4B21-9704-373E2A71DC5E}" dt="2020-07-02T02:26:33.843" v="6210" actId="1036"/>
          <ac:spMkLst>
            <pc:docMk/>
            <pc:sldMk cId="741010753" sldId="141169085"/>
            <ac:spMk id="35" creationId="{7BF17312-9FB9-4D30-92A8-54901EA04A53}"/>
          </ac:spMkLst>
        </pc:spChg>
        <pc:spChg chg="add del mod">
          <ac:chgData name="Sourav Bose" userId="a3480f76-fe68-4c03-a922-c4aa16f9bb6b" providerId="ADAL" clId="{DBB6B645-C36E-4B21-9704-373E2A71DC5E}" dt="2020-07-02T01:33:01.326" v="4924" actId="478"/>
          <ac:spMkLst>
            <pc:docMk/>
            <pc:sldMk cId="741010753" sldId="141169085"/>
            <ac:spMk id="37" creationId="{BF0B59FF-6F77-4702-B59A-A858CE899096}"/>
          </ac:spMkLst>
        </pc:spChg>
        <pc:spChg chg="add del mod">
          <ac:chgData name="Sourav Bose" userId="a3480f76-fe68-4c03-a922-c4aa16f9bb6b" providerId="ADAL" clId="{DBB6B645-C36E-4B21-9704-373E2A71DC5E}" dt="2020-07-02T01:33:01.326" v="4924" actId="478"/>
          <ac:spMkLst>
            <pc:docMk/>
            <pc:sldMk cId="741010753" sldId="141169085"/>
            <ac:spMk id="38" creationId="{FB7E5C84-2890-4871-9040-3F4283313792}"/>
          </ac:spMkLst>
        </pc:spChg>
        <pc:spChg chg="add mod">
          <ac:chgData name="Sourav Bose" userId="a3480f76-fe68-4c03-a922-c4aa16f9bb6b" providerId="ADAL" clId="{DBB6B645-C36E-4B21-9704-373E2A71DC5E}" dt="2020-07-02T11:21:10.377" v="16816" actId="1035"/>
          <ac:spMkLst>
            <pc:docMk/>
            <pc:sldMk cId="741010753" sldId="141169085"/>
            <ac:spMk id="40" creationId="{15A665AA-FB5B-4C88-B714-EE6C6D96DE97}"/>
          </ac:spMkLst>
        </pc:spChg>
        <pc:spChg chg="del">
          <ac:chgData name="Sourav Bose" userId="a3480f76-fe68-4c03-a922-c4aa16f9bb6b" providerId="ADAL" clId="{DBB6B645-C36E-4B21-9704-373E2A71DC5E}" dt="2020-07-02T11:21:04.435" v="16774" actId="478"/>
          <ac:spMkLst>
            <pc:docMk/>
            <pc:sldMk cId="741010753" sldId="141169085"/>
            <ac:spMk id="49" creationId="{00D113EE-869B-4861-9D60-1E2C983D0001}"/>
          </ac:spMkLst>
        </pc:spChg>
        <pc:spChg chg="add mod">
          <ac:chgData name="Sourav Bose" userId="a3480f76-fe68-4c03-a922-c4aa16f9bb6b" providerId="ADAL" clId="{DBB6B645-C36E-4B21-9704-373E2A71DC5E}" dt="2020-07-02T11:21:19.803" v="16855" actId="1035"/>
          <ac:spMkLst>
            <pc:docMk/>
            <pc:sldMk cId="741010753" sldId="141169085"/>
            <ac:spMk id="59" creationId="{5B078625-2593-450A-B8E7-54B10C57ACB4}"/>
          </ac:spMkLst>
        </pc:spChg>
        <pc:spChg chg="add del mod">
          <ac:chgData name="Sourav Bose" userId="a3480f76-fe68-4c03-a922-c4aa16f9bb6b" providerId="ADAL" clId="{DBB6B645-C36E-4B21-9704-373E2A71DC5E}" dt="2020-07-02T02:27:27.937" v="6370" actId="478"/>
          <ac:spMkLst>
            <pc:docMk/>
            <pc:sldMk cId="741010753" sldId="141169085"/>
            <ac:spMk id="60" creationId="{597605F8-DB96-4D83-8EAD-DF822F7D4F51}"/>
          </ac:spMkLst>
        </pc:spChg>
        <pc:spChg chg="add del mod">
          <ac:chgData name="Sourav Bose" userId="a3480f76-fe68-4c03-a922-c4aa16f9bb6b" providerId="ADAL" clId="{DBB6B645-C36E-4B21-9704-373E2A71DC5E}" dt="2020-07-02T02:27:30.654" v="6371" actId="478"/>
          <ac:spMkLst>
            <pc:docMk/>
            <pc:sldMk cId="741010753" sldId="141169085"/>
            <ac:spMk id="61" creationId="{03E6DEFC-240A-405B-AC99-1068FF712779}"/>
          </ac:spMkLst>
        </pc:spChg>
        <pc:spChg chg="add del">
          <ac:chgData name="Sourav Bose" userId="a3480f76-fe68-4c03-a922-c4aa16f9bb6b" providerId="ADAL" clId="{DBB6B645-C36E-4B21-9704-373E2A71DC5E}" dt="2020-07-02T02:27:34.422" v="6372" actId="478"/>
          <ac:spMkLst>
            <pc:docMk/>
            <pc:sldMk cId="741010753" sldId="141169085"/>
            <ac:spMk id="62" creationId="{5FCF51ED-E18B-43E0-94AC-AD8A3F718228}"/>
          </ac:spMkLst>
        </pc:spChg>
        <pc:spChg chg="add del">
          <ac:chgData name="Sourav Bose" userId="a3480f76-fe68-4c03-a922-c4aa16f9bb6b" providerId="ADAL" clId="{DBB6B645-C36E-4B21-9704-373E2A71DC5E}" dt="2020-07-02T02:27:34.422" v="6372" actId="478"/>
          <ac:spMkLst>
            <pc:docMk/>
            <pc:sldMk cId="741010753" sldId="141169085"/>
            <ac:spMk id="63" creationId="{02174836-6EC5-4F20-8E76-3A2AC08C6A14}"/>
          </ac:spMkLst>
        </pc:spChg>
        <pc:spChg chg="mod">
          <ac:chgData name="Sourav Bose" userId="a3480f76-fe68-4c03-a922-c4aa16f9bb6b" providerId="ADAL" clId="{DBB6B645-C36E-4B21-9704-373E2A71DC5E}" dt="2020-07-02T02:29:26.831" v="6537" actId="1076"/>
          <ac:spMkLst>
            <pc:docMk/>
            <pc:sldMk cId="741010753" sldId="141169085"/>
            <ac:spMk id="85" creationId="{8927D438-E03A-49ED-B939-1E07A4863F15}"/>
          </ac:spMkLst>
        </pc:spChg>
        <pc:spChg chg="mod">
          <ac:chgData name="Sourav Bose" userId="a3480f76-fe68-4c03-a922-c4aa16f9bb6b" providerId="ADAL" clId="{DBB6B645-C36E-4B21-9704-373E2A71DC5E}" dt="2020-07-02T02:30:40.767" v="6551" actId="14100"/>
          <ac:spMkLst>
            <pc:docMk/>
            <pc:sldMk cId="741010753" sldId="141169085"/>
            <ac:spMk id="89" creationId="{A623B72A-273E-437A-B124-4086D8D3CC9D}"/>
          </ac:spMkLst>
        </pc:spChg>
        <pc:spChg chg="mod">
          <ac:chgData name="Sourav Bose" userId="a3480f76-fe68-4c03-a922-c4aa16f9bb6b" providerId="ADAL" clId="{DBB6B645-C36E-4B21-9704-373E2A71DC5E}" dt="2020-07-02T02:35:03.774" v="6729" actId="1037"/>
          <ac:spMkLst>
            <pc:docMk/>
            <pc:sldMk cId="741010753" sldId="141169085"/>
            <ac:spMk id="91" creationId="{83DB4AB5-38E7-4209-9404-227E7753F3FE}"/>
          </ac:spMkLst>
        </pc:spChg>
        <pc:spChg chg="mod">
          <ac:chgData name="Sourav Bose" userId="a3480f76-fe68-4c03-a922-c4aa16f9bb6b" providerId="ADAL" clId="{DBB6B645-C36E-4B21-9704-373E2A71DC5E}" dt="2020-07-02T02:42:20.920" v="6816" actId="20577"/>
          <ac:spMkLst>
            <pc:docMk/>
            <pc:sldMk cId="741010753" sldId="141169085"/>
            <ac:spMk id="92" creationId="{4EF5A667-B9DA-411C-9167-F2F327AB87D9}"/>
          </ac:spMkLst>
        </pc:spChg>
        <pc:spChg chg="mod topLvl">
          <ac:chgData name="Sourav Bose" userId="a3480f76-fe68-4c03-a922-c4aa16f9bb6b" providerId="ADAL" clId="{DBB6B645-C36E-4B21-9704-373E2A71DC5E}" dt="2020-07-02T02:30:48.016" v="6552" actId="14100"/>
          <ac:spMkLst>
            <pc:docMk/>
            <pc:sldMk cId="741010753" sldId="141169085"/>
            <ac:spMk id="94" creationId="{2B0D40EA-2FE4-4DEF-A4C6-62C718C65B80}"/>
          </ac:spMkLst>
        </pc:spChg>
        <pc:spChg chg="mod">
          <ac:chgData name="Sourav Bose" userId="a3480f76-fe68-4c03-a922-c4aa16f9bb6b" providerId="ADAL" clId="{DBB6B645-C36E-4B21-9704-373E2A71DC5E}" dt="2020-07-02T02:40:06.431" v="6800" actId="1037"/>
          <ac:spMkLst>
            <pc:docMk/>
            <pc:sldMk cId="741010753" sldId="141169085"/>
            <ac:spMk id="96" creationId="{05DB4B55-853B-4D4C-B750-DBDE2AEA32AB}"/>
          </ac:spMkLst>
        </pc:spChg>
        <pc:spChg chg="mod">
          <ac:chgData name="Sourav Bose" userId="a3480f76-fe68-4c03-a922-c4aa16f9bb6b" providerId="ADAL" clId="{DBB6B645-C36E-4B21-9704-373E2A71DC5E}" dt="2020-07-02T05:42:21.996" v="9845" actId="6549"/>
          <ac:spMkLst>
            <pc:docMk/>
            <pc:sldMk cId="741010753" sldId="141169085"/>
            <ac:spMk id="97" creationId="{65502A7A-E046-4AF8-9079-76B626E6AE5A}"/>
          </ac:spMkLst>
        </pc:spChg>
        <pc:spChg chg="mod">
          <ac:chgData name="Sourav Bose" userId="a3480f76-fe68-4c03-a922-c4aa16f9bb6b" providerId="ADAL" clId="{DBB6B645-C36E-4B21-9704-373E2A71DC5E}" dt="2020-07-02T01:57:21.100" v="5728" actId="14100"/>
          <ac:spMkLst>
            <pc:docMk/>
            <pc:sldMk cId="741010753" sldId="141169085"/>
            <ac:spMk id="103" creationId="{A2754EA4-E751-4375-B591-4E11490471DB}"/>
          </ac:spMkLst>
        </pc:spChg>
        <pc:spChg chg="mod">
          <ac:chgData name="Sourav Bose" userId="a3480f76-fe68-4c03-a922-c4aa16f9bb6b" providerId="ADAL" clId="{DBB6B645-C36E-4B21-9704-373E2A71DC5E}" dt="2020-07-02T02:32:29.041" v="6659" actId="1036"/>
          <ac:spMkLst>
            <pc:docMk/>
            <pc:sldMk cId="741010753" sldId="141169085"/>
            <ac:spMk id="105" creationId="{236A5730-B443-4DD4-8A09-E83681FEF86A}"/>
          </ac:spMkLst>
        </pc:spChg>
        <pc:spChg chg="mod">
          <ac:chgData name="Sourav Bose" userId="a3480f76-fe68-4c03-a922-c4aa16f9bb6b" providerId="ADAL" clId="{DBB6B645-C36E-4B21-9704-373E2A71DC5E}" dt="2020-07-02T02:05:59.500" v="5898" actId="14100"/>
          <ac:spMkLst>
            <pc:docMk/>
            <pc:sldMk cId="741010753" sldId="141169085"/>
            <ac:spMk id="106" creationId="{D6AD7EB9-B4F7-4387-BC75-AB89EC086959}"/>
          </ac:spMkLst>
        </pc:spChg>
        <pc:spChg chg="add del mod">
          <ac:chgData name="Sourav Bose" userId="a3480f76-fe68-4c03-a922-c4aa16f9bb6b" providerId="ADAL" clId="{DBB6B645-C36E-4B21-9704-373E2A71DC5E}" dt="2020-07-02T02:25:50.918" v="6102" actId="478"/>
          <ac:spMkLst>
            <pc:docMk/>
            <pc:sldMk cId="741010753" sldId="141169085"/>
            <ac:spMk id="108" creationId="{5E6F6A1E-03C7-4DCC-AC22-219D053D7D43}"/>
          </ac:spMkLst>
        </pc:spChg>
        <pc:spChg chg="add del mod">
          <ac:chgData name="Sourav Bose" userId="a3480f76-fe68-4c03-a922-c4aa16f9bb6b" providerId="ADAL" clId="{DBB6B645-C36E-4B21-9704-373E2A71DC5E}" dt="2020-07-02T02:33:34.827" v="6690" actId="478"/>
          <ac:spMkLst>
            <pc:docMk/>
            <pc:sldMk cId="741010753" sldId="141169085"/>
            <ac:spMk id="109" creationId="{F0A384B2-1214-4B13-A332-CF22FAECE64A}"/>
          </ac:spMkLst>
        </pc:spChg>
        <pc:spChg chg="add del mod">
          <ac:chgData name="Sourav Bose" userId="a3480f76-fe68-4c03-a922-c4aa16f9bb6b" providerId="ADAL" clId="{DBB6B645-C36E-4B21-9704-373E2A71DC5E}" dt="2020-07-02T02:40:10.082" v="6801" actId="478"/>
          <ac:spMkLst>
            <pc:docMk/>
            <pc:sldMk cId="741010753" sldId="141169085"/>
            <ac:spMk id="110" creationId="{0CF619AF-DAAB-4273-BE31-A657A534B695}"/>
          </ac:spMkLst>
        </pc:spChg>
        <pc:spChg chg="add mod">
          <ac:chgData name="Sourav Bose" userId="a3480f76-fe68-4c03-a922-c4aa16f9bb6b" providerId="ADAL" clId="{DBB6B645-C36E-4B21-9704-373E2A71DC5E}" dt="2020-07-02T02:32:10.763" v="6649" actId="403"/>
          <ac:spMkLst>
            <pc:docMk/>
            <pc:sldMk cId="741010753" sldId="141169085"/>
            <ac:spMk id="111" creationId="{7EF00C43-97BF-4847-80BF-E28B97FA429F}"/>
          </ac:spMkLst>
        </pc:spChg>
        <pc:spChg chg="mod">
          <ac:chgData name="Sourav Bose" userId="a3480f76-fe68-4c03-a922-c4aa16f9bb6b" providerId="ADAL" clId="{DBB6B645-C36E-4B21-9704-373E2A71DC5E}" dt="2020-07-02T02:31:48.270" v="6641" actId="403"/>
          <ac:spMkLst>
            <pc:docMk/>
            <pc:sldMk cId="741010753" sldId="141169085"/>
            <ac:spMk id="116" creationId="{4263FA3C-4267-4856-84FF-25E3BA902BBA}"/>
          </ac:spMkLst>
        </pc:spChg>
        <pc:spChg chg="mod">
          <ac:chgData name="Sourav Bose" userId="a3480f76-fe68-4c03-a922-c4aa16f9bb6b" providerId="ADAL" clId="{DBB6B645-C36E-4B21-9704-373E2A71DC5E}" dt="2020-07-02T02:30:00.959" v="6548" actId="14100"/>
          <ac:spMkLst>
            <pc:docMk/>
            <pc:sldMk cId="741010753" sldId="141169085"/>
            <ac:spMk id="121" creationId="{B75E7C1F-0DF6-4C7E-8366-A8FEBD17B8EA}"/>
          </ac:spMkLst>
        </pc:spChg>
        <pc:spChg chg="mod">
          <ac:chgData name="Sourav Bose" userId="a3480f76-fe68-4c03-a922-c4aa16f9bb6b" providerId="ADAL" clId="{DBB6B645-C36E-4B21-9704-373E2A71DC5E}" dt="2020-07-02T02:31:36.217" v="6624" actId="14100"/>
          <ac:spMkLst>
            <pc:docMk/>
            <pc:sldMk cId="741010753" sldId="141169085"/>
            <ac:spMk id="123" creationId="{BA3D1135-0134-417B-A58B-0DB7D0CA10F0}"/>
          </ac:spMkLst>
        </pc:spChg>
        <pc:spChg chg="mod">
          <ac:chgData name="Sourav Bose" userId="a3480f76-fe68-4c03-a922-c4aa16f9bb6b" providerId="ADAL" clId="{DBB6B645-C36E-4B21-9704-373E2A71DC5E}" dt="2020-07-02T02:31:20.232" v="6601" actId="403"/>
          <ac:spMkLst>
            <pc:docMk/>
            <pc:sldMk cId="741010753" sldId="141169085"/>
            <ac:spMk id="130" creationId="{36116219-7574-42B9-9736-DFAA292A3E37}"/>
          </ac:spMkLst>
        </pc:spChg>
        <pc:spChg chg="mod">
          <ac:chgData name="Sourav Bose" userId="a3480f76-fe68-4c03-a922-c4aa16f9bb6b" providerId="ADAL" clId="{DBB6B645-C36E-4B21-9704-373E2A71DC5E}" dt="2020-07-02T07:44:03.509" v="11053" actId="20577"/>
          <ac:spMkLst>
            <pc:docMk/>
            <pc:sldMk cId="741010753" sldId="141169085"/>
            <ac:spMk id="131" creationId="{70192B63-1F27-44BA-A575-6CD458D218CC}"/>
          </ac:spMkLst>
        </pc:spChg>
        <pc:spChg chg="add mod">
          <ac:chgData name="Sourav Bose" userId="a3480f76-fe68-4c03-a922-c4aa16f9bb6b" providerId="ADAL" clId="{DBB6B645-C36E-4B21-9704-373E2A71DC5E}" dt="2020-07-02T02:31:57.518" v="6643" actId="403"/>
          <ac:spMkLst>
            <pc:docMk/>
            <pc:sldMk cId="741010753" sldId="141169085"/>
            <ac:spMk id="132" creationId="{43B0B085-BE65-487A-80A3-AB3E4C6B5E83}"/>
          </ac:spMkLst>
        </pc:spChg>
        <pc:spChg chg="add mod">
          <ac:chgData name="Sourav Bose" userId="a3480f76-fe68-4c03-a922-c4aa16f9bb6b" providerId="ADAL" clId="{DBB6B645-C36E-4B21-9704-373E2A71DC5E}" dt="2020-07-02T02:32:01.916" v="6645" actId="403"/>
          <ac:spMkLst>
            <pc:docMk/>
            <pc:sldMk cId="741010753" sldId="141169085"/>
            <ac:spMk id="133" creationId="{C3F08ACD-790A-4713-80D8-6F87FF2E6B84}"/>
          </ac:spMkLst>
        </pc:spChg>
        <pc:spChg chg="add mod">
          <ac:chgData name="Sourav Bose" userId="a3480f76-fe68-4c03-a922-c4aa16f9bb6b" providerId="ADAL" clId="{DBB6B645-C36E-4B21-9704-373E2A71DC5E}" dt="2020-07-02T03:46:36.514" v="7874" actId="20577"/>
          <ac:spMkLst>
            <pc:docMk/>
            <pc:sldMk cId="741010753" sldId="141169085"/>
            <ac:spMk id="134" creationId="{CAC559F0-99A1-48C0-90C5-B8B6990B264E}"/>
          </ac:spMkLst>
        </pc:spChg>
        <pc:spChg chg="mod">
          <ac:chgData name="Sourav Bose" userId="a3480f76-fe68-4c03-a922-c4aa16f9bb6b" providerId="ADAL" clId="{DBB6B645-C36E-4B21-9704-373E2A71DC5E}" dt="2020-07-02T01:36:51.372" v="4989" actId="1035"/>
          <ac:spMkLst>
            <pc:docMk/>
            <pc:sldMk cId="741010753" sldId="141169085"/>
            <ac:spMk id="165" creationId="{E00DBFE7-4487-4BCB-BE81-60323A7312C0}"/>
          </ac:spMkLst>
        </pc:spChg>
        <pc:spChg chg="mod">
          <ac:chgData name="Sourav Bose" userId="a3480f76-fe68-4c03-a922-c4aa16f9bb6b" providerId="ADAL" clId="{DBB6B645-C36E-4B21-9704-373E2A71DC5E}" dt="2020-07-02T01:37:51.362" v="5012" actId="20577"/>
          <ac:spMkLst>
            <pc:docMk/>
            <pc:sldMk cId="741010753" sldId="141169085"/>
            <ac:spMk id="166" creationId="{FE0A8490-2ECD-45AB-9DD6-88D7A63AC4C7}"/>
          </ac:spMkLst>
        </pc:spChg>
        <pc:spChg chg="mod">
          <ac:chgData name="Sourav Bose" userId="a3480f76-fe68-4c03-a922-c4aa16f9bb6b" providerId="ADAL" clId="{DBB6B645-C36E-4B21-9704-373E2A71DC5E}" dt="2020-07-02T01:36:37.256" v="4986" actId="14100"/>
          <ac:spMkLst>
            <pc:docMk/>
            <pc:sldMk cId="741010753" sldId="141169085"/>
            <ac:spMk id="170" creationId="{FFB78167-ABE5-4FFB-9968-D802668C1AE6}"/>
          </ac:spMkLst>
        </pc:spChg>
        <pc:spChg chg="mod">
          <ac:chgData name="Sourav Bose" userId="a3480f76-fe68-4c03-a922-c4aa16f9bb6b" providerId="ADAL" clId="{DBB6B645-C36E-4B21-9704-373E2A71DC5E}" dt="2020-07-02T01:42:24.282" v="5099" actId="20577"/>
          <ac:spMkLst>
            <pc:docMk/>
            <pc:sldMk cId="741010753" sldId="141169085"/>
            <ac:spMk id="172" creationId="{F21CAEC6-D3C9-4B07-AFC9-4776D9E2DDB4}"/>
          </ac:spMkLst>
        </pc:spChg>
        <pc:spChg chg="mod">
          <ac:chgData name="Sourav Bose" userId="a3480f76-fe68-4c03-a922-c4aa16f9bb6b" providerId="ADAL" clId="{DBB6B645-C36E-4B21-9704-373E2A71DC5E}" dt="2020-07-02T01:42:13.316" v="5078" actId="20577"/>
          <ac:spMkLst>
            <pc:docMk/>
            <pc:sldMk cId="741010753" sldId="141169085"/>
            <ac:spMk id="173" creationId="{3DA2E6C2-66A2-4034-A873-D6BCDD647C4D}"/>
          </ac:spMkLst>
        </pc:spChg>
        <pc:spChg chg="mod">
          <ac:chgData name="Sourav Bose" userId="a3480f76-fe68-4c03-a922-c4aa16f9bb6b" providerId="ADAL" clId="{DBB6B645-C36E-4B21-9704-373E2A71DC5E}" dt="2020-07-02T01:56:25.808" v="5705" actId="14100"/>
          <ac:spMkLst>
            <pc:docMk/>
            <pc:sldMk cId="741010753" sldId="141169085"/>
            <ac:spMk id="178" creationId="{0D21C16F-49F4-4F6F-B6DF-52FB6605E9BC}"/>
          </ac:spMkLst>
        </pc:spChg>
        <pc:spChg chg="mod">
          <ac:chgData name="Sourav Bose" userId="a3480f76-fe68-4c03-a922-c4aa16f9bb6b" providerId="ADAL" clId="{DBB6B645-C36E-4B21-9704-373E2A71DC5E}" dt="2020-07-02T01:59:03.262" v="5826" actId="1035"/>
          <ac:spMkLst>
            <pc:docMk/>
            <pc:sldMk cId="741010753" sldId="141169085"/>
            <ac:spMk id="180" creationId="{BDC8D8E0-5396-4C14-BC20-97A331C5AE75}"/>
          </ac:spMkLst>
        </pc:spChg>
        <pc:spChg chg="mod">
          <ac:chgData name="Sourav Bose" userId="a3480f76-fe68-4c03-a922-c4aa16f9bb6b" providerId="ADAL" clId="{DBB6B645-C36E-4B21-9704-373E2A71DC5E}" dt="2020-07-02T02:04:08.009" v="5896" actId="1036"/>
          <ac:spMkLst>
            <pc:docMk/>
            <pc:sldMk cId="741010753" sldId="141169085"/>
            <ac:spMk id="181" creationId="{CD5BE389-F764-4FF4-9422-74F1FD334073}"/>
          </ac:spMkLst>
        </pc:spChg>
        <pc:grpChg chg="add del mod">
          <ac:chgData name="Sourav Bose" userId="a3480f76-fe68-4c03-a922-c4aa16f9bb6b" providerId="ADAL" clId="{DBB6B645-C36E-4B21-9704-373E2A71DC5E}" dt="2020-07-02T02:18:05.433" v="6018" actId="478"/>
          <ac:grpSpMkLst>
            <pc:docMk/>
            <pc:sldMk cId="741010753" sldId="141169085"/>
            <ac:grpSpMk id="2" creationId="{03E9CFB1-A4D3-4A54-8052-EA24BA347A4A}"/>
          </ac:grpSpMkLst>
        </pc:grpChg>
        <pc:grpChg chg="add del mod">
          <ac:chgData name="Sourav Bose" userId="a3480f76-fe68-4c03-a922-c4aa16f9bb6b" providerId="ADAL" clId="{DBB6B645-C36E-4B21-9704-373E2A71DC5E}" dt="2020-07-02T02:24:48.437" v="6098" actId="478"/>
          <ac:grpSpMkLst>
            <pc:docMk/>
            <pc:sldMk cId="741010753" sldId="141169085"/>
            <ac:grpSpMk id="4" creationId="{6BFD8DF3-103F-48C3-8557-D3C64FA35874}"/>
          </ac:grpSpMkLst>
        </pc:grpChg>
        <pc:grpChg chg="add del mod">
          <ac:chgData name="Sourav Bose" userId="a3480f76-fe68-4c03-a922-c4aa16f9bb6b" providerId="ADAL" clId="{DBB6B645-C36E-4B21-9704-373E2A71DC5E}" dt="2020-07-02T02:32:38.761" v="6661" actId="478"/>
          <ac:grpSpMkLst>
            <pc:docMk/>
            <pc:sldMk cId="741010753" sldId="141169085"/>
            <ac:grpSpMk id="5" creationId="{7E24F550-4021-4EAC-B09E-C71571AF9656}"/>
          </ac:grpSpMkLst>
        </pc:grpChg>
        <pc:grpChg chg="mod">
          <ac:chgData name="Sourav Bose" userId="a3480f76-fe68-4c03-a922-c4aa16f9bb6b" providerId="ADAL" clId="{DBB6B645-C36E-4B21-9704-373E2A71DC5E}" dt="2020-07-02T02:26:33.843" v="6210" actId="1036"/>
          <ac:grpSpMkLst>
            <pc:docMk/>
            <pc:sldMk cId="741010753" sldId="141169085"/>
            <ac:grpSpMk id="6" creationId="{72DFA739-3C57-4A16-B91C-FF64AD459C2A}"/>
          </ac:grpSpMkLst>
        </pc:grpChg>
        <pc:grpChg chg="add mod">
          <ac:chgData name="Sourav Bose" userId="a3480f76-fe68-4c03-a922-c4aa16f9bb6b" providerId="ADAL" clId="{DBB6B645-C36E-4B21-9704-373E2A71DC5E}" dt="2020-07-02T02:40:25.528" v="6803" actId="164"/>
          <ac:grpSpMkLst>
            <pc:docMk/>
            <pc:sldMk cId="741010753" sldId="141169085"/>
            <ac:grpSpMk id="7" creationId="{73A53229-A1F6-4B24-A8A3-1E5E030B0150}"/>
          </ac:grpSpMkLst>
        </pc:grpChg>
        <pc:grpChg chg="add mod">
          <ac:chgData name="Sourav Bose" userId="a3480f76-fe68-4c03-a922-c4aa16f9bb6b" providerId="ADAL" clId="{DBB6B645-C36E-4B21-9704-373E2A71DC5E}" dt="2020-07-02T02:29:14.075" v="6533" actId="1037"/>
          <ac:grpSpMkLst>
            <pc:docMk/>
            <pc:sldMk cId="741010753" sldId="141169085"/>
            <ac:grpSpMk id="9" creationId="{64C0F6CF-2C8D-425D-9C4D-97409F07EB2E}"/>
          </ac:grpSpMkLst>
        </pc:grpChg>
        <pc:grpChg chg="add mod">
          <ac:chgData name="Sourav Bose" userId="a3480f76-fe68-4c03-a922-c4aa16f9bb6b" providerId="ADAL" clId="{DBB6B645-C36E-4B21-9704-373E2A71DC5E}" dt="2020-07-02T02:31:14.275" v="6586" actId="14100"/>
          <ac:grpSpMkLst>
            <pc:docMk/>
            <pc:sldMk cId="741010753" sldId="141169085"/>
            <ac:grpSpMk id="11" creationId="{BA64E7AF-3503-475E-A27E-DDE915B447F7}"/>
          </ac:grpSpMkLst>
        </pc:grpChg>
        <pc:grpChg chg="add mod">
          <ac:chgData name="Sourav Bose" userId="a3480f76-fe68-4c03-a922-c4aa16f9bb6b" providerId="ADAL" clId="{DBB6B645-C36E-4B21-9704-373E2A71DC5E}" dt="2020-07-02T02:48:39.853" v="6947" actId="1037"/>
          <ac:grpSpMkLst>
            <pc:docMk/>
            <pc:sldMk cId="741010753" sldId="141169085"/>
            <ac:grpSpMk id="12" creationId="{8EE651B5-244A-4E97-A5A7-BBFC00C9AC11}"/>
          </ac:grpSpMkLst>
        </pc:grpChg>
        <pc:grpChg chg="add mod">
          <ac:chgData name="Sourav Bose" userId="a3480f76-fe68-4c03-a922-c4aa16f9bb6b" providerId="ADAL" clId="{DBB6B645-C36E-4B21-9704-373E2A71DC5E}" dt="2020-07-02T02:48:31.582" v="6942" actId="1035"/>
          <ac:grpSpMkLst>
            <pc:docMk/>
            <pc:sldMk cId="741010753" sldId="141169085"/>
            <ac:grpSpMk id="13" creationId="{0D6C63B6-65F5-4245-9E5C-627AB23BAAFA}"/>
          </ac:grpSpMkLst>
        </pc:grpChg>
        <pc:grpChg chg="add mod">
          <ac:chgData name="Sourav Bose" userId="a3480f76-fe68-4c03-a922-c4aa16f9bb6b" providerId="ADAL" clId="{DBB6B645-C36E-4B21-9704-373E2A71DC5E}" dt="2020-07-02T02:30:57.550" v="6573" actId="1037"/>
          <ac:grpSpMkLst>
            <pc:docMk/>
            <pc:sldMk cId="741010753" sldId="141169085"/>
            <ac:grpSpMk id="14" creationId="{33FE6D5F-FFF3-43D9-8C15-169072F8B961}"/>
          </ac:grpSpMkLst>
        </pc:grpChg>
        <pc:grpChg chg="add mod">
          <ac:chgData name="Sourav Bose" userId="a3480f76-fe68-4c03-a922-c4aa16f9bb6b" providerId="ADAL" clId="{DBB6B645-C36E-4B21-9704-373E2A71DC5E}" dt="2020-07-02T02:26:44.333" v="6211" actId="164"/>
          <ac:grpSpMkLst>
            <pc:docMk/>
            <pc:sldMk cId="741010753" sldId="141169085"/>
            <ac:grpSpMk id="15" creationId="{BAE1155D-A521-44E2-810F-AEBD20FF2E20}"/>
          </ac:grpSpMkLst>
        </pc:grpChg>
        <pc:grpChg chg="add del mod">
          <ac:chgData name="Sourav Bose" userId="a3480f76-fe68-4c03-a922-c4aa16f9bb6b" providerId="ADAL" clId="{DBB6B645-C36E-4B21-9704-373E2A71DC5E}" dt="2020-07-02T07:39:15.055" v="11031" actId="478"/>
          <ac:grpSpMkLst>
            <pc:docMk/>
            <pc:sldMk cId="741010753" sldId="141169085"/>
            <ac:grpSpMk id="16" creationId="{57EE0C1E-0D1C-4194-9F2C-9C05D2053131}"/>
          </ac:grpSpMkLst>
        </pc:grpChg>
        <pc:grpChg chg="add mod">
          <ac:chgData name="Sourav Bose" userId="a3480f76-fe68-4c03-a922-c4aa16f9bb6b" providerId="ADAL" clId="{DBB6B645-C36E-4B21-9704-373E2A71DC5E}" dt="2020-07-02T02:40:20.065" v="6802" actId="164"/>
          <ac:grpSpMkLst>
            <pc:docMk/>
            <pc:sldMk cId="741010753" sldId="141169085"/>
            <ac:grpSpMk id="18" creationId="{741CA69E-0EF1-4ED1-9728-4DCE3E21C4FF}"/>
          </ac:grpSpMkLst>
        </pc:grpChg>
        <pc:grpChg chg="add mod">
          <ac:chgData name="Sourav Bose" userId="a3480f76-fe68-4c03-a922-c4aa16f9bb6b" providerId="ADAL" clId="{DBB6B645-C36E-4B21-9704-373E2A71DC5E}" dt="2020-07-02T02:40:25.528" v="6803" actId="164"/>
          <ac:grpSpMkLst>
            <pc:docMk/>
            <pc:sldMk cId="741010753" sldId="141169085"/>
            <ac:grpSpMk id="19" creationId="{7BE23E6D-2514-4385-B498-3092D8B16073}"/>
          </ac:grpSpMkLst>
        </pc:grpChg>
        <pc:grpChg chg="del mod">
          <ac:chgData name="Sourav Bose" userId="a3480f76-fe68-4c03-a922-c4aa16f9bb6b" providerId="ADAL" clId="{DBB6B645-C36E-4B21-9704-373E2A71DC5E}" dt="2020-07-02T01:42:37.598" v="5100" actId="478"/>
          <ac:grpSpMkLst>
            <pc:docMk/>
            <pc:sldMk cId="741010753" sldId="141169085"/>
            <ac:grpSpMk id="25" creationId="{B0A56DC3-407C-4D30-A8B4-0B9E358AB38D}"/>
          </ac:grpSpMkLst>
        </pc:grpChg>
        <pc:grpChg chg="del mod">
          <ac:chgData name="Sourav Bose" userId="a3480f76-fe68-4c03-a922-c4aa16f9bb6b" providerId="ADAL" clId="{DBB6B645-C36E-4B21-9704-373E2A71DC5E}" dt="2020-07-02T01:44:01.574" v="5188" actId="478"/>
          <ac:grpSpMkLst>
            <pc:docMk/>
            <pc:sldMk cId="741010753" sldId="141169085"/>
            <ac:grpSpMk id="26" creationId="{5C61275C-0804-41CD-8E5F-3645C4DB8CE8}"/>
          </ac:grpSpMkLst>
        </pc:grpChg>
        <pc:grpChg chg="mod">
          <ac:chgData name="Sourav Bose" userId="a3480f76-fe68-4c03-a922-c4aa16f9bb6b" providerId="ADAL" clId="{DBB6B645-C36E-4B21-9704-373E2A71DC5E}" dt="2020-07-02T02:24:36.408" v="6096" actId="1036"/>
          <ac:grpSpMkLst>
            <pc:docMk/>
            <pc:sldMk cId="741010753" sldId="141169085"/>
            <ac:grpSpMk id="27" creationId="{3E636413-E986-47B4-9D57-DE322512802B}"/>
          </ac:grpSpMkLst>
        </pc:grpChg>
        <pc:grpChg chg="add del">
          <ac:chgData name="Sourav Bose" userId="a3480f76-fe68-4c03-a922-c4aa16f9bb6b" providerId="ADAL" clId="{DBB6B645-C36E-4B21-9704-373E2A71DC5E}" dt="2020-07-02T02:27:34.422" v="6372" actId="478"/>
          <ac:grpSpMkLst>
            <pc:docMk/>
            <pc:sldMk cId="741010753" sldId="141169085"/>
            <ac:grpSpMk id="41" creationId="{EE839485-3A97-43F3-B714-CFD5C30DBF27}"/>
          </ac:grpSpMkLst>
        </pc:grpChg>
        <pc:grpChg chg="add del">
          <ac:chgData name="Sourav Bose" userId="a3480f76-fe68-4c03-a922-c4aa16f9bb6b" providerId="ADAL" clId="{DBB6B645-C36E-4B21-9704-373E2A71DC5E}" dt="2020-07-02T02:23:51.672" v="6063" actId="478"/>
          <ac:grpSpMkLst>
            <pc:docMk/>
            <pc:sldMk cId="741010753" sldId="141169085"/>
            <ac:grpSpMk id="44" creationId="{926A307D-B1B5-40EC-A315-8A2D67729EF1}"/>
          </ac:grpSpMkLst>
        </pc:grpChg>
        <pc:grpChg chg="add del">
          <ac:chgData name="Sourav Bose" userId="a3480f76-fe68-4c03-a922-c4aa16f9bb6b" providerId="ADAL" clId="{DBB6B645-C36E-4B21-9704-373E2A71DC5E}" dt="2020-07-02T02:27:34.422" v="6372" actId="478"/>
          <ac:grpSpMkLst>
            <pc:docMk/>
            <pc:sldMk cId="741010753" sldId="141169085"/>
            <ac:grpSpMk id="50" creationId="{C417EAE2-AE51-42AA-9FE9-CB36AECC0C84}"/>
          </ac:grpSpMkLst>
        </pc:grpChg>
        <pc:grpChg chg="add mod">
          <ac:chgData name="Sourav Bose" userId="a3480f76-fe68-4c03-a922-c4aa16f9bb6b" providerId="ADAL" clId="{DBB6B645-C36E-4B21-9704-373E2A71DC5E}" dt="2020-07-02T11:21:19.803" v="16855" actId="1035"/>
          <ac:grpSpMkLst>
            <pc:docMk/>
            <pc:sldMk cId="741010753" sldId="141169085"/>
            <ac:grpSpMk id="53" creationId="{1E40BCFA-AB44-4311-A5E4-9669269F1485}"/>
          </ac:grpSpMkLst>
        </pc:grpChg>
        <pc:grpChg chg="add del">
          <ac:chgData name="Sourav Bose" userId="a3480f76-fe68-4c03-a922-c4aa16f9bb6b" providerId="ADAL" clId="{DBB6B645-C36E-4B21-9704-373E2A71DC5E}" dt="2020-07-02T02:27:34.422" v="6372" actId="478"/>
          <ac:grpSpMkLst>
            <pc:docMk/>
            <pc:sldMk cId="741010753" sldId="141169085"/>
            <ac:grpSpMk id="56" creationId="{AE4EB3E4-94B1-4545-8AED-F9947A086DE4}"/>
          </ac:grpSpMkLst>
        </pc:grpChg>
        <pc:grpChg chg="add del mod">
          <ac:chgData name="Sourav Bose" userId="a3480f76-fe68-4c03-a922-c4aa16f9bb6b" providerId="ADAL" clId="{DBB6B645-C36E-4B21-9704-373E2A71DC5E}" dt="2020-07-02T01:36:58.909" v="4990" actId="478"/>
          <ac:grpSpMkLst>
            <pc:docMk/>
            <pc:sldMk cId="741010753" sldId="141169085"/>
            <ac:grpSpMk id="64" creationId="{44C2E88A-09BA-4B93-AF74-16051ACAB6E2}"/>
          </ac:grpSpMkLst>
        </pc:grpChg>
        <pc:grpChg chg="mod">
          <ac:chgData name="Sourav Bose" userId="a3480f76-fe68-4c03-a922-c4aa16f9bb6b" providerId="ADAL" clId="{DBB6B645-C36E-4B21-9704-373E2A71DC5E}" dt="2020-07-02T01:36:15.446" v="4954" actId="1036"/>
          <ac:grpSpMkLst>
            <pc:docMk/>
            <pc:sldMk cId="741010753" sldId="141169085"/>
            <ac:grpSpMk id="66" creationId="{1A6AF78C-E6FE-4AF2-A5EE-6481A524935A}"/>
          </ac:grpSpMkLst>
        </pc:grpChg>
        <pc:grpChg chg="add del mod">
          <ac:chgData name="Sourav Bose" userId="a3480f76-fe68-4c03-a922-c4aa16f9bb6b" providerId="ADAL" clId="{DBB6B645-C36E-4B21-9704-373E2A71DC5E}" dt="2020-07-02T01:36:58.909" v="4990" actId="478"/>
          <ac:grpSpMkLst>
            <pc:docMk/>
            <pc:sldMk cId="741010753" sldId="141169085"/>
            <ac:grpSpMk id="69" creationId="{02ADD68F-9434-400F-811B-095615B1D706}"/>
          </ac:grpSpMkLst>
        </pc:grpChg>
        <pc:grpChg chg="mod">
          <ac:chgData name="Sourav Bose" userId="a3480f76-fe68-4c03-a922-c4aa16f9bb6b" providerId="ADAL" clId="{DBB6B645-C36E-4B21-9704-373E2A71DC5E}" dt="2020-07-02T01:36:15.446" v="4954" actId="1036"/>
          <ac:grpSpMkLst>
            <pc:docMk/>
            <pc:sldMk cId="741010753" sldId="141169085"/>
            <ac:grpSpMk id="71" creationId="{252A0A46-D5DC-4F5E-9314-16F3D0FD7035}"/>
          </ac:grpSpMkLst>
        </pc:grpChg>
        <pc:grpChg chg="add del mod">
          <ac:chgData name="Sourav Bose" userId="a3480f76-fe68-4c03-a922-c4aa16f9bb6b" providerId="ADAL" clId="{DBB6B645-C36E-4B21-9704-373E2A71DC5E}" dt="2020-07-02T01:36:58.909" v="4990" actId="478"/>
          <ac:grpSpMkLst>
            <pc:docMk/>
            <pc:sldMk cId="741010753" sldId="141169085"/>
            <ac:grpSpMk id="74" creationId="{40B19AC2-27B0-4B18-949B-27E6FAC24137}"/>
          </ac:grpSpMkLst>
        </pc:grpChg>
        <pc:grpChg chg="mod">
          <ac:chgData name="Sourav Bose" userId="a3480f76-fe68-4c03-a922-c4aa16f9bb6b" providerId="ADAL" clId="{DBB6B645-C36E-4B21-9704-373E2A71DC5E}" dt="2020-07-02T01:36:15.446" v="4954" actId="1036"/>
          <ac:grpSpMkLst>
            <pc:docMk/>
            <pc:sldMk cId="741010753" sldId="141169085"/>
            <ac:grpSpMk id="76" creationId="{B2B722C3-6D7E-495F-848B-11AF81708F44}"/>
          </ac:grpSpMkLst>
        </pc:grpChg>
        <pc:grpChg chg="add del mod">
          <ac:chgData name="Sourav Bose" userId="a3480f76-fe68-4c03-a922-c4aa16f9bb6b" providerId="ADAL" clId="{DBB6B645-C36E-4B21-9704-373E2A71DC5E}" dt="2020-07-02T01:42:37.598" v="5100" actId="478"/>
          <ac:grpSpMkLst>
            <pc:docMk/>
            <pc:sldMk cId="741010753" sldId="141169085"/>
            <ac:grpSpMk id="82" creationId="{D7F5B647-2F48-412A-89B0-27CD84DBE69B}"/>
          </ac:grpSpMkLst>
        </pc:grpChg>
        <pc:grpChg chg="mod">
          <ac:chgData name="Sourav Bose" userId="a3480f76-fe68-4c03-a922-c4aa16f9bb6b" providerId="ADAL" clId="{DBB6B645-C36E-4B21-9704-373E2A71DC5E}" dt="2020-07-02T01:37:18.099" v="4991" actId="571"/>
          <ac:grpSpMkLst>
            <pc:docMk/>
            <pc:sldMk cId="741010753" sldId="141169085"/>
            <ac:grpSpMk id="84" creationId="{D7FC6469-39E7-43B0-814F-A8C542992A6B}"/>
          </ac:grpSpMkLst>
        </pc:grpChg>
        <pc:grpChg chg="add mod">
          <ac:chgData name="Sourav Bose" userId="a3480f76-fe68-4c03-a922-c4aa16f9bb6b" providerId="ADAL" clId="{DBB6B645-C36E-4B21-9704-373E2A71DC5E}" dt="2020-07-02T02:40:20.065" v="6802" actId="164"/>
          <ac:grpSpMkLst>
            <pc:docMk/>
            <pc:sldMk cId="741010753" sldId="141169085"/>
            <ac:grpSpMk id="88" creationId="{269CE3F2-58F3-4023-8749-F1BDE89BAC3D}"/>
          </ac:grpSpMkLst>
        </pc:grpChg>
        <pc:grpChg chg="mod">
          <ac:chgData name="Sourav Bose" userId="a3480f76-fe68-4c03-a922-c4aa16f9bb6b" providerId="ADAL" clId="{DBB6B645-C36E-4B21-9704-373E2A71DC5E}" dt="2020-07-02T02:28:44.394" v="6458" actId="1037"/>
          <ac:grpSpMkLst>
            <pc:docMk/>
            <pc:sldMk cId="741010753" sldId="141169085"/>
            <ac:grpSpMk id="90" creationId="{D6AC07E5-0D35-490B-ADBE-653F78DF4DE3}"/>
          </ac:grpSpMkLst>
        </pc:grpChg>
        <pc:grpChg chg="add del mod">
          <ac:chgData name="Sourav Bose" userId="a3480f76-fe68-4c03-a922-c4aa16f9bb6b" providerId="ADAL" clId="{DBB6B645-C36E-4B21-9704-373E2A71DC5E}" dt="2020-07-02T01:58:07.637" v="5800" actId="165"/>
          <ac:grpSpMkLst>
            <pc:docMk/>
            <pc:sldMk cId="741010753" sldId="141169085"/>
            <ac:grpSpMk id="93" creationId="{32451A90-5B58-46CD-AF5F-095CF0650204}"/>
          </ac:grpSpMkLst>
        </pc:grpChg>
        <pc:grpChg chg="add del mod topLvl">
          <ac:chgData name="Sourav Bose" userId="a3480f76-fe68-4c03-a922-c4aa16f9bb6b" providerId="ADAL" clId="{DBB6B645-C36E-4B21-9704-373E2A71DC5E}" dt="2020-07-02T02:29:37.304" v="6546" actId="1038"/>
          <ac:grpSpMkLst>
            <pc:docMk/>
            <pc:sldMk cId="741010753" sldId="141169085"/>
            <ac:grpSpMk id="95" creationId="{8624939B-4E31-4D44-A950-ED1C86ABF02D}"/>
          </ac:grpSpMkLst>
        </pc:grpChg>
        <pc:grpChg chg="add mod">
          <ac:chgData name="Sourav Bose" userId="a3480f76-fe68-4c03-a922-c4aa16f9bb6b" providerId="ADAL" clId="{DBB6B645-C36E-4B21-9704-373E2A71DC5E}" dt="2020-07-02T02:29:14.075" v="6533" actId="1037"/>
          <ac:grpSpMkLst>
            <pc:docMk/>
            <pc:sldMk cId="741010753" sldId="141169085"/>
            <ac:grpSpMk id="102" creationId="{6E2AAD24-8BF7-4BC3-971A-8379FB19D3B6}"/>
          </ac:grpSpMkLst>
        </pc:grpChg>
        <pc:grpChg chg="mod">
          <ac:chgData name="Sourav Bose" userId="a3480f76-fe68-4c03-a922-c4aa16f9bb6b" providerId="ADAL" clId="{DBB6B645-C36E-4B21-9704-373E2A71DC5E}" dt="2020-07-02T02:29:14.075" v="6533" actId="1037"/>
          <ac:grpSpMkLst>
            <pc:docMk/>
            <pc:sldMk cId="741010753" sldId="141169085"/>
            <ac:grpSpMk id="104" creationId="{70332959-87FB-4F97-BD73-47841E35FBE2}"/>
          </ac:grpSpMkLst>
        </pc:grpChg>
        <pc:grpChg chg="add mod">
          <ac:chgData name="Sourav Bose" userId="a3480f76-fe68-4c03-a922-c4aa16f9bb6b" providerId="ADAL" clId="{DBB6B645-C36E-4B21-9704-373E2A71DC5E}" dt="2020-07-02T02:48:31.582" v="6942" actId="1035"/>
          <ac:grpSpMkLst>
            <pc:docMk/>
            <pc:sldMk cId="741010753" sldId="141169085"/>
            <ac:grpSpMk id="112" creationId="{4E3ED83A-A7C1-475D-AB94-D5EC1F24F398}"/>
          </ac:grpSpMkLst>
        </pc:grpChg>
        <pc:grpChg chg="mod">
          <ac:chgData name="Sourav Bose" userId="a3480f76-fe68-4c03-a922-c4aa16f9bb6b" providerId="ADAL" clId="{DBB6B645-C36E-4B21-9704-373E2A71DC5E}" dt="2020-07-02T02:48:31.582" v="6942" actId="1035"/>
          <ac:grpSpMkLst>
            <pc:docMk/>
            <pc:sldMk cId="741010753" sldId="141169085"/>
            <ac:grpSpMk id="114" creationId="{B0175298-8AAE-486B-BFF7-60E1C2A8F1BA}"/>
          </ac:grpSpMkLst>
        </pc:grpChg>
        <pc:grpChg chg="add mod">
          <ac:chgData name="Sourav Bose" userId="a3480f76-fe68-4c03-a922-c4aa16f9bb6b" providerId="ADAL" clId="{DBB6B645-C36E-4B21-9704-373E2A71DC5E}" dt="2020-07-02T02:48:39.853" v="6947" actId="1037"/>
          <ac:grpSpMkLst>
            <pc:docMk/>
            <pc:sldMk cId="741010753" sldId="141169085"/>
            <ac:grpSpMk id="118" creationId="{3FFE6EE4-3E8C-4B3F-B80D-6EE9DC83B1CA}"/>
          </ac:grpSpMkLst>
        </pc:grpChg>
        <pc:grpChg chg="mod">
          <ac:chgData name="Sourav Bose" userId="a3480f76-fe68-4c03-a922-c4aa16f9bb6b" providerId="ADAL" clId="{DBB6B645-C36E-4B21-9704-373E2A71DC5E}" dt="2020-07-02T02:48:39.853" v="6947" actId="1037"/>
          <ac:grpSpMkLst>
            <pc:docMk/>
            <pc:sldMk cId="741010753" sldId="141169085"/>
            <ac:grpSpMk id="119" creationId="{BA0FBF02-5013-4234-9D08-632EFA54898A}"/>
          </ac:grpSpMkLst>
        </pc:grpChg>
        <pc:grpChg chg="mod">
          <ac:chgData name="Sourav Bose" userId="a3480f76-fe68-4c03-a922-c4aa16f9bb6b" providerId="ADAL" clId="{DBB6B645-C36E-4B21-9704-373E2A71DC5E}" dt="2020-07-02T02:48:39.853" v="6947" actId="1037"/>
          <ac:grpSpMkLst>
            <pc:docMk/>
            <pc:sldMk cId="741010753" sldId="141169085"/>
            <ac:grpSpMk id="122" creationId="{B4C3A94A-CFA7-431B-81CE-CD24D635BA76}"/>
          </ac:grpSpMkLst>
        </pc:grpChg>
        <pc:grpChg chg="add mod">
          <ac:chgData name="Sourav Bose" userId="a3480f76-fe68-4c03-a922-c4aa16f9bb6b" providerId="ADAL" clId="{DBB6B645-C36E-4B21-9704-373E2A71DC5E}" dt="2020-07-02T02:31:14.275" v="6586" actId="14100"/>
          <ac:grpSpMkLst>
            <pc:docMk/>
            <pc:sldMk cId="741010753" sldId="141169085"/>
            <ac:grpSpMk id="125" creationId="{9514B224-F91F-4780-B7E9-BBD68CFB30FA}"/>
          </ac:grpSpMkLst>
        </pc:grpChg>
        <pc:grpChg chg="mod">
          <ac:chgData name="Sourav Bose" userId="a3480f76-fe68-4c03-a922-c4aa16f9bb6b" providerId="ADAL" clId="{DBB6B645-C36E-4B21-9704-373E2A71DC5E}" dt="2020-07-02T02:28:44.394" v="6458" actId="1037"/>
          <ac:grpSpMkLst>
            <pc:docMk/>
            <pc:sldMk cId="741010753" sldId="141169085"/>
            <ac:grpSpMk id="126" creationId="{0D93C703-2F79-47E8-A602-EC3F5E2D2666}"/>
          </ac:grpSpMkLst>
        </pc:grpChg>
        <pc:grpChg chg="mod">
          <ac:chgData name="Sourav Bose" userId="a3480f76-fe68-4c03-a922-c4aa16f9bb6b" providerId="ADAL" clId="{DBB6B645-C36E-4B21-9704-373E2A71DC5E}" dt="2020-07-02T02:28:44.394" v="6458" actId="1037"/>
          <ac:grpSpMkLst>
            <pc:docMk/>
            <pc:sldMk cId="741010753" sldId="141169085"/>
            <ac:grpSpMk id="129" creationId="{29082102-EC6D-4C17-B08E-B9D7FF6C986D}"/>
          </ac:grpSpMkLst>
        </pc:grpChg>
        <pc:grpChg chg="mod">
          <ac:chgData name="Sourav Bose" userId="a3480f76-fe68-4c03-a922-c4aa16f9bb6b" providerId="ADAL" clId="{DBB6B645-C36E-4B21-9704-373E2A71DC5E}" dt="2020-07-02T01:36:27.568" v="4984" actId="1035"/>
          <ac:grpSpMkLst>
            <pc:docMk/>
            <pc:sldMk cId="741010753" sldId="141169085"/>
            <ac:grpSpMk id="164" creationId="{8B97B24F-44C7-46A4-BACE-CF4375A5E5E4}"/>
          </ac:grpSpMkLst>
        </pc:grpChg>
        <pc:grpChg chg="mod">
          <ac:chgData name="Sourav Bose" userId="a3480f76-fe68-4c03-a922-c4aa16f9bb6b" providerId="ADAL" clId="{DBB6B645-C36E-4B21-9704-373E2A71DC5E}" dt="2020-07-02T01:42:44.150" v="5128" actId="1035"/>
          <ac:grpSpMkLst>
            <pc:docMk/>
            <pc:sldMk cId="741010753" sldId="141169085"/>
            <ac:grpSpMk id="171" creationId="{650833C8-8BF3-4B5A-B1F9-209E2D11CA23}"/>
          </ac:grpSpMkLst>
        </pc:grpChg>
        <pc:grpChg chg="mod">
          <ac:chgData name="Sourav Bose" userId="a3480f76-fe68-4c03-a922-c4aa16f9bb6b" providerId="ADAL" clId="{DBB6B645-C36E-4B21-9704-373E2A71DC5E}" dt="2020-07-02T02:24:36.408" v="6096" actId="1036"/>
          <ac:grpSpMkLst>
            <pc:docMk/>
            <pc:sldMk cId="741010753" sldId="141169085"/>
            <ac:grpSpMk id="179" creationId="{14A3988B-DBC7-4A95-B265-B2EB9743A3F1}"/>
          </ac:grpSpMkLst>
        </pc:grpChg>
        <pc:picChg chg="add mod">
          <ac:chgData name="Sourav Bose" userId="a3480f76-fe68-4c03-a922-c4aa16f9bb6b" providerId="ADAL" clId="{DBB6B645-C36E-4B21-9704-373E2A71DC5E}" dt="2020-07-02T02:32:18.328" v="6650" actId="14100"/>
          <ac:picMkLst>
            <pc:docMk/>
            <pc:sldMk cId="741010753" sldId="141169085"/>
            <ac:picMk id="8" creationId="{7B072ACC-0835-4673-9B8C-C5EBB1FA3469}"/>
          </ac:picMkLst>
        </pc:picChg>
        <pc:picChg chg="add del mod">
          <ac:chgData name="Sourav Bose" userId="a3480f76-fe68-4c03-a922-c4aa16f9bb6b" providerId="ADAL" clId="{DBB6B645-C36E-4B21-9704-373E2A71DC5E}" dt="2020-07-02T01:33:01.326" v="4924" actId="478"/>
          <ac:picMkLst>
            <pc:docMk/>
            <pc:sldMk cId="741010753" sldId="141169085"/>
            <ac:picMk id="36" creationId="{913B63F4-0BCF-4FF7-A724-C141DECCC864}"/>
          </ac:picMkLst>
        </pc:picChg>
        <pc:picChg chg="add del mod">
          <ac:chgData name="Sourav Bose" userId="a3480f76-fe68-4c03-a922-c4aa16f9bb6b" providerId="ADAL" clId="{DBB6B645-C36E-4B21-9704-373E2A71DC5E}" dt="2020-07-02T01:33:01.326" v="4924" actId="478"/>
          <ac:picMkLst>
            <pc:docMk/>
            <pc:sldMk cId="741010753" sldId="141169085"/>
            <ac:picMk id="39" creationId="{1515DC0F-DD4E-4049-829C-0C02DC4D2963}"/>
          </ac:picMkLst>
        </pc:picChg>
        <pc:picChg chg="mod">
          <ac:chgData name="Sourav Bose" userId="a3480f76-fe68-4c03-a922-c4aa16f9bb6b" providerId="ADAL" clId="{DBB6B645-C36E-4B21-9704-373E2A71DC5E}" dt="2020-07-02T02:27:52.425" v="6388" actId="164"/>
          <ac:picMkLst>
            <pc:docMk/>
            <pc:sldMk cId="741010753" sldId="141169085"/>
            <ac:picMk id="48" creationId="{450FABFB-1ED8-4AF8-8798-3FF8099C5A76}"/>
          </ac:picMkLst>
        </pc:picChg>
        <pc:picChg chg="add del mod">
          <ac:chgData name="Sourav Bose" userId="a3480f76-fe68-4c03-a922-c4aa16f9bb6b" providerId="ADAL" clId="{DBB6B645-C36E-4B21-9704-373E2A71DC5E}" dt="2020-07-02T01:36:58.909" v="4990" actId="478"/>
          <ac:picMkLst>
            <pc:docMk/>
            <pc:sldMk cId="741010753" sldId="141169085"/>
            <ac:picMk id="79" creationId="{7C568C2A-FAD3-4FF3-B3E3-4C3BF3E1DBF4}"/>
          </ac:picMkLst>
        </pc:picChg>
        <pc:picChg chg="add del mod">
          <ac:chgData name="Sourav Bose" userId="a3480f76-fe68-4c03-a922-c4aa16f9bb6b" providerId="ADAL" clId="{DBB6B645-C36E-4B21-9704-373E2A71DC5E}" dt="2020-07-02T01:36:58.909" v="4990" actId="478"/>
          <ac:picMkLst>
            <pc:docMk/>
            <pc:sldMk cId="741010753" sldId="141169085"/>
            <ac:picMk id="80" creationId="{9EB90318-B038-42AD-8943-C5FF7AECD8B5}"/>
          </ac:picMkLst>
        </pc:picChg>
        <pc:picChg chg="add del mod">
          <ac:chgData name="Sourav Bose" userId="a3480f76-fe68-4c03-a922-c4aa16f9bb6b" providerId="ADAL" clId="{DBB6B645-C36E-4B21-9704-373E2A71DC5E}" dt="2020-07-02T01:36:58.909" v="4990" actId="478"/>
          <ac:picMkLst>
            <pc:docMk/>
            <pc:sldMk cId="741010753" sldId="141169085"/>
            <ac:picMk id="81" creationId="{A8841B82-4771-4F08-B496-59B8E69BB618}"/>
          </ac:picMkLst>
        </pc:picChg>
        <pc:picChg chg="add del mod">
          <ac:chgData name="Sourav Bose" userId="a3480f76-fe68-4c03-a922-c4aa16f9bb6b" providerId="ADAL" clId="{DBB6B645-C36E-4B21-9704-373E2A71DC5E}" dt="2020-07-02T02:32:35.338" v="6660" actId="478"/>
          <ac:picMkLst>
            <pc:docMk/>
            <pc:sldMk cId="741010753" sldId="141169085"/>
            <ac:picMk id="98" creationId="{6AD4762C-FFB7-4EC1-8385-2F27B09563C6}"/>
          </ac:picMkLst>
        </pc:picChg>
        <pc:picChg chg="add del mod">
          <ac:chgData name="Sourav Bose" userId="a3480f76-fe68-4c03-a922-c4aa16f9bb6b" providerId="ADAL" clId="{DBB6B645-C36E-4B21-9704-373E2A71DC5E}" dt="2020-07-02T01:42:37.598" v="5100" actId="478"/>
          <ac:picMkLst>
            <pc:docMk/>
            <pc:sldMk cId="741010753" sldId="141169085"/>
            <ac:picMk id="99" creationId="{B133835F-6573-41DE-95EC-D37EA833A743}"/>
          </ac:picMkLst>
        </pc:picChg>
        <pc:picChg chg="add del mod">
          <ac:chgData name="Sourav Bose" userId="a3480f76-fe68-4c03-a922-c4aa16f9bb6b" providerId="ADAL" clId="{DBB6B645-C36E-4B21-9704-373E2A71DC5E}" dt="2020-07-02T02:32:38.761" v="6661" actId="478"/>
          <ac:picMkLst>
            <pc:docMk/>
            <pc:sldMk cId="741010753" sldId="141169085"/>
            <ac:picMk id="100" creationId="{DB052802-7E11-49C9-8332-28395139591F}"/>
          </ac:picMkLst>
        </pc:picChg>
        <pc:picChg chg="add mod">
          <ac:chgData name="Sourav Bose" userId="a3480f76-fe68-4c03-a922-c4aa16f9bb6b" providerId="ADAL" clId="{DBB6B645-C36E-4B21-9704-373E2A71DC5E}" dt="2020-07-02T02:06:09.228" v="5899" actId="164"/>
          <ac:picMkLst>
            <pc:docMk/>
            <pc:sldMk cId="741010753" sldId="141169085"/>
            <ac:picMk id="101" creationId="{A32EEEAE-25CF-460A-88D5-FD244848E274}"/>
          </ac:picMkLst>
        </pc:picChg>
        <pc:picChg chg="add del mod">
          <ac:chgData name="Sourav Bose" userId="a3480f76-fe68-4c03-a922-c4aa16f9bb6b" providerId="ADAL" clId="{DBB6B645-C36E-4B21-9704-373E2A71DC5E}" dt="2020-07-02T02:18:05.433" v="6018" actId="478"/>
          <ac:picMkLst>
            <pc:docMk/>
            <pc:sldMk cId="741010753" sldId="141169085"/>
            <ac:picMk id="107" creationId="{2C6D2196-D8F8-496D-97C0-2C40D7575C6B}"/>
          </ac:picMkLst>
        </pc:picChg>
        <pc:picChg chg="mod">
          <ac:chgData name="Sourav Bose" userId="a3480f76-fe68-4c03-a922-c4aa16f9bb6b" providerId="ADAL" clId="{DBB6B645-C36E-4B21-9704-373E2A71DC5E}" dt="2020-07-02T02:31:41.788" v="6625" actId="14100"/>
          <ac:picMkLst>
            <pc:docMk/>
            <pc:sldMk cId="741010753" sldId="141169085"/>
            <ac:picMk id="115" creationId="{93FA6ED0-648B-48BB-9526-FE7C30E7842A}"/>
          </ac:picMkLst>
        </pc:picChg>
        <pc:picChg chg="mod">
          <ac:chgData name="Sourav Bose" userId="a3480f76-fe68-4c03-a922-c4aa16f9bb6b" providerId="ADAL" clId="{DBB6B645-C36E-4B21-9704-373E2A71DC5E}" dt="2020-07-02T02:31:26.140" v="6602" actId="14100"/>
          <ac:picMkLst>
            <pc:docMk/>
            <pc:sldMk cId="741010753" sldId="141169085"/>
            <ac:picMk id="120" creationId="{AC0BCC61-FFF8-42E6-8BF1-B16ED3BB6147}"/>
          </ac:picMkLst>
        </pc:picChg>
        <pc:picChg chg="mod">
          <ac:chgData name="Sourav Bose" userId="a3480f76-fe68-4c03-a922-c4aa16f9bb6b" providerId="ADAL" clId="{DBB6B645-C36E-4B21-9704-373E2A71DC5E}" dt="2020-07-02T02:31:14.275" v="6586" actId="14100"/>
          <ac:picMkLst>
            <pc:docMk/>
            <pc:sldMk cId="741010753" sldId="141169085"/>
            <ac:picMk id="127" creationId="{1C1C123A-F48F-4744-A962-59CFD054A550}"/>
          </ac:picMkLst>
        </pc:picChg>
        <pc:picChg chg="add mod">
          <ac:chgData name="Sourav Bose" userId="a3480f76-fe68-4c03-a922-c4aa16f9bb6b" providerId="ADAL" clId="{DBB6B645-C36E-4B21-9704-373E2A71DC5E}" dt="2020-07-02T02:40:20.065" v="6802" actId="164"/>
          <ac:picMkLst>
            <pc:docMk/>
            <pc:sldMk cId="741010753" sldId="141169085"/>
            <ac:picMk id="140" creationId="{4E209699-90A7-4700-9921-66586F2F54B4}"/>
          </ac:picMkLst>
        </pc:picChg>
        <pc:picChg chg="add mod">
          <ac:chgData name="Sourav Bose" userId="a3480f76-fe68-4c03-a922-c4aa16f9bb6b" providerId="ADAL" clId="{DBB6B645-C36E-4B21-9704-373E2A71DC5E}" dt="2020-07-02T02:40:25.528" v="6803" actId="164"/>
          <ac:picMkLst>
            <pc:docMk/>
            <pc:sldMk cId="741010753" sldId="141169085"/>
            <ac:picMk id="52226" creationId="{3DE6553E-8CF2-4230-80DB-2B85775254CC}"/>
          </ac:picMkLst>
        </pc:picChg>
        <pc:picChg chg="del mod">
          <ac:chgData name="Sourav Bose" userId="a3480f76-fe68-4c03-a922-c4aa16f9bb6b" providerId="ADAL" clId="{DBB6B645-C36E-4B21-9704-373E2A71DC5E}" dt="2020-07-02T01:41:50.565" v="5052" actId="478"/>
          <ac:picMkLst>
            <pc:docMk/>
            <pc:sldMk cId="741010753" sldId="141169085"/>
            <ac:picMk id="55298" creationId="{F3B3D972-C198-4E47-9C5D-282AFF5BC6C3}"/>
          </ac:picMkLst>
        </pc:picChg>
        <pc:picChg chg="del mod">
          <ac:chgData name="Sourav Bose" userId="a3480f76-fe68-4c03-a922-c4aa16f9bb6b" providerId="ADAL" clId="{DBB6B645-C36E-4B21-9704-373E2A71DC5E}" dt="2020-07-02T01:42:37.598" v="5100" actId="478"/>
          <ac:picMkLst>
            <pc:docMk/>
            <pc:sldMk cId="741010753" sldId="141169085"/>
            <ac:picMk id="55300" creationId="{36AF4CAE-6180-4DA2-9FCB-6315ED1E7E60}"/>
          </ac:picMkLst>
        </pc:picChg>
        <pc:picChg chg="del mod">
          <ac:chgData name="Sourav Bose" userId="a3480f76-fe68-4c03-a922-c4aa16f9bb6b" providerId="ADAL" clId="{DBB6B645-C36E-4B21-9704-373E2A71DC5E}" dt="2020-07-02T01:44:03.590" v="5189" actId="478"/>
          <ac:picMkLst>
            <pc:docMk/>
            <pc:sldMk cId="741010753" sldId="141169085"/>
            <ac:picMk id="55302" creationId="{C415900A-AAFF-48ED-B87A-571724D63C2D}"/>
          </ac:picMkLst>
        </pc:picChg>
        <pc:picChg chg="mod">
          <ac:chgData name="Sourav Bose" userId="a3480f76-fe68-4c03-a922-c4aa16f9bb6b" providerId="ADAL" clId="{DBB6B645-C36E-4B21-9704-373E2A71DC5E}" dt="2020-07-02T02:26:44.333" v="6211" actId="164"/>
          <ac:picMkLst>
            <pc:docMk/>
            <pc:sldMk cId="741010753" sldId="141169085"/>
            <ac:picMk id="55304" creationId="{D4B6592A-5586-486F-B297-B3880CD5FAA9}"/>
          </ac:picMkLst>
        </pc:picChg>
      </pc:sldChg>
      <pc:sldChg chg="del">
        <pc:chgData name="Sourav Bose" userId="a3480f76-fe68-4c03-a922-c4aa16f9bb6b" providerId="ADAL" clId="{DBB6B645-C36E-4B21-9704-373E2A71DC5E}" dt="2020-07-03T08:21:45.335" v="30487" actId="2696"/>
        <pc:sldMkLst>
          <pc:docMk/>
          <pc:sldMk cId="3217741848" sldId="141169085"/>
        </pc:sldMkLst>
      </pc:sldChg>
      <pc:sldChg chg="addSp delSp modSp ord">
        <pc:chgData name="Sourav Bose" userId="a3480f76-fe68-4c03-a922-c4aa16f9bb6b" providerId="ADAL" clId="{DBB6B645-C36E-4B21-9704-373E2A71DC5E}" dt="2020-07-03T08:28:20.921" v="30567" actId="14100"/>
        <pc:sldMkLst>
          <pc:docMk/>
          <pc:sldMk cId="3295557858" sldId="141169086"/>
        </pc:sldMkLst>
        <pc:spChg chg="mod">
          <ac:chgData name="Sourav Bose" userId="a3480f76-fe68-4c03-a922-c4aa16f9bb6b" providerId="ADAL" clId="{DBB6B645-C36E-4B21-9704-373E2A71DC5E}" dt="2020-07-03T05:16:12.167" v="26767"/>
          <ac:spMkLst>
            <pc:docMk/>
            <pc:sldMk cId="3295557858" sldId="141169086"/>
            <ac:spMk id="3" creationId="{2628184F-BB51-4520-9982-EA93EF50D704}"/>
          </ac:spMkLst>
        </pc:spChg>
        <pc:graphicFrameChg chg="mod modGraphic">
          <ac:chgData name="Sourav Bose" userId="a3480f76-fe68-4c03-a922-c4aa16f9bb6b" providerId="ADAL" clId="{DBB6B645-C36E-4B21-9704-373E2A71DC5E}" dt="2020-07-03T08:28:20.921" v="30567" actId="14100"/>
          <ac:graphicFrameMkLst>
            <pc:docMk/>
            <pc:sldMk cId="3295557858" sldId="141169086"/>
            <ac:graphicFrameMk id="13" creationId="{98685DB1-E591-438C-BDCF-40A589314A97}"/>
          </ac:graphicFrameMkLst>
        </pc:graphicFrameChg>
        <pc:graphicFrameChg chg="del mod modGraphic">
          <ac:chgData name="Sourav Bose" userId="a3480f76-fe68-4c03-a922-c4aa16f9bb6b" providerId="ADAL" clId="{DBB6B645-C36E-4B21-9704-373E2A71DC5E}" dt="2020-07-02T11:23:08.940" v="17061"/>
          <ac:graphicFrameMkLst>
            <pc:docMk/>
            <pc:sldMk cId="3295557858" sldId="141169086"/>
            <ac:graphicFrameMk id="15" creationId="{AB246BD7-8CD9-4EE2-86E8-8DD09648499A}"/>
          </ac:graphicFrameMkLst>
        </pc:graphicFrameChg>
        <pc:picChg chg="add del mod">
          <ac:chgData name="Sourav Bose" userId="a3480f76-fe68-4c03-a922-c4aa16f9bb6b" providerId="ADAL" clId="{DBB6B645-C36E-4B21-9704-373E2A71DC5E}" dt="2020-07-02T11:23:08.940" v="17061"/>
          <ac:picMkLst>
            <pc:docMk/>
            <pc:sldMk cId="3295557858" sldId="141169086"/>
            <ac:picMk id="7" creationId="{51FC2A53-A24A-42A0-94AF-7654D9E834B9}"/>
          </ac:picMkLst>
        </pc:picChg>
        <pc:picChg chg="add mod">
          <ac:chgData name="Sourav Bose" userId="a3480f76-fe68-4c03-a922-c4aa16f9bb6b" providerId="ADAL" clId="{DBB6B645-C36E-4B21-9704-373E2A71DC5E}" dt="2020-07-02T11:23:36.990" v="17138" actId="1037"/>
          <ac:picMkLst>
            <pc:docMk/>
            <pc:sldMk cId="3295557858" sldId="141169086"/>
            <ac:picMk id="8" creationId="{923C0A31-7AA7-46D4-BB3D-CEA14F798B38}"/>
          </ac:picMkLst>
        </pc:picChg>
        <pc:picChg chg="del">
          <ac:chgData name="Sourav Bose" userId="a3480f76-fe68-4c03-a922-c4aa16f9bb6b" providerId="ADAL" clId="{DBB6B645-C36E-4B21-9704-373E2A71DC5E}" dt="2020-07-02T03:02:23.636" v="7166" actId="478"/>
          <ac:picMkLst>
            <pc:docMk/>
            <pc:sldMk cId="3295557858" sldId="141169086"/>
            <ac:picMk id="14" creationId="{F3024F8F-56E8-4F85-B116-E6EB892531E1}"/>
          </ac:picMkLst>
        </pc:picChg>
        <pc:picChg chg="del">
          <ac:chgData name="Sourav Bose" userId="a3480f76-fe68-4c03-a922-c4aa16f9bb6b" providerId="ADAL" clId="{DBB6B645-C36E-4B21-9704-373E2A71DC5E}" dt="2020-07-02T02:50:07.758" v="6948" actId="478"/>
          <ac:picMkLst>
            <pc:docMk/>
            <pc:sldMk cId="3295557858" sldId="141169086"/>
            <ac:picMk id="16" creationId="{EB9FBF11-52C4-45A9-9ACB-EB363D84A78E}"/>
          </ac:picMkLst>
        </pc:picChg>
      </pc:sldChg>
      <pc:sldChg chg="delSp modSp addCm delCm">
        <pc:chgData name="Sourav Bose" userId="a3480f76-fe68-4c03-a922-c4aa16f9bb6b" providerId="ADAL" clId="{DBB6B645-C36E-4B21-9704-373E2A71DC5E}" dt="2020-07-03T07:31:21.901" v="30454" actId="113"/>
        <pc:sldMkLst>
          <pc:docMk/>
          <pc:sldMk cId="3463240372" sldId="141169097"/>
        </pc:sldMkLst>
        <pc:spChg chg="mod">
          <ac:chgData name="Sourav Bose" userId="a3480f76-fe68-4c03-a922-c4aa16f9bb6b" providerId="ADAL" clId="{DBB6B645-C36E-4B21-9704-373E2A71DC5E}" dt="2020-07-03T07:07:47.121" v="29384" actId="20577"/>
          <ac:spMkLst>
            <pc:docMk/>
            <pc:sldMk cId="3463240372" sldId="141169097"/>
            <ac:spMk id="3" creationId="{2628184F-BB51-4520-9982-EA93EF50D704}"/>
          </ac:spMkLst>
        </pc:spChg>
        <pc:spChg chg="del">
          <ac:chgData name="Sourav Bose" userId="a3480f76-fe68-4c03-a922-c4aa16f9bb6b" providerId="ADAL" clId="{DBB6B645-C36E-4B21-9704-373E2A71DC5E}" dt="2020-07-02T09:35:39.093" v="13978" actId="478"/>
          <ac:spMkLst>
            <pc:docMk/>
            <pc:sldMk cId="3463240372" sldId="141169097"/>
            <ac:spMk id="101" creationId="{D160A836-324E-4D7A-B46E-AADBEE2EFE8E}"/>
          </ac:spMkLst>
        </pc:spChg>
        <pc:spChg chg="del">
          <ac:chgData name="Sourav Bose" userId="a3480f76-fe68-4c03-a922-c4aa16f9bb6b" providerId="ADAL" clId="{DBB6B645-C36E-4B21-9704-373E2A71DC5E}" dt="2020-07-02T09:35:39.093" v="13978" actId="478"/>
          <ac:spMkLst>
            <pc:docMk/>
            <pc:sldMk cId="3463240372" sldId="141169097"/>
            <ac:spMk id="125" creationId="{8DBD71F3-DDF5-495E-8A1F-7E5168888533}"/>
          </ac:spMkLst>
        </pc:spChg>
        <pc:spChg chg="del">
          <ac:chgData name="Sourav Bose" userId="a3480f76-fe68-4c03-a922-c4aa16f9bb6b" providerId="ADAL" clId="{DBB6B645-C36E-4B21-9704-373E2A71DC5E}" dt="2020-07-02T09:35:39.093" v="13978" actId="478"/>
          <ac:spMkLst>
            <pc:docMk/>
            <pc:sldMk cId="3463240372" sldId="141169097"/>
            <ac:spMk id="171" creationId="{E32EF8A3-6F09-423D-A5CC-FBC7EE887569}"/>
          </ac:spMkLst>
        </pc:spChg>
        <pc:spChg chg="del">
          <ac:chgData name="Sourav Bose" userId="a3480f76-fe68-4c03-a922-c4aa16f9bb6b" providerId="ADAL" clId="{DBB6B645-C36E-4B21-9704-373E2A71DC5E}" dt="2020-07-02T09:35:39.093" v="13978" actId="478"/>
          <ac:spMkLst>
            <pc:docMk/>
            <pc:sldMk cId="3463240372" sldId="141169097"/>
            <ac:spMk id="172" creationId="{2F7449B4-9C21-4BFF-82C9-491E608CD4E5}"/>
          </ac:spMkLst>
        </pc:spChg>
        <pc:spChg chg="del mod">
          <ac:chgData name="Sourav Bose" userId="a3480f76-fe68-4c03-a922-c4aa16f9bb6b" providerId="ADAL" clId="{DBB6B645-C36E-4B21-9704-373E2A71DC5E}" dt="2020-07-02T09:35:39.093" v="13978" actId="478"/>
          <ac:spMkLst>
            <pc:docMk/>
            <pc:sldMk cId="3463240372" sldId="141169097"/>
            <ac:spMk id="173" creationId="{360A2907-E703-4335-B6EF-FA8F17FD3D53}"/>
          </ac:spMkLst>
        </pc:spChg>
        <pc:spChg chg="del">
          <ac:chgData name="Sourav Bose" userId="a3480f76-fe68-4c03-a922-c4aa16f9bb6b" providerId="ADAL" clId="{DBB6B645-C36E-4B21-9704-373E2A71DC5E}" dt="2020-07-02T09:35:39.093" v="13978" actId="478"/>
          <ac:spMkLst>
            <pc:docMk/>
            <pc:sldMk cId="3463240372" sldId="141169097"/>
            <ac:spMk id="174" creationId="{C7A45304-FC18-436F-9F28-366CBA63D9F3}"/>
          </ac:spMkLst>
        </pc:spChg>
        <pc:spChg chg="mod">
          <ac:chgData name="Sourav Bose" userId="a3480f76-fe68-4c03-a922-c4aa16f9bb6b" providerId="ADAL" clId="{DBB6B645-C36E-4B21-9704-373E2A71DC5E}" dt="2020-07-03T07:12:03.244" v="29913" actId="1035"/>
          <ac:spMkLst>
            <pc:docMk/>
            <pc:sldMk cId="3463240372" sldId="141169097"/>
            <ac:spMk id="176" creationId="{6385C9B1-09BD-4A71-A7B0-C8E24C4341D8}"/>
          </ac:spMkLst>
        </pc:spChg>
        <pc:graphicFrameChg chg="del">
          <ac:chgData name="Sourav Bose" userId="a3480f76-fe68-4c03-a922-c4aa16f9bb6b" providerId="ADAL" clId="{DBB6B645-C36E-4B21-9704-373E2A71DC5E}" dt="2020-07-02T09:35:36.451" v="13977" actId="478"/>
          <ac:graphicFrameMkLst>
            <pc:docMk/>
            <pc:sldMk cId="3463240372" sldId="141169097"/>
            <ac:graphicFrameMk id="5" creationId="{4D649227-55D9-4A12-B72B-461366C8EB2A}"/>
          </ac:graphicFrameMkLst>
        </pc:graphicFrameChg>
        <pc:graphicFrameChg chg="mod modGraphic">
          <ac:chgData name="Sourav Bose" userId="a3480f76-fe68-4c03-a922-c4aa16f9bb6b" providerId="ADAL" clId="{DBB6B645-C36E-4B21-9704-373E2A71DC5E}" dt="2020-07-03T07:31:21.901" v="30454" actId="113"/>
          <ac:graphicFrameMkLst>
            <pc:docMk/>
            <pc:sldMk cId="3463240372" sldId="141169097"/>
            <ac:graphicFrameMk id="175" creationId="{A79314E3-AB79-40C2-B9F3-68EB746E7E2C}"/>
          </ac:graphicFrameMkLst>
        </pc:graphicFrameChg>
      </pc:sldChg>
      <pc:sldChg chg="addSp delSp modSp add">
        <pc:chgData name="Sourav Bose" userId="a3480f76-fe68-4c03-a922-c4aa16f9bb6b" providerId="ADAL" clId="{DBB6B645-C36E-4B21-9704-373E2A71DC5E}" dt="2020-07-03T08:27:49.876" v="30558" actId="20577"/>
        <pc:sldMkLst>
          <pc:docMk/>
          <pc:sldMk cId="2525650123" sldId="141169098"/>
        </pc:sldMkLst>
        <pc:spChg chg="mod">
          <ac:chgData name="Sourav Bose" userId="a3480f76-fe68-4c03-a922-c4aa16f9bb6b" providerId="ADAL" clId="{DBB6B645-C36E-4B21-9704-373E2A71DC5E}" dt="2020-07-03T05:15:59.911" v="26765" actId="20577"/>
          <ac:spMkLst>
            <pc:docMk/>
            <pc:sldMk cId="2525650123" sldId="141169098"/>
            <ac:spMk id="3" creationId="{2628184F-BB51-4520-9982-EA93EF50D704}"/>
          </ac:spMkLst>
        </pc:spChg>
        <pc:graphicFrameChg chg="add mod ord modGraphic">
          <ac:chgData name="Sourav Bose" userId="a3480f76-fe68-4c03-a922-c4aa16f9bb6b" providerId="ADAL" clId="{DBB6B645-C36E-4B21-9704-373E2A71DC5E}" dt="2020-07-03T08:27:39.597" v="30554" actId="20577"/>
          <ac:graphicFrameMkLst>
            <pc:docMk/>
            <pc:sldMk cId="2525650123" sldId="141169098"/>
            <ac:graphicFrameMk id="7" creationId="{8A7C528A-F302-4B67-9D1B-5D6950BA8154}"/>
          </ac:graphicFrameMkLst>
        </pc:graphicFrameChg>
        <pc:graphicFrameChg chg="mod modGraphic">
          <ac:chgData name="Sourav Bose" userId="a3480f76-fe68-4c03-a922-c4aa16f9bb6b" providerId="ADAL" clId="{DBB6B645-C36E-4B21-9704-373E2A71DC5E}" dt="2020-07-03T08:27:49.876" v="30558" actId="20577"/>
          <ac:graphicFrameMkLst>
            <pc:docMk/>
            <pc:sldMk cId="2525650123" sldId="141169098"/>
            <ac:graphicFrameMk id="13" creationId="{98685DB1-E591-438C-BDCF-40A589314A97}"/>
          </ac:graphicFrameMkLst>
        </pc:graphicFrameChg>
        <pc:graphicFrameChg chg="del modGraphic">
          <ac:chgData name="Sourav Bose" userId="a3480f76-fe68-4c03-a922-c4aa16f9bb6b" providerId="ADAL" clId="{DBB6B645-C36E-4B21-9704-373E2A71DC5E}" dt="2020-07-02T03:34:57.528" v="7638" actId="478"/>
          <ac:graphicFrameMkLst>
            <pc:docMk/>
            <pc:sldMk cId="2525650123" sldId="141169098"/>
            <ac:graphicFrameMk id="15" creationId="{AB246BD7-8CD9-4EE2-86E8-8DD09648499A}"/>
          </ac:graphicFrameMkLst>
        </pc:graphicFrameChg>
        <pc:picChg chg="add mod">
          <ac:chgData name="Sourav Bose" userId="a3480f76-fe68-4c03-a922-c4aa16f9bb6b" providerId="ADAL" clId="{DBB6B645-C36E-4B21-9704-373E2A71DC5E}" dt="2020-07-02T10:04:08.413" v="15325" actId="1035"/>
          <ac:picMkLst>
            <pc:docMk/>
            <pc:sldMk cId="2525650123" sldId="141169098"/>
            <ac:picMk id="8" creationId="{714FCFD9-E9FD-47E1-B581-D9E494975E8B}"/>
          </ac:picMkLst>
        </pc:picChg>
        <pc:picChg chg="add mod modCrop">
          <ac:chgData name="Sourav Bose" userId="a3480f76-fe68-4c03-a922-c4aa16f9bb6b" providerId="ADAL" clId="{DBB6B645-C36E-4B21-9704-373E2A71DC5E}" dt="2020-07-02T10:31:51.745" v="15399" actId="1038"/>
          <ac:picMkLst>
            <pc:docMk/>
            <pc:sldMk cId="2525650123" sldId="141169098"/>
            <ac:picMk id="9" creationId="{C735E0FC-CC7C-4657-AE0F-2E6C661C9CCB}"/>
          </ac:picMkLst>
        </pc:picChg>
        <pc:picChg chg="add del">
          <ac:chgData name="Sourav Bose" userId="a3480f76-fe68-4c03-a922-c4aa16f9bb6b" providerId="ADAL" clId="{DBB6B645-C36E-4B21-9704-373E2A71DC5E}" dt="2020-07-02T04:05:18.039" v="8300" actId="478"/>
          <ac:picMkLst>
            <pc:docMk/>
            <pc:sldMk cId="2525650123" sldId="141169098"/>
            <ac:picMk id="14" creationId="{F3024F8F-56E8-4F85-B116-E6EB892531E1}"/>
          </ac:picMkLst>
        </pc:picChg>
        <pc:picChg chg="del">
          <ac:chgData name="Sourav Bose" userId="a3480f76-fe68-4c03-a922-c4aa16f9bb6b" providerId="ADAL" clId="{DBB6B645-C36E-4B21-9704-373E2A71DC5E}" dt="2020-07-02T03:35:34.135" v="7655" actId="478"/>
          <ac:picMkLst>
            <pc:docMk/>
            <pc:sldMk cId="2525650123" sldId="141169098"/>
            <ac:picMk id="16" creationId="{EB9FBF11-52C4-45A9-9ACB-EB363D84A78E}"/>
          </ac:picMkLst>
        </pc:picChg>
      </pc:sldChg>
      <pc:sldChg chg="addSp delSp modSp add">
        <pc:chgData name="Sourav Bose" userId="a3480f76-fe68-4c03-a922-c4aa16f9bb6b" providerId="ADAL" clId="{DBB6B645-C36E-4B21-9704-373E2A71DC5E}" dt="2020-07-03T08:28:07.837" v="30564" actId="20577"/>
        <pc:sldMkLst>
          <pc:docMk/>
          <pc:sldMk cId="1002216683" sldId="141169099"/>
        </pc:sldMkLst>
        <pc:spChg chg="mod">
          <ac:chgData name="Sourav Bose" userId="a3480f76-fe68-4c03-a922-c4aa16f9bb6b" providerId="ADAL" clId="{DBB6B645-C36E-4B21-9704-373E2A71DC5E}" dt="2020-07-03T05:16:08.392" v="26766"/>
          <ac:spMkLst>
            <pc:docMk/>
            <pc:sldMk cId="1002216683" sldId="141169099"/>
            <ac:spMk id="3" creationId="{2628184F-BB51-4520-9982-EA93EF50D704}"/>
          </ac:spMkLst>
        </pc:spChg>
        <pc:graphicFrameChg chg="add mod modGraphic">
          <ac:chgData name="Sourav Bose" userId="a3480f76-fe68-4c03-a922-c4aa16f9bb6b" providerId="ADAL" clId="{DBB6B645-C36E-4B21-9704-373E2A71DC5E}" dt="2020-07-03T08:28:07.837" v="30564" actId="20577"/>
          <ac:graphicFrameMkLst>
            <pc:docMk/>
            <pc:sldMk cId="1002216683" sldId="141169099"/>
            <ac:graphicFrameMk id="8" creationId="{2B950B61-D560-4CF8-B520-F9DDCB8A9C52}"/>
          </ac:graphicFrameMkLst>
        </pc:graphicFrameChg>
        <pc:graphicFrameChg chg="del">
          <ac:chgData name="Sourav Bose" userId="a3480f76-fe68-4c03-a922-c4aa16f9bb6b" providerId="ADAL" clId="{DBB6B645-C36E-4B21-9704-373E2A71DC5E}" dt="2020-07-02T03:59:08.376" v="8058" actId="478"/>
          <ac:graphicFrameMkLst>
            <pc:docMk/>
            <pc:sldMk cId="1002216683" sldId="141169099"/>
            <ac:graphicFrameMk id="13" creationId="{98685DB1-E591-438C-BDCF-40A589314A97}"/>
          </ac:graphicFrameMkLst>
        </pc:graphicFrameChg>
        <pc:graphicFrameChg chg="mod modGraphic">
          <ac:chgData name="Sourav Bose" userId="a3480f76-fe68-4c03-a922-c4aa16f9bb6b" providerId="ADAL" clId="{DBB6B645-C36E-4B21-9704-373E2A71DC5E}" dt="2020-07-03T08:28:01.820" v="30562" actId="20577"/>
          <ac:graphicFrameMkLst>
            <pc:docMk/>
            <pc:sldMk cId="1002216683" sldId="141169099"/>
            <ac:graphicFrameMk id="15" creationId="{AB246BD7-8CD9-4EE2-86E8-8DD09648499A}"/>
          </ac:graphicFrameMkLst>
        </pc:graphicFrameChg>
        <pc:picChg chg="add mod">
          <ac:chgData name="Sourav Bose" userId="a3480f76-fe68-4c03-a922-c4aa16f9bb6b" providerId="ADAL" clId="{DBB6B645-C36E-4B21-9704-373E2A71DC5E}" dt="2020-07-02T04:13:47.298" v="8606" actId="1036"/>
          <ac:picMkLst>
            <pc:docMk/>
            <pc:sldMk cId="1002216683" sldId="141169099"/>
            <ac:picMk id="7" creationId="{B1252CE1-1EA6-4932-A24A-BAF55D0EEAE6}"/>
          </ac:picMkLst>
        </pc:picChg>
        <pc:picChg chg="add mod">
          <ac:chgData name="Sourav Bose" userId="a3480f76-fe68-4c03-a922-c4aa16f9bb6b" providerId="ADAL" clId="{DBB6B645-C36E-4B21-9704-373E2A71DC5E}" dt="2020-07-02T11:18:06.990" v="16773" actId="14100"/>
          <ac:picMkLst>
            <pc:docMk/>
            <pc:sldMk cId="1002216683" sldId="141169099"/>
            <ac:picMk id="9" creationId="{9CAECE4E-28B1-47E7-A8D0-C3D7EC4B1162}"/>
          </ac:picMkLst>
        </pc:picChg>
        <pc:picChg chg="del">
          <ac:chgData name="Sourav Bose" userId="a3480f76-fe68-4c03-a922-c4aa16f9bb6b" providerId="ADAL" clId="{DBB6B645-C36E-4B21-9704-373E2A71DC5E}" dt="2020-07-02T03:59:08.376" v="8058" actId="478"/>
          <ac:picMkLst>
            <pc:docMk/>
            <pc:sldMk cId="1002216683" sldId="141169099"/>
            <ac:picMk id="14" creationId="{F3024F8F-56E8-4F85-B116-E6EB892531E1}"/>
          </ac:picMkLst>
        </pc:picChg>
        <pc:picChg chg="del">
          <ac:chgData name="Sourav Bose" userId="a3480f76-fe68-4c03-a922-c4aa16f9bb6b" providerId="ADAL" clId="{DBB6B645-C36E-4B21-9704-373E2A71DC5E}" dt="2020-07-02T04:12:37.977" v="8540" actId="478"/>
          <ac:picMkLst>
            <pc:docMk/>
            <pc:sldMk cId="1002216683" sldId="141169099"/>
            <ac:picMk id="16" creationId="{EB9FBF11-52C4-45A9-9ACB-EB363D84A78E}"/>
          </ac:picMkLst>
        </pc:picChg>
      </pc:sldChg>
      <pc:sldChg chg="add del">
        <pc:chgData name="Sourav Bose" userId="a3480f76-fe68-4c03-a922-c4aa16f9bb6b" providerId="ADAL" clId="{DBB6B645-C36E-4B21-9704-373E2A71DC5E}" dt="2020-07-02T12:08:25.370" v="17359" actId="2696"/>
        <pc:sldMkLst>
          <pc:docMk/>
          <pc:sldMk cId="1965542067" sldId="141169100"/>
        </pc:sldMkLst>
      </pc:sldChg>
      <pc:sldChg chg="addSp delSp modSp add del">
        <pc:chgData name="Sourav Bose" userId="a3480f76-fe68-4c03-a922-c4aa16f9bb6b" providerId="ADAL" clId="{DBB6B645-C36E-4B21-9704-373E2A71DC5E}" dt="2020-07-02T09:31:44.573" v="13960" actId="2696"/>
        <pc:sldMkLst>
          <pc:docMk/>
          <pc:sldMk cId="1290840724" sldId="141169101"/>
        </pc:sldMkLst>
        <pc:spChg chg="mod">
          <ac:chgData name="Sourav Bose" userId="a3480f76-fe68-4c03-a922-c4aa16f9bb6b" providerId="ADAL" clId="{DBB6B645-C36E-4B21-9704-373E2A71DC5E}" dt="2020-07-02T05:32:32.756" v="9417" actId="14100"/>
          <ac:spMkLst>
            <pc:docMk/>
            <pc:sldMk cId="1290840724" sldId="141169101"/>
            <ac:spMk id="3" creationId="{055E2483-89FF-4B92-89C0-A9BDAB1C225C}"/>
          </ac:spMkLst>
        </pc:spChg>
        <pc:spChg chg="mod">
          <ac:chgData name="Sourav Bose" userId="a3480f76-fe68-4c03-a922-c4aa16f9bb6b" providerId="ADAL" clId="{DBB6B645-C36E-4B21-9704-373E2A71DC5E}" dt="2020-07-02T05:36:48.965" v="9720" actId="113"/>
          <ac:spMkLst>
            <pc:docMk/>
            <pc:sldMk cId="1290840724" sldId="141169101"/>
            <ac:spMk id="6" creationId="{48404C05-A801-4E26-ACF1-77C9A914B9F1}"/>
          </ac:spMkLst>
        </pc:spChg>
        <pc:spChg chg="mod">
          <ac:chgData name="Sourav Bose" userId="a3480f76-fe68-4c03-a922-c4aa16f9bb6b" providerId="ADAL" clId="{DBB6B645-C36E-4B21-9704-373E2A71DC5E}" dt="2020-07-02T05:35:01.421" v="9713" actId="1037"/>
          <ac:spMkLst>
            <pc:docMk/>
            <pc:sldMk cId="1290840724" sldId="141169101"/>
            <ac:spMk id="7" creationId="{A84EA4EB-F2F0-4F79-B0D3-D206C26CA19A}"/>
          </ac:spMkLst>
        </pc:spChg>
        <pc:spChg chg="mod">
          <ac:chgData name="Sourav Bose" userId="a3480f76-fe68-4c03-a922-c4aa16f9bb6b" providerId="ADAL" clId="{DBB6B645-C36E-4B21-9704-373E2A71DC5E}" dt="2020-07-02T05:37:53.449" v="9754" actId="113"/>
          <ac:spMkLst>
            <pc:docMk/>
            <pc:sldMk cId="1290840724" sldId="141169101"/>
            <ac:spMk id="14" creationId="{40044A6A-7782-44C6-A2BA-5CC97027D0B6}"/>
          </ac:spMkLst>
        </pc:spChg>
        <pc:spChg chg="mod">
          <ac:chgData name="Sourav Bose" userId="a3480f76-fe68-4c03-a922-c4aa16f9bb6b" providerId="ADAL" clId="{DBB6B645-C36E-4B21-9704-373E2A71DC5E}" dt="2020-07-02T05:36:42" v="9718" actId="113"/>
          <ac:spMkLst>
            <pc:docMk/>
            <pc:sldMk cId="1290840724" sldId="141169101"/>
            <ac:spMk id="20" creationId="{49414D50-800E-46BC-AD50-A8BD5AF280C3}"/>
          </ac:spMkLst>
        </pc:spChg>
        <pc:spChg chg="mod">
          <ac:chgData name="Sourav Bose" userId="a3480f76-fe68-4c03-a922-c4aa16f9bb6b" providerId="ADAL" clId="{DBB6B645-C36E-4B21-9704-373E2A71DC5E}" dt="2020-07-02T05:34:48.418" v="9691" actId="1037"/>
          <ac:spMkLst>
            <pc:docMk/>
            <pc:sldMk cId="1290840724" sldId="141169101"/>
            <ac:spMk id="21" creationId="{EB699588-5711-4C44-8FB9-140DA342ABE6}"/>
          </ac:spMkLst>
        </pc:spChg>
        <pc:grpChg chg="del">
          <ac:chgData name="Sourav Bose" userId="a3480f76-fe68-4c03-a922-c4aa16f9bb6b" providerId="ADAL" clId="{DBB6B645-C36E-4B21-9704-373E2A71DC5E}" dt="2020-07-02T05:32:13.603" v="9414" actId="478"/>
          <ac:grpSpMkLst>
            <pc:docMk/>
            <pc:sldMk cId="1290840724" sldId="141169101"/>
            <ac:grpSpMk id="4" creationId="{4A63B5BA-9648-42C2-B23C-AC931D474494}"/>
          </ac:grpSpMkLst>
        </pc:grpChg>
        <pc:grpChg chg="mod">
          <ac:chgData name="Sourav Bose" userId="a3480f76-fe68-4c03-a922-c4aa16f9bb6b" providerId="ADAL" clId="{DBB6B645-C36E-4B21-9704-373E2A71DC5E}" dt="2020-07-02T05:34:53.360" v="9702" actId="1037"/>
          <ac:grpSpMkLst>
            <pc:docMk/>
            <pc:sldMk cId="1290840724" sldId="141169101"/>
            <ac:grpSpMk id="5" creationId="{F546E3B6-73AE-4037-B36E-5A3499523D15}"/>
          </ac:grpSpMkLst>
        </pc:grpChg>
        <pc:grpChg chg="add">
          <ac:chgData name="Sourav Bose" userId="a3480f76-fe68-4c03-a922-c4aa16f9bb6b" providerId="ADAL" clId="{DBB6B645-C36E-4B21-9704-373E2A71DC5E}" dt="2020-07-02T05:32:23.870" v="9416"/>
          <ac:grpSpMkLst>
            <pc:docMk/>
            <pc:sldMk cId="1290840724" sldId="141169101"/>
            <ac:grpSpMk id="13" creationId="{0C13B416-ECEF-4333-A228-956806D5685A}"/>
          </ac:grpSpMkLst>
        </pc:grpChg>
      </pc:sldChg>
      <pc:sldChg chg="addSp delSp modSp add">
        <pc:chgData name="Sourav Bose" userId="a3480f76-fe68-4c03-a922-c4aa16f9bb6b" providerId="ADAL" clId="{DBB6B645-C36E-4B21-9704-373E2A71DC5E}" dt="2020-07-03T08:25:15.883" v="30525" actId="20577"/>
        <pc:sldMkLst>
          <pc:docMk/>
          <pc:sldMk cId="2941672314" sldId="141169102"/>
        </pc:sldMkLst>
        <pc:spChg chg="mod">
          <ac:chgData name="Sourav Bose" userId="a3480f76-fe68-4c03-a922-c4aa16f9bb6b" providerId="ADAL" clId="{DBB6B645-C36E-4B21-9704-373E2A71DC5E}" dt="2020-07-03T05:40:53.084" v="27581" actId="20577"/>
          <ac:spMkLst>
            <pc:docMk/>
            <pc:sldMk cId="2941672314" sldId="141169102"/>
            <ac:spMk id="2" creationId="{8ED9B050-75C3-48E4-8D86-71D4E1F121F9}"/>
          </ac:spMkLst>
        </pc:spChg>
        <pc:spChg chg="add mod topLvl">
          <ac:chgData name="Sourav Bose" userId="a3480f76-fe68-4c03-a922-c4aa16f9bb6b" providerId="ADAL" clId="{DBB6B645-C36E-4B21-9704-373E2A71DC5E}" dt="2020-07-03T08:25:10.136" v="30523" actId="20577"/>
          <ac:spMkLst>
            <pc:docMk/>
            <pc:sldMk cId="2941672314" sldId="141169102"/>
            <ac:spMk id="3" creationId="{0D14A42C-0681-4DB3-8489-1A599EC850D6}"/>
          </ac:spMkLst>
        </pc:spChg>
        <pc:spChg chg="add mod ord topLvl">
          <ac:chgData name="Sourav Bose" userId="a3480f76-fe68-4c03-a922-c4aa16f9bb6b" providerId="ADAL" clId="{DBB6B645-C36E-4B21-9704-373E2A71DC5E}" dt="2020-07-03T05:56:33.799" v="27843" actId="1035"/>
          <ac:spMkLst>
            <pc:docMk/>
            <pc:sldMk cId="2941672314" sldId="141169102"/>
            <ac:spMk id="4" creationId="{32FCC754-9EF9-4F77-BC68-A1DBDA81C057}"/>
          </ac:spMkLst>
        </pc:spChg>
        <pc:spChg chg="add mod topLvl">
          <ac:chgData name="Sourav Bose" userId="a3480f76-fe68-4c03-a922-c4aa16f9bb6b" providerId="ADAL" clId="{DBB6B645-C36E-4B21-9704-373E2A71DC5E}" dt="2020-07-03T08:25:15.883" v="30525" actId="20577"/>
          <ac:spMkLst>
            <pc:docMk/>
            <pc:sldMk cId="2941672314" sldId="141169102"/>
            <ac:spMk id="5" creationId="{5200661F-BC05-4451-82B4-20487550ADE5}"/>
          </ac:spMkLst>
        </pc:spChg>
        <pc:spChg chg="add mod ord topLvl">
          <ac:chgData name="Sourav Bose" userId="a3480f76-fe68-4c03-a922-c4aa16f9bb6b" providerId="ADAL" clId="{DBB6B645-C36E-4B21-9704-373E2A71DC5E}" dt="2020-07-03T05:56:33.799" v="27843" actId="1035"/>
          <ac:spMkLst>
            <pc:docMk/>
            <pc:sldMk cId="2941672314" sldId="141169102"/>
            <ac:spMk id="6" creationId="{A432BC00-82B6-4168-A2CF-BC6BFB35E174}"/>
          </ac:spMkLst>
        </pc:spChg>
        <pc:spChg chg="add del mod">
          <ac:chgData name="Sourav Bose" userId="a3480f76-fe68-4c03-a922-c4aa16f9bb6b" providerId="ADAL" clId="{DBB6B645-C36E-4B21-9704-373E2A71DC5E}" dt="2020-07-02T09:16:32.395" v="13299" actId="478"/>
          <ac:spMkLst>
            <pc:docMk/>
            <pc:sldMk cId="2941672314" sldId="141169102"/>
            <ac:spMk id="7" creationId="{5051C41A-6D06-4364-B96C-3B784392ECB0}"/>
          </ac:spMkLst>
        </pc:spChg>
        <pc:spChg chg="add del mod">
          <ac:chgData name="Sourav Bose" userId="a3480f76-fe68-4c03-a922-c4aa16f9bb6b" providerId="ADAL" clId="{DBB6B645-C36E-4B21-9704-373E2A71DC5E}" dt="2020-07-02T09:16:35.652" v="13300" actId="478"/>
          <ac:spMkLst>
            <pc:docMk/>
            <pc:sldMk cId="2941672314" sldId="141169102"/>
            <ac:spMk id="8" creationId="{E2CB6DDC-397B-4494-A853-F77FF3D24730}"/>
          </ac:spMkLst>
        </pc:spChg>
        <pc:spChg chg="mod">
          <ac:chgData name="Sourav Bose" userId="a3480f76-fe68-4c03-a922-c4aa16f9bb6b" providerId="ADAL" clId="{DBB6B645-C36E-4B21-9704-373E2A71DC5E}" dt="2020-07-02T09:22:17.723" v="13645" actId="164"/>
          <ac:spMkLst>
            <pc:docMk/>
            <pc:sldMk cId="2941672314" sldId="141169102"/>
            <ac:spMk id="10" creationId="{2922A066-BCBD-4797-B798-A4219F7C575C}"/>
          </ac:spMkLst>
        </pc:spChg>
        <pc:spChg chg="del">
          <ac:chgData name="Sourav Bose" userId="a3480f76-fe68-4c03-a922-c4aa16f9bb6b" providerId="ADAL" clId="{DBB6B645-C36E-4B21-9704-373E2A71DC5E}" dt="2020-07-02T09:20:45.054" v="13604" actId="478"/>
          <ac:spMkLst>
            <pc:docMk/>
            <pc:sldMk cId="2941672314" sldId="141169102"/>
            <ac:spMk id="12" creationId="{5AABAC0A-0B39-40C2-A614-8DACD3E0672F}"/>
          </ac:spMkLst>
        </pc:spChg>
        <pc:spChg chg="del mod">
          <ac:chgData name="Sourav Bose" userId="a3480f76-fe68-4c03-a922-c4aa16f9bb6b" providerId="ADAL" clId="{DBB6B645-C36E-4B21-9704-373E2A71DC5E}" dt="2020-07-02T09:20:47.531" v="13605" actId="478"/>
          <ac:spMkLst>
            <pc:docMk/>
            <pc:sldMk cId="2941672314" sldId="141169102"/>
            <ac:spMk id="13" creationId="{DA8F5676-A877-437B-95B0-8861F47DE044}"/>
          </ac:spMkLst>
        </pc:spChg>
        <pc:spChg chg="add mod">
          <ac:chgData name="Sourav Bose" userId="a3480f76-fe68-4c03-a922-c4aa16f9bb6b" providerId="ADAL" clId="{DBB6B645-C36E-4B21-9704-373E2A71DC5E}" dt="2020-07-03T05:56:33.799" v="27843" actId="1035"/>
          <ac:spMkLst>
            <pc:docMk/>
            <pc:sldMk cId="2941672314" sldId="141169102"/>
            <ac:spMk id="28" creationId="{E86F0D0E-35DA-44C1-BD28-044C24927492}"/>
          </ac:spMkLst>
        </pc:spChg>
        <pc:spChg chg="add mod">
          <ac:chgData name="Sourav Bose" userId="a3480f76-fe68-4c03-a922-c4aa16f9bb6b" providerId="ADAL" clId="{DBB6B645-C36E-4B21-9704-373E2A71DC5E}" dt="2020-07-03T05:56:33.799" v="27843" actId="1035"/>
          <ac:spMkLst>
            <pc:docMk/>
            <pc:sldMk cId="2941672314" sldId="141169102"/>
            <ac:spMk id="29" creationId="{582B1F0F-26B5-4E65-9182-D5E96B2FD79F}"/>
          </ac:spMkLst>
        </pc:spChg>
        <pc:spChg chg="add del mod">
          <ac:chgData name="Sourav Bose" userId="a3480f76-fe68-4c03-a922-c4aa16f9bb6b" providerId="ADAL" clId="{DBB6B645-C36E-4B21-9704-373E2A71DC5E}" dt="2020-07-03T03:08:04.001" v="22141" actId="478"/>
          <ac:spMkLst>
            <pc:docMk/>
            <pc:sldMk cId="2941672314" sldId="141169102"/>
            <ac:spMk id="36" creationId="{73834912-8E69-4411-BC0C-32992A6D1D57}"/>
          </ac:spMkLst>
        </pc:spChg>
        <pc:spChg chg="add del">
          <ac:chgData name="Sourav Bose" userId="a3480f76-fe68-4c03-a922-c4aa16f9bb6b" providerId="ADAL" clId="{DBB6B645-C36E-4B21-9704-373E2A71DC5E}" dt="2020-07-02T09:20:22.466" v="13601"/>
          <ac:spMkLst>
            <pc:docMk/>
            <pc:sldMk cId="2941672314" sldId="141169102"/>
            <ac:spMk id="36" creationId="{D8F5F8D2-ED08-437E-901D-727C52E00378}"/>
          </ac:spMkLst>
        </pc:spChg>
        <pc:spChg chg="add mod">
          <ac:chgData name="Sourav Bose" userId="a3480f76-fe68-4c03-a922-c4aa16f9bb6b" providerId="ADAL" clId="{DBB6B645-C36E-4B21-9704-373E2A71DC5E}" dt="2020-07-02T09:22:17.723" v="13645" actId="164"/>
          <ac:spMkLst>
            <pc:docMk/>
            <pc:sldMk cId="2941672314" sldId="141169102"/>
            <ac:spMk id="38" creationId="{44B88187-8D69-407A-A3C6-652EC649589F}"/>
          </ac:spMkLst>
        </pc:spChg>
        <pc:spChg chg="mod topLvl">
          <ac:chgData name="Sourav Bose" userId="a3480f76-fe68-4c03-a922-c4aa16f9bb6b" providerId="ADAL" clId="{DBB6B645-C36E-4B21-9704-373E2A71DC5E}" dt="2020-07-02T09:23:35.305" v="13692" actId="164"/>
          <ac:spMkLst>
            <pc:docMk/>
            <pc:sldMk cId="2941672314" sldId="141169102"/>
            <ac:spMk id="41" creationId="{60AC1638-4BFC-4125-BCFB-0EE8B3DD6AD9}"/>
          </ac:spMkLst>
        </pc:spChg>
        <pc:spChg chg="del topLvl">
          <ac:chgData name="Sourav Bose" userId="a3480f76-fe68-4c03-a922-c4aa16f9bb6b" providerId="ADAL" clId="{DBB6B645-C36E-4B21-9704-373E2A71DC5E}" dt="2020-07-02T09:22:53.196" v="13655" actId="478"/>
          <ac:spMkLst>
            <pc:docMk/>
            <pc:sldMk cId="2941672314" sldId="141169102"/>
            <ac:spMk id="42" creationId="{158EEFA2-8C15-435D-B5B4-DBFF9EBAF064}"/>
          </ac:spMkLst>
        </pc:spChg>
        <pc:grpChg chg="add del mod topLvl">
          <ac:chgData name="Sourav Bose" userId="a3480f76-fe68-4c03-a922-c4aa16f9bb6b" providerId="ADAL" clId="{DBB6B645-C36E-4B21-9704-373E2A71DC5E}" dt="2020-07-02T09:20:47.531" v="13605" actId="478"/>
          <ac:grpSpMkLst>
            <pc:docMk/>
            <pc:sldMk cId="2941672314" sldId="141169102"/>
            <ac:grpSpMk id="9" creationId="{5A30D635-E422-4315-A82C-6AD5A1F25457}"/>
          </ac:grpSpMkLst>
        </pc:grpChg>
        <pc:grpChg chg="del mod">
          <ac:chgData name="Sourav Bose" userId="a3480f76-fe68-4c03-a922-c4aa16f9bb6b" providerId="ADAL" clId="{DBB6B645-C36E-4B21-9704-373E2A71DC5E}" dt="2020-07-02T09:20:45.054" v="13604" actId="478"/>
          <ac:grpSpMkLst>
            <pc:docMk/>
            <pc:sldMk cId="2941672314" sldId="141169102"/>
            <ac:grpSpMk id="11" creationId="{E4146D12-ECFE-45DC-B089-CCC3DD923DBE}"/>
          </ac:grpSpMkLst>
        </pc:grpChg>
        <pc:grpChg chg="add del mod topLvl">
          <ac:chgData name="Sourav Bose" userId="a3480f76-fe68-4c03-a922-c4aa16f9bb6b" providerId="ADAL" clId="{DBB6B645-C36E-4B21-9704-373E2A71DC5E}" dt="2020-07-02T09:22:31.796" v="13649" actId="478"/>
          <ac:grpSpMkLst>
            <pc:docMk/>
            <pc:sldMk cId="2941672314" sldId="141169102"/>
            <ac:grpSpMk id="14" creationId="{F7408F0F-4AD8-4767-B24A-A5C1C66CADE0}"/>
          </ac:grpSpMkLst>
        </pc:grpChg>
        <pc:grpChg chg="mod">
          <ac:chgData name="Sourav Bose" userId="a3480f76-fe68-4c03-a922-c4aa16f9bb6b" providerId="ADAL" clId="{DBB6B645-C36E-4B21-9704-373E2A71DC5E}" dt="2020-07-02T09:21:03.374" v="13629" actId="1036"/>
          <ac:grpSpMkLst>
            <pc:docMk/>
            <pc:sldMk cId="2941672314" sldId="141169102"/>
            <ac:grpSpMk id="16" creationId="{EAF515D4-BD68-4ABC-B943-EDA65C2C70EB}"/>
          </ac:grpSpMkLst>
        </pc:grpChg>
        <pc:grpChg chg="add del mod">
          <ac:chgData name="Sourav Bose" userId="a3480f76-fe68-4c03-a922-c4aa16f9bb6b" providerId="ADAL" clId="{DBB6B645-C36E-4B21-9704-373E2A71DC5E}" dt="2020-07-02T09:19:51.139" v="13595" actId="165"/>
          <ac:grpSpMkLst>
            <pc:docMk/>
            <pc:sldMk cId="2941672314" sldId="141169102"/>
            <ac:grpSpMk id="27" creationId="{D32A9950-DEE3-4715-A4F4-87592EDDE1AC}"/>
          </ac:grpSpMkLst>
        </pc:grpChg>
        <pc:grpChg chg="add mod">
          <ac:chgData name="Sourav Bose" userId="a3480f76-fe68-4c03-a922-c4aa16f9bb6b" providerId="ADAL" clId="{DBB6B645-C36E-4B21-9704-373E2A71DC5E}" dt="2020-07-03T05:56:33.799" v="27843" actId="1035"/>
          <ac:grpSpMkLst>
            <pc:docMk/>
            <pc:sldMk cId="2941672314" sldId="141169102"/>
            <ac:grpSpMk id="39" creationId="{0AF36BF8-8231-40C9-932A-AEB65B2BDA4E}"/>
          </ac:grpSpMkLst>
        </pc:grpChg>
        <pc:grpChg chg="add del mod">
          <ac:chgData name="Sourav Bose" userId="a3480f76-fe68-4c03-a922-c4aa16f9bb6b" providerId="ADAL" clId="{DBB6B645-C36E-4B21-9704-373E2A71DC5E}" dt="2020-07-02T09:22:53.196" v="13655" actId="478"/>
          <ac:grpSpMkLst>
            <pc:docMk/>
            <pc:sldMk cId="2941672314" sldId="141169102"/>
            <ac:grpSpMk id="40" creationId="{604A819E-39E5-4F6F-9597-FB9CBE7B47FF}"/>
          </ac:grpSpMkLst>
        </pc:grpChg>
        <pc:grpChg chg="add mod">
          <ac:chgData name="Sourav Bose" userId="a3480f76-fe68-4c03-a922-c4aa16f9bb6b" providerId="ADAL" clId="{DBB6B645-C36E-4B21-9704-373E2A71DC5E}" dt="2020-07-03T05:56:33.799" v="27843" actId="1035"/>
          <ac:grpSpMkLst>
            <pc:docMk/>
            <pc:sldMk cId="2941672314" sldId="141169102"/>
            <ac:grpSpMk id="43" creationId="{BF6EC0B9-6B78-4EFC-8B4E-B3C9C4E435BE}"/>
          </ac:grpSpMkLst>
        </pc:grpChg>
        <pc:grpChg chg="add mod">
          <ac:chgData name="Sourav Bose" userId="a3480f76-fe68-4c03-a922-c4aa16f9bb6b" providerId="ADAL" clId="{DBB6B645-C36E-4B21-9704-373E2A71DC5E}" dt="2020-07-03T05:56:33.799" v="27843" actId="1035"/>
          <ac:grpSpMkLst>
            <pc:docMk/>
            <pc:sldMk cId="2941672314" sldId="141169102"/>
            <ac:grpSpMk id="59" creationId="{CC5DA652-0756-4B8B-BC8A-87E34E15FE66}"/>
          </ac:grpSpMkLst>
        </pc:grpChg>
        <pc:picChg chg="add del mod">
          <ac:chgData name="Sourav Bose" userId="a3480f76-fe68-4c03-a922-c4aa16f9bb6b" providerId="ADAL" clId="{DBB6B645-C36E-4B21-9704-373E2A71DC5E}" dt="2020-07-02T09:21:31.941" v="13635" actId="478"/>
          <ac:picMkLst>
            <pc:docMk/>
            <pc:sldMk cId="2941672314" sldId="141169102"/>
            <ac:picMk id="37" creationId="{A2C8F823-88EA-448D-B064-CE7E423B6F98}"/>
          </ac:picMkLst>
        </pc:picChg>
        <pc:cxnChg chg="add mod topLvl">
          <ac:chgData name="Sourav Bose" userId="a3480f76-fe68-4c03-a922-c4aa16f9bb6b" providerId="ADAL" clId="{DBB6B645-C36E-4B21-9704-373E2A71DC5E}" dt="2020-07-03T05:56:33.799" v="27843" actId="1035"/>
          <ac:cxnSpMkLst>
            <pc:docMk/>
            <pc:sldMk cId="2941672314" sldId="141169102"/>
            <ac:cxnSpMk id="21" creationId="{E131E0FD-AD5E-4CEF-926E-EE2B3C3CFA4E}"/>
          </ac:cxnSpMkLst>
        </pc:cxnChg>
        <pc:cxnChg chg="add del mod topLvl">
          <ac:chgData name="Sourav Bose" userId="a3480f76-fe68-4c03-a922-c4aa16f9bb6b" providerId="ADAL" clId="{DBB6B645-C36E-4B21-9704-373E2A71DC5E}" dt="2020-07-03T03:09:14.627" v="22303" actId="478"/>
          <ac:cxnSpMkLst>
            <pc:docMk/>
            <pc:sldMk cId="2941672314" sldId="141169102"/>
            <ac:cxnSpMk id="22" creationId="{7A19955A-8884-4E79-B027-1AE3129EB9C6}"/>
          </ac:cxnSpMkLst>
        </pc:cxnChg>
        <pc:cxnChg chg="add mod topLvl">
          <ac:chgData name="Sourav Bose" userId="a3480f76-fe68-4c03-a922-c4aa16f9bb6b" providerId="ADAL" clId="{DBB6B645-C36E-4B21-9704-373E2A71DC5E}" dt="2020-07-03T05:56:33.799" v="27843" actId="1035"/>
          <ac:cxnSpMkLst>
            <pc:docMk/>
            <pc:sldMk cId="2941672314" sldId="141169102"/>
            <ac:cxnSpMk id="23" creationId="{35431F59-B0C4-4AD2-89E1-760B33EFB1A1}"/>
          </ac:cxnSpMkLst>
        </pc:cxnChg>
        <pc:cxnChg chg="add del mod topLvl">
          <ac:chgData name="Sourav Bose" userId="a3480f76-fe68-4c03-a922-c4aa16f9bb6b" providerId="ADAL" clId="{DBB6B645-C36E-4B21-9704-373E2A71DC5E}" dt="2020-07-03T03:09:51.612" v="22458" actId="478"/>
          <ac:cxnSpMkLst>
            <pc:docMk/>
            <pc:sldMk cId="2941672314" sldId="141169102"/>
            <ac:cxnSpMk id="24" creationId="{DEC14460-64CA-42FD-9719-EDDF3E4D7DE1}"/>
          </ac:cxnSpMkLst>
        </pc:cxnChg>
        <pc:cxnChg chg="add mod topLvl">
          <ac:chgData name="Sourav Bose" userId="a3480f76-fe68-4c03-a922-c4aa16f9bb6b" providerId="ADAL" clId="{DBB6B645-C36E-4B21-9704-373E2A71DC5E}" dt="2020-07-03T05:56:33.799" v="27843" actId="1035"/>
          <ac:cxnSpMkLst>
            <pc:docMk/>
            <pc:sldMk cId="2941672314" sldId="141169102"/>
            <ac:cxnSpMk id="25" creationId="{4A2B96EC-1147-4862-A84B-45AD27F2EABF}"/>
          </ac:cxnSpMkLst>
        </pc:cxnChg>
        <pc:cxnChg chg="add mod topLvl">
          <ac:chgData name="Sourav Bose" userId="a3480f76-fe68-4c03-a922-c4aa16f9bb6b" providerId="ADAL" clId="{DBB6B645-C36E-4B21-9704-373E2A71DC5E}" dt="2020-07-03T05:56:33.799" v="27843" actId="1035"/>
          <ac:cxnSpMkLst>
            <pc:docMk/>
            <pc:sldMk cId="2941672314" sldId="141169102"/>
            <ac:cxnSpMk id="26" creationId="{F306F29C-5AC3-4293-8C14-2A6C82CABA8A}"/>
          </ac:cxnSpMkLst>
        </pc:cxnChg>
        <pc:cxnChg chg="add del mod">
          <ac:chgData name="Sourav Bose" userId="a3480f76-fe68-4c03-a922-c4aa16f9bb6b" providerId="ADAL" clId="{DBB6B645-C36E-4B21-9704-373E2A71DC5E}" dt="2020-07-03T03:53:42.611" v="24097" actId="478"/>
          <ac:cxnSpMkLst>
            <pc:docMk/>
            <pc:sldMk cId="2941672314" sldId="141169102"/>
            <ac:cxnSpMk id="37" creationId="{7845A27C-FDCB-4228-A00D-E393B71F53A7}"/>
          </ac:cxnSpMkLst>
        </pc:cxnChg>
        <pc:cxnChg chg="add del mod">
          <ac:chgData name="Sourav Bose" userId="a3480f76-fe68-4c03-a922-c4aa16f9bb6b" providerId="ADAL" clId="{DBB6B645-C36E-4B21-9704-373E2A71DC5E}" dt="2020-07-03T03:20:38.265" v="22973" actId="478"/>
          <ac:cxnSpMkLst>
            <pc:docMk/>
            <pc:sldMk cId="2941672314" sldId="141169102"/>
            <ac:cxnSpMk id="40" creationId="{36D1959A-7CE8-4A5D-AB82-04EB12C8929F}"/>
          </ac:cxnSpMkLst>
        </pc:cxnChg>
        <pc:cxnChg chg="add mod">
          <ac:chgData name="Sourav Bose" userId="a3480f76-fe68-4c03-a922-c4aa16f9bb6b" providerId="ADAL" clId="{DBB6B645-C36E-4B21-9704-373E2A71DC5E}" dt="2020-07-03T05:56:38.026" v="27857" actId="1036"/>
          <ac:cxnSpMkLst>
            <pc:docMk/>
            <pc:sldMk cId="2941672314" sldId="141169102"/>
            <ac:cxnSpMk id="42" creationId="{A51E4351-F76A-4CCF-B2A5-0F03A1926152}"/>
          </ac:cxnSpMkLst>
        </pc:cxnChg>
        <pc:cxnChg chg="add mod">
          <ac:chgData name="Sourav Bose" userId="a3480f76-fe68-4c03-a922-c4aa16f9bb6b" providerId="ADAL" clId="{DBB6B645-C36E-4B21-9704-373E2A71DC5E}" dt="2020-07-03T05:56:33.799" v="27843" actId="1035"/>
          <ac:cxnSpMkLst>
            <pc:docMk/>
            <pc:sldMk cId="2941672314" sldId="141169102"/>
            <ac:cxnSpMk id="60" creationId="{96E26C24-0C45-4FA1-AFBF-41922A76A61D}"/>
          </ac:cxnSpMkLst>
        </pc:cxnChg>
      </pc:sldChg>
      <pc:sldChg chg="modSp">
        <pc:chgData name="Sourav Bose" userId="a3480f76-fe68-4c03-a922-c4aa16f9bb6b" providerId="ADAL" clId="{DBB6B645-C36E-4B21-9704-373E2A71DC5E}" dt="2020-07-03T08:34:50.212" v="30913" actId="20577"/>
        <pc:sldMkLst>
          <pc:docMk/>
          <pc:sldMk cId="159966206" sldId="141169103"/>
        </pc:sldMkLst>
        <pc:spChg chg="mod">
          <ac:chgData name="Sourav Bose" userId="a3480f76-fe68-4c03-a922-c4aa16f9bb6b" providerId="ADAL" clId="{DBB6B645-C36E-4B21-9704-373E2A71DC5E}" dt="2020-07-03T08:34:16.784" v="30907" actId="20577"/>
          <ac:spMkLst>
            <pc:docMk/>
            <pc:sldMk cId="159966206" sldId="141169103"/>
            <ac:spMk id="4" creationId="{E47C7D35-FAEB-4C49-9952-268184C6A568}"/>
          </ac:spMkLst>
        </pc:spChg>
        <pc:spChg chg="mod">
          <ac:chgData name="Sourav Bose" userId="a3480f76-fe68-4c03-a922-c4aa16f9bb6b" providerId="ADAL" clId="{DBB6B645-C36E-4B21-9704-373E2A71DC5E}" dt="2020-07-03T08:34:50.212" v="30913" actId="20577"/>
          <ac:spMkLst>
            <pc:docMk/>
            <pc:sldMk cId="159966206" sldId="141169103"/>
            <ac:spMk id="7" creationId="{8CFAE103-B533-4B65-A347-E43FA67A3917}"/>
          </ac:spMkLst>
        </pc:spChg>
      </pc:sldChg>
      <pc:sldChg chg="addSp modSp add del">
        <pc:chgData name="Sourav Bose" userId="a3480f76-fe68-4c03-a922-c4aa16f9bb6b" providerId="ADAL" clId="{DBB6B645-C36E-4B21-9704-373E2A71DC5E}" dt="2020-07-03T04:02:48.646" v="24601" actId="2696"/>
        <pc:sldMkLst>
          <pc:docMk/>
          <pc:sldMk cId="2948193161" sldId="141169103"/>
        </pc:sldMkLst>
        <pc:spChg chg="mod">
          <ac:chgData name="Sourav Bose" userId="a3480f76-fe68-4c03-a922-c4aa16f9bb6b" providerId="ADAL" clId="{DBB6B645-C36E-4B21-9704-373E2A71DC5E}" dt="2020-07-02T09:25:13.811" v="13697"/>
          <ac:spMkLst>
            <pc:docMk/>
            <pc:sldMk cId="2948193161" sldId="141169103"/>
            <ac:spMk id="2" creationId="{4482F414-64FF-4D5F-9A21-B78191E283D3}"/>
          </ac:spMkLst>
        </pc:spChg>
        <pc:spChg chg="mod">
          <ac:chgData name="Sourav Bose" userId="a3480f76-fe68-4c03-a922-c4aa16f9bb6b" providerId="ADAL" clId="{DBB6B645-C36E-4B21-9704-373E2A71DC5E}" dt="2020-07-02T09:30:45.723" v="13918" actId="14100"/>
          <ac:spMkLst>
            <pc:docMk/>
            <pc:sldMk cId="2948193161" sldId="141169103"/>
            <ac:spMk id="4" creationId="{E47C7D35-FAEB-4C49-9952-268184C6A568}"/>
          </ac:spMkLst>
        </pc:spChg>
        <pc:spChg chg="mod">
          <ac:chgData name="Sourav Bose" userId="a3480f76-fe68-4c03-a922-c4aa16f9bb6b" providerId="ADAL" clId="{DBB6B645-C36E-4B21-9704-373E2A71DC5E}" dt="2020-07-02T09:27:40.778" v="13830" actId="14100"/>
          <ac:spMkLst>
            <pc:docMk/>
            <pc:sldMk cId="2948193161" sldId="141169103"/>
            <ac:spMk id="5" creationId="{E6AFCDA9-A5B7-48B9-8593-26B9BCC7B36D}"/>
          </ac:spMkLst>
        </pc:spChg>
        <pc:spChg chg="mod">
          <ac:chgData name="Sourav Bose" userId="a3480f76-fe68-4c03-a922-c4aa16f9bb6b" providerId="ADAL" clId="{DBB6B645-C36E-4B21-9704-373E2A71DC5E}" dt="2020-07-02T09:30:30.617" v="13916" actId="14100"/>
          <ac:spMkLst>
            <pc:docMk/>
            <pc:sldMk cId="2948193161" sldId="141169103"/>
            <ac:spMk id="7" creationId="{8CFAE103-B533-4B65-A347-E43FA67A3917}"/>
          </ac:spMkLst>
        </pc:spChg>
        <pc:spChg chg="mod">
          <ac:chgData name="Sourav Bose" userId="a3480f76-fe68-4c03-a922-c4aa16f9bb6b" providerId="ADAL" clId="{DBB6B645-C36E-4B21-9704-373E2A71DC5E}" dt="2020-07-02T09:28:20.633" v="13834" actId="14100"/>
          <ac:spMkLst>
            <pc:docMk/>
            <pc:sldMk cId="2948193161" sldId="141169103"/>
            <ac:spMk id="8" creationId="{21DD0FB4-7123-44E4-BA21-DE20308DEFD8}"/>
          </ac:spMkLst>
        </pc:spChg>
        <pc:spChg chg="mod">
          <ac:chgData name="Sourav Bose" userId="a3480f76-fe68-4c03-a922-c4aa16f9bb6b" providerId="ADAL" clId="{DBB6B645-C36E-4B21-9704-373E2A71DC5E}" dt="2020-07-02T09:30:39.260" v="13917" actId="14100"/>
          <ac:spMkLst>
            <pc:docMk/>
            <pc:sldMk cId="2948193161" sldId="141169103"/>
            <ac:spMk id="10" creationId="{54FC093E-404C-463A-B471-A161838566B1}"/>
          </ac:spMkLst>
        </pc:spChg>
        <pc:spChg chg="mod">
          <ac:chgData name="Sourav Bose" userId="a3480f76-fe68-4c03-a922-c4aa16f9bb6b" providerId="ADAL" clId="{DBB6B645-C36E-4B21-9704-373E2A71DC5E}" dt="2020-07-02T09:27:53.178" v="13832" actId="14100"/>
          <ac:spMkLst>
            <pc:docMk/>
            <pc:sldMk cId="2948193161" sldId="141169103"/>
            <ac:spMk id="11" creationId="{D2D29DE8-01AF-480C-A0E5-49D748470F5F}"/>
          </ac:spMkLst>
        </pc:spChg>
        <pc:spChg chg="add mod ord">
          <ac:chgData name="Sourav Bose" userId="a3480f76-fe68-4c03-a922-c4aa16f9bb6b" providerId="ADAL" clId="{DBB6B645-C36E-4B21-9704-373E2A71DC5E}" dt="2020-07-02T09:31:34.699" v="13959" actId="207"/>
          <ac:spMkLst>
            <pc:docMk/>
            <pc:sldMk cId="2948193161" sldId="141169103"/>
            <ac:spMk id="12" creationId="{D8DF632A-C0EE-4C4E-9413-0431DC305F56}"/>
          </ac:spMkLst>
        </pc:spChg>
        <pc:grpChg chg="add mod">
          <ac:chgData name="Sourav Bose" userId="a3480f76-fe68-4c03-a922-c4aa16f9bb6b" providerId="ADAL" clId="{DBB6B645-C36E-4B21-9704-373E2A71DC5E}" dt="2020-07-02T09:31:13.670" v="13957" actId="1035"/>
          <ac:grpSpMkLst>
            <pc:docMk/>
            <pc:sldMk cId="2948193161" sldId="141169103"/>
            <ac:grpSpMk id="3" creationId="{C23A8B75-ECB4-4257-91EE-33D491678490}"/>
          </ac:grpSpMkLst>
        </pc:grpChg>
        <pc:grpChg chg="add mod">
          <ac:chgData name="Sourav Bose" userId="a3480f76-fe68-4c03-a922-c4aa16f9bb6b" providerId="ADAL" clId="{DBB6B645-C36E-4B21-9704-373E2A71DC5E}" dt="2020-07-02T09:31:13.670" v="13957" actId="1035"/>
          <ac:grpSpMkLst>
            <pc:docMk/>
            <pc:sldMk cId="2948193161" sldId="141169103"/>
            <ac:grpSpMk id="6" creationId="{2ED3715D-9994-48E8-9C80-68D1A8122909}"/>
          </ac:grpSpMkLst>
        </pc:grpChg>
        <pc:grpChg chg="add mod">
          <ac:chgData name="Sourav Bose" userId="a3480f76-fe68-4c03-a922-c4aa16f9bb6b" providerId="ADAL" clId="{DBB6B645-C36E-4B21-9704-373E2A71DC5E}" dt="2020-07-02T09:31:13.670" v="13957" actId="1035"/>
          <ac:grpSpMkLst>
            <pc:docMk/>
            <pc:sldMk cId="2948193161" sldId="141169103"/>
            <ac:grpSpMk id="9" creationId="{2C53B4C4-D31E-4386-B8E7-A24AC48624FC}"/>
          </ac:grpSpMkLst>
        </pc:grpChg>
      </pc:sldChg>
      <pc:sldChg chg="modSp add del">
        <pc:chgData name="Sourav Bose" userId="a3480f76-fe68-4c03-a922-c4aa16f9bb6b" providerId="ADAL" clId="{DBB6B645-C36E-4B21-9704-373E2A71DC5E}" dt="2020-07-03T04:02:48.662" v="24602" actId="2696"/>
        <pc:sldMkLst>
          <pc:docMk/>
          <pc:sldMk cId="934953692" sldId="141169104"/>
        </pc:sldMkLst>
        <pc:spChg chg="mod">
          <ac:chgData name="Sourav Bose" userId="a3480f76-fe68-4c03-a922-c4aa16f9bb6b" providerId="ADAL" clId="{DBB6B645-C36E-4B21-9704-373E2A71DC5E}" dt="2020-07-02T09:34:33.763" v="13974" actId="14100"/>
          <ac:spMkLst>
            <pc:docMk/>
            <pc:sldMk cId="934953692" sldId="141169104"/>
            <ac:spMk id="4" creationId="{E47C7D35-FAEB-4C49-9952-268184C6A568}"/>
          </ac:spMkLst>
        </pc:spChg>
        <pc:spChg chg="mod">
          <ac:chgData name="Sourav Bose" userId="a3480f76-fe68-4c03-a922-c4aa16f9bb6b" providerId="ADAL" clId="{DBB6B645-C36E-4B21-9704-373E2A71DC5E}" dt="2020-07-02T09:33:19.675" v="13967"/>
          <ac:spMkLst>
            <pc:docMk/>
            <pc:sldMk cId="934953692" sldId="141169104"/>
            <ac:spMk id="5" creationId="{E6AFCDA9-A5B7-48B9-8593-26B9BCC7B36D}"/>
          </ac:spMkLst>
        </pc:spChg>
        <pc:spChg chg="mod">
          <ac:chgData name="Sourav Bose" userId="a3480f76-fe68-4c03-a922-c4aa16f9bb6b" providerId="ADAL" clId="{DBB6B645-C36E-4B21-9704-373E2A71DC5E}" dt="2020-07-02T09:34:21.843" v="13972" actId="14100"/>
          <ac:spMkLst>
            <pc:docMk/>
            <pc:sldMk cId="934953692" sldId="141169104"/>
            <ac:spMk id="7" creationId="{8CFAE103-B533-4B65-A347-E43FA67A3917}"/>
          </ac:spMkLst>
        </pc:spChg>
        <pc:spChg chg="mod">
          <ac:chgData name="Sourav Bose" userId="a3480f76-fe68-4c03-a922-c4aa16f9bb6b" providerId="ADAL" clId="{DBB6B645-C36E-4B21-9704-373E2A71DC5E}" dt="2020-07-02T09:33:39.954" v="13968"/>
          <ac:spMkLst>
            <pc:docMk/>
            <pc:sldMk cId="934953692" sldId="141169104"/>
            <ac:spMk id="8" creationId="{21DD0FB4-7123-44E4-BA21-DE20308DEFD8}"/>
          </ac:spMkLst>
        </pc:spChg>
        <pc:spChg chg="mod">
          <ac:chgData name="Sourav Bose" userId="a3480f76-fe68-4c03-a922-c4aa16f9bb6b" providerId="ADAL" clId="{DBB6B645-C36E-4B21-9704-373E2A71DC5E}" dt="2020-07-02T09:34:27.950" v="13973" actId="14100"/>
          <ac:spMkLst>
            <pc:docMk/>
            <pc:sldMk cId="934953692" sldId="141169104"/>
            <ac:spMk id="10" creationId="{54FC093E-404C-463A-B471-A161838566B1}"/>
          </ac:spMkLst>
        </pc:spChg>
        <pc:spChg chg="mod">
          <ac:chgData name="Sourav Bose" userId="a3480f76-fe68-4c03-a922-c4aa16f9bb6b" providerId="ADAL" clId="{DBB6B645-C36E-4B21-9704-373E2A71DC5E}" dt="2020-07-02T09:33:11.364" v="13966"/>
          <ac:spMkLst>
            <pc:docMk/>
            <pc:sldMk cId="934953692" sldId="141169104"/>
            <ac:spMk id="11" creationId="{D2D29DE8-01AF-480C-A0E5-49D748470F5F}"/>
          </ac:spMkLst>
        </pc:spChg>
        <pc:spChg chg="mod">
          <ac:chgData name="Sourav Bose" userId="a3480f76-fe68-4c03-a922-c4aa16f9bb6b" providerId="ADAL" clId="{DBB6B645-C36E-4B21-9704-373E2A71DC5E}" dt="2020-07-02T09:34:41.636" v="13975" actId="14100"/>
          <ac:spMkLst>
            <pc:docMk/>
            <pc:sldMk cId="934953692" sldId="141169104"/>
            <ac:spMk id="12" creationId="{D8DF632A-C0EE-4C4E-9413-0431DC305F56}"/>
          </ac:spMkLst>
        </pc:spChg>
        <pc:grpChg chg="mod">
          <ac:chgData name="Sourav Bose" userId="a3480f76-fe68-4c03-a922-c4aa16f9bb6b" providerId="ADAL" clId="{DBB6B645-C36E-4B21-9704-373E2A71DC5E}" dt="2020-07-02T09:33:51.488" v="13969" actId="14100"/>
          <ac:grpSpMkLst>
            <pc:docMk/>
            <pc:sldMk cId="934953692" sldId="141169104"/>
            <ac:grpSpMk id="6" creationId="{2ED3715D-9994-48E8-9C80-68D1A8122909}"/>
          </ac:grpSpMkLst>
        </pc:grpChg>
      </pc:sldChg>
      <pc:sldChg chg="modSp">
        <pc:chgData name="Sourav Bose" userId="a3480f76-fe68-4c03-a922-c4aa16f9bb6b" providerId="ADAL" clId="{DBB6B645-C36E-4B21-9704-373E2A71DC5E}" dt="2020-07-03T08:35:48.776" v="30933" actId="20577"/>
        <pc:sldMkLst>
          <pc:docMk/>
          <pc:sldMk cId="3316923428" sldId="141169104"/>
        </pc:sldMkLst>
        <pc:spChg chg="mod">
          <ac:chgData name="Sourav Bose" userId="a3480f76-fe68-4c03-a922-c4aa16f9bb6b" providerId="ADAL" clId="{DBB6B645-C36E-4B21-9704-373E2A71DC5E}" dt="2020-07-03T08:35:07.443" v="30919" actId="20577"/>
          <ac:spMkLst>
            <pc:docMk/>
            <pc:sldMk cId="3316923428" sldId="141169104"/>
            <ac:spMk id="4" creationId="{E47C7D35-FAEB-4C49-9952-268184C6A568}"/>
          </ac:spMkLst>
        </pc:spChg>
        <pc:spChg chg="mod">
          <ac:chgData name="Sourav Bose" userId="a3480f76-fe68-4c03-a922-c4aa16f9bb6b" providerId="ADAL" clId="{DBB6B645-C36E-4B21-9704-373E2A71DC5E}" dt="2020-07-03T08:35:48.776" v="30933" actId="20577"/>
          <ac:spMkLst>
            <pc:docMk/>
            <pc:sldMk cId="3316923428" sldId="141169104"/>
            <ac:spMk id="7" creationId="{8CFAE103-B533-4B65-A347-E43FA67A3917}"/>
          </ac:spMkLst>
        </pc:spChg>
        <pc:spChg chg="mod">
          <ac:chgData name="Sourav Bose" userId="a3480f76-fe68-4c03-a922-c4aa16f9bb6b" providerId="ADAL" clId="{DBB6B645-C36E-4B21-9704-373E2A71DC5E}" dt="2020-07-03T08:35:26.809" v="30927" actId="20577"/>
          <ac:spMkLst>
            <pc:docMk/>
            <pc:sldMk cId="3316923428" sldId="141169104"/>
            <ac:spMk id="10" creationId="{54FC093E-404C-463A-B471-A161838566B1}"/>
          </ac:spMkLst>
        </pc:spChg>
      </pc:sldChg>
      <pc:sldChg chg="addSp delSp modSp add">
        <pc:chgData name="Sourav Bose" userId="a3480f76-fe68-4c03-a922-c4aa16f9bb6b" providerId="ADAL" clId="{DBB6B645-C36E-4B21-9704-373E2A71DC5E}" dt="2020-07-03T08:33:17.699" v="30892" actId="20577"/>
        <pc:sldMkLst>
          <pc:docMk/>
          <pc:sldMk cId="1685732641" sldId="141169105"/>
        </pc:sldMkLst>
        <pc:spChg chg="mod">
          <ac:chgData name="Sourav Bose" userId="a3480f76-fe68-4c03-a922-c4aa16f9bb6b" providerId="ADAL" clId="{DBB6B645-C36E-4B21-9704-373E2A71DC5E}" dt="2020-07-03T05:08:32.079" v="26603" actId="20577"/>
          <ac:spMkLst>
            <pc:docMk/>
            <pc:sldMk cId="1685732641" sldId="141169105"/>
            <ac:spMk id="3" creationId="{2628184F-BB51-4520-9982-EA93EF50D704}"/>
          </ac:spMkLst>
        </pc:spChg>
        <pc:spChg chg="add mod">
          <ac:chgData name="Sourav Bose" userId="a3480f76-fe68-4c03-a922-c4aa16f9bb6b" providerId="ADAL" clId="{DBB6B645-C36E-4B21-9704-373E2A71DC5E}" dt="2020-07-03T07:32:30.357" v="30482" actId="20577"/>
          <ac:spMkLst>
            <pc:docMk/>
            <pc:sldMk cId="1685732641" sldId="141169105"/>
            <ac:spMk id="15" creationId="{C6C0B8FB-4F3D-49F7-A843-17BF11559B5B}"/>
          </ac:spMkLst>
        </pc:spChg>
        <pc:spChg chg="del">
          <ac:chgData name="Sourav Bose" userId="a3480f76-fe68-4c03-a922-c4aa16f9bb6b" providerId="ADAL" clId="{DBB6B645-C36E-4B21-9704-373E2A71DC5E}" dt="2020-07-02T12:59:25.123" v="18839" actId="478"/>
          <ac:spMkLst>
            <pc:docMk/>
            <pc:sldMk cId="1685732641" sldId="141169105"/>
            <ac:spMk id="20" creationId="{18723695-AF3C-428F-B10E-9856ED3B2D71}"/>
          </ac:spMkLst>
        </pc:spChg>
        <pc:spChg chg="del">
          <ac:chgData name="Sourav Bose" userId="a3480f76-fe68-4c03-a922-c4aa16f9bb6b" providerId="ADAL" clId="{DBB6B645-C36E-4B21-9704-373E2A71DC5E}" dt="2020-07-02T12:59:25.123" v="18839" actId="478"/>
          <ac:spMkLst>
            <pc:docMk/>
            <pc:sldMk cId="1685732641" sldId="141169105"/>
            <ac:spMk id="35" creationId="{7BF17312-9FB9-4D30-92A8-54901EA04A53}"/>
          </ac:spMkLst>
        </pc:spChg>
        <pc:spChg chg="del">
          <ac:chgData name="Sourav Bose" userId="a3480f76-fe68-4c03-a922-c4aa16f9bb6b" providerId="ADAL" clId="{DBB6B645-C36E-4B21-9704-373E2A71DC5E}" dt="2020-07-02T12:59:25.123" v="18839" actId="478"/>
          <ac:spMkLst>
            <pc:docMk/>
            <pc:sldMk cId="1685732641" sldId="141169105"/>
            <ac:spMk id="40" creationId="{15A665AA-FB5B-4C88-B714-EE6C6D96DE97}"/>
          </ac:spMkLst>
        </pc:spChg>
        <pc:spChg chg="del">
          <ac:chgData name="Sourav Bose" userId="a3480f76-fe68-4c03-a922-c4aa16f9bb6b" providerId="ADAL" clId="{DBB6B645-C36E-4B21-9704-373E2A71DC5E}" dt="2020-07-02T12:59:25.123" v="18839" actId="478"/>
          <ac:spMkLst>
            <pc:docMk/>
            <pc:sldMk cId="1685732641" sldId="141169105"/>
            <ac:spMk id="59" creationId="{5B078625-2593-450A-B8E7-54B10C57ACB4}"/>
          </ac:spMkLst>
        </pc:spChg>
        <pc:spChg chg="add mod">
          <ac:chgData name="Sourav Bose" userId="a3480f76-fe68-4c03-a922-c4aa16f9bb6b" providerId="ADAL" clId="{DBB6B645-C36E-4B21-9704-373E2A71DC5E}" dt="2020-07-03T07:32:12.873" v="30474" actId="20577"/>
          <ac:spMkLst>
            <pc:docMk/>
            <pc:sldMk cId="1685732641" sldId="141169105"/>
            <ac:spMk id="77" creationId="{8C49AE13-D179-4B13-95F6-FB1C7BBAA231}"/>
          </ac:spMkLst>
        </pc:spChg>
        <pc:spChg chg="add del mod">
          <ac:chgData name="Sourav Bose" userId="a3480f76-fe68-4c03-a922-c4aa16f9bb6b" providerId="ADAL" clId="{DBB6B645-C36E-4B21-9704-373E2A71DC5E}" dt="2020-07-03T02:52:54.271" v="21917" actId="478"/>
          <ac:spMkLst>
            <pc:docMk/>
            <pc:sldMk cId="1685732641" sldId="141169105"/>
            <ac:spMk id="78" creationId="{96B69B30-C98A-431D-AEB3-685D03F51273}"/>
          </ac:spMkLst>
        </pc:spChg>
        <pc:spChg chg="del">
          <ac:chgData name="Sourav Bose" userId="a3480f76-fe68-4c03-a922-c4aa16f9bb6b" providerId="ADAL" clId="{DBB6B645-C36E-4B21-9704-373E2A71DC5E}" dt="2020-07-02T12:59:25.123" v="18839" actId="478"/>
          <ac:spMkLst>
            <pc:docMk/>
            <pc:sldMk cId="1685732641" sldId="141169105"/>
            <ac:spMk id="85" creationId="{8927D438-E03A-49ED-B939-1E07A4863F15}"/>
          </ac:spMkLst>
        </pc:spChg>
        <pc:spChg chg="add del">
          <ac:chgData name="Sourav Bose" userId="a3480f76-fe68-4c03-a922-c4aa16f9bb6b" providerId="ADAL" clId="{DBB6B645-C36E-4B21-9704-373E2A71DC5E}" dt="2020-07-03T06:12:12.289" v="28654" actId="478"/>
          <ac:spMkLst>
            <pc:docMk/>
            <pc:sldMk cId="1685732641" sldId="141169105"/>
            <ac:spMk id="99" creationId="{7889182F-630C-4A13-8EE7-AC3E133E8AD9}"/>
          </ac:spMkLst>
        </pc:spChg>
        <pc:grpChg chg="del">
          <ac:chgData name="Sourav Bose" userId="a3480f76-fe68-4c03-a922-c4aa16f9bb6b" providerId="ADAL" clId="{DBB6B645-C36E-4B21-9704-373E2A71DC5E}" dt="2020-07-02T12:59:25.123" v="18839" actId="478"/>
          <ac:grpSpMkLst>
            <pc:docMk/>
            <pc:sldMk cId="1685732641" sldId="141169105"/>
            <ac:grpSpMk id="6" creationId="{72DFA739-3C57-4A16-B91C-FF64AD459C2A}"/>
          </ac:grpSpMkLst>
        </pc:grpChg>
        <pc:grpChg chg="del">
          <ac:chgData name="Sourav Bose" userId="a3480f76-fe68-4c03-a922-c4aa16f9bb6b" providerId="ADAL" clId="{DBB6B645-C36E-4B21-9704-373E2A71DC5E}" dt="2020-07-02T12:59:25.123" v="18839" actId="478"/>
          <ac:grpSpMkLst>
            <pc:docMk/>
            <pc:sldMk cId="1685732641" sldId="141169105"/>
            <ac:grpSpMk id="11" creationId="{BA64E7AF-3503-475E-A27E-DDE915B447F7}"/>
          </ac:grpSpMkLst>
        </pc:grpChg>
        <pc:grpChg chg="del">
          <ac:chgData name="Sourav Bose" userId="a3480f76-fe68-4c03-a922-c4aa16f9bb6b" providerId="ADAL" clId="{DBB6B645-C36E-4B21-9704-373E2A71DC5E}" dt="2020-07-02T12:59:25.123" v="18839" actId="478"/>
          <ac:grpSpMkLst>
            <pc:docMk/>
            <pc:sldMk cId="1685732641" sldId="141169105"/>
            <ac:grpSpMk id="12" creationId="{8EE651B5-244A-4E97-A5A7-BBFC00C9AC11}"/>
          </ac:grpSpMkLst>
        </pc:grpChg>
        <pc:grpChg chg="del">
          <ac:chgData name="Sourav Bose" userId="a3480f76-fe68-4c03-a922-c4aa16f9bb6b" providerId="ADAL" clId="{DBB6B645-C36E-4B21-9704-373E2A71DC5E}" dt="2020-07-02T12:59:25.123" v="18839" actId="478"/>
          <ac:grpSpMkLst>
            <pc:docMk/>
            <pc:sldMk cId="1685732641" sldId="141169105"/>
            <ac:grpSpMk id="13" creationId="{0D6C63B6-65F5-4245-9E5C-627AB23BAAFA}"/>
          </ac:grpSpMkLst>
        </pc:grpChg>
        <pc:grpChg chg="del">
          <ac:chgData name="Sourav Bose" userId="a3480f76-fe68-4c03-a922-c4aa16f9bb6b" providerId="ADAL" clId="{DBB6B645-C36E-4B21-9704-373E2A71DC5E}" dt="2020-07-02T12:59:25.123" v="18839" actId="478"/>
          <ac:grpSpMkLst>
            <pc:docMk/>
            <pc:sldMk cId="1685732641" sldId="141169105"/>
            <ac:grpSpMk id="14" creationId="{33FE6D5F-FFF3-43D9-8C15-169072F8B961}"/>
          </ac:grpSpMkLst>
        </pc:grpChg>
        <pc:grpChg chg="del">
          <ac:chgData name="Sourav Bose" userId="a3480f76-fe68-4c03-a922-c4aa16f9bb6b" providerId="ADAL" clId="{DBB6B645-C36E-4B21-9704-373E2A71DC5E}" dt="2020-07-02T12:59:25.123" v="18839" actId="478"/>
          <ac:grpSpMkLst>
            <pc:docMk/>
            <pc:sldMk cId="1685732641" sldId="141169105"/>
            <ac:grpSpMk id="15" creationId="{BAE1155D-A521-44E2-810F-AEBD20FF2E20}"/>
          </ac:grpSpMkLst>
        </pc:grpChg>
        <pc:grpChg chg="del">
          <ac:chgData name="Sourav Bose" userId="a3480f76-fe68-4c03-a922-c4aa16f9bb6b" providerId="ADAL" clId="{DBB6B645-C36E-4B21-9704-373E2A71DC5E}" dt="2020-07-02T12:59:25.123" v="18839" actId="478"/>
          <ac:grpSpMkLst>
            <pc:docMk/>
            <pc:sldMk cId="1685732641" sldId="141169105"/>
            <ac:grpSpMk id="18" creationId="{741CA69E-0EF1-4ED1-9728-4DCE3E21C4FF}"/>
          </ac:grpSpMkLst>
        </pc:grpChg>
        <pc:grpChg chg="del">
          <ac:chgData name="Sourav Bose" userId="a3480f76-fe68-4c03-a922-c4aa16f9bb6b" providerId="ADAL" clId="{DBB6B645-C36E-4B21-9704-373E2A71DC5E}" dt="2020-07-02T12:59:25.123" v="18839" actId="478"/>
          <ac:grpSpMkLst>
            <pc:docMk/>
            <pc:sldMk cId="1685732641" sldId="141169105"/>
            <ac:grpSpMk id="19" creationId="{7BE23E6D-2514-4385-B498-3092D8B16073}"/>
          </ac:grpSpMkLst>
        </pc:grpChg>
        <pc:grpChg chg="del">
          <ac:chgData name="Sourav Bose" userId="a3480f76-fe68-4c03-a922-c4aa16f9bb6b" providerId="ADAL" clId="{DBB6B645-C36E-4B21-9704-373E2A71DC5E}" dt="2020-07-02T12:59:25.123" v="18839" actId="478"/>
          <ac:grpSpMkLst>
            <pc:docMk/>
            <pc:sldMk cId="1685732641" sldId="141169105"/>
            <ac:grpSpMk id="53" creationId="{1E40BCFA-AB44-4311-A5E4-9669269F1485}"/>
          </ac:grpSpMkLst>
        </pc:grpChg>
        <pc:graphicFrameChg chg="add mod modGraphic">
          <ac:chgData name="Sourav Bose" userId="a3480f76-fe68-4c03-a922-c4aa16f9bb6b" providerId="ADAL" clId="{DBB6B645-C36E-4B21-9704-373E2A71DC5E}" dt="2020-07-03T08:33:17.699" v="30892" actId="20577"/>
          <ac:graphicFrameMkLst>
            <pc:docMk/>
            <pc:sldMk cId="1685732641" sldId="141169105"/>
            <ac:graphicFrameMk id="66" creationId="{5E346D8D-28E4-4BC5-BB2C-6CDE448F33AB}"/>
          </ac:graphicFrameMkLst>
        </pc:graphicFrameChg>
        <pc:picChg chg="add mod">
          <ac:chgData name="Sourav Bose" userId="a3480f76-fe68-4c03-a922-c4aa16f9bb6b" providerId="ADAL" clId="{DBB6B645-C36E-4B21-9704-373E2A71DC5E}" dt="2020-07-03T05:08:16.962" v="26592" actId="1035"/>
          <ac:picMkLst>
            <pc:docMk/>
            <pc:sldMk cId="1685732641" sldId="141169105"/>
            <ac:picMk id="16" creationId="{F81E9945-1681-4A09-B4EC-9933C3971A94}"/>
          </ac:picMkLst>
        </pc:picChg>
        <pc:picChg chg="add del">
          <ac:chgData name="Sourav Bose" userId="a3480f76-fe68-4c03-a922-c4aa16f9bb6b" providerId="ADAL" clId="{DBB6B645-C36E-4B21-9704-373E2A71DC5E}" dt="2020-07-02T13:02:47.147" v="18871" actId="478"/>
          <ac:picMkLst>
            <pc:docMk/>
            <pc:sldMk cId="1685732641" sldId="141169105"/>
            <ac:picMk id="67" creationId="{2F693C3E-A34B-4978-98DC-9326751A4393}"/>
          </ac:picMkLst>
        </pc:picChg>
        <pc:picChg chg="add del">
          <ac:chgData name="Sourav Bose" userId="a3480f76-fe68-4c03-a922-c4aa16f9bb6b" providerId="ADAL" clId="{DBB6B645-C36E-4B21-9704-373E2A71DC5E}" dt="2020-07-02T13:02:47.147" v="18871" actId="478"/>
          <ac:picMkLst>
            <pc:docMk/>
            <pc:sldMk cId="1685732641" sldId="141169105"/>
            <ac:picMk id="68" creationId="{819060FF-6A47-41C7-94F3-B74ACFAB8F9C}"/>
          </ac:picMkLst>
        </pc:picChg>
        <pc:picChg chg="add del">
          <ac:chgData name="Sourav Bose" userId="a3480f76-fe68-4c03-a922-c4aa16f9bb6b" providerId="ADAL" clId="{DBB6B645-C36E-4B21-9704-373E2A71DC5E}" dt="2020-07-02T13:02:47.147" v="18871" actId="478"/>
          <ac:picMkLst>
            <pc:docMk/>
            <pc:sldMk cId="1685732641" sldId="141169105"/>
            <ac:picMk id="69" creationId="{D53F41AC-2932-47A5-8A70-DE220C1620A0}"/>
          </ac:picMkLst>
        </pc:picChg>
        <pc:picChg chg="add del">
          <ac:chgData name="Sourav Bose" userId="a3480f76-fe68-4c03-a922-c4aa16f9bb6b" providerId="ADAL" clId="{DBB6B645-C36E-4B21-9704-373E2A71DC5E}" dt="2020-07-02T13:02:47.147" v="18871" actId="478"/>
          <ac:picMkLst>
            <pc:docMk/>
            <pc:sldMk cId="1685732641" sldId="141169105"/>
            <ac:picMk id="70" creationId="{136EB750-E6CD-49E9-A1E3-5B6A3362ABD9}"/>
          </ac:picMkLst>
        </pc:picChg>
        <pc:picChg chg="add del">
          <ac:chgData name="Sourav Bose" userId="a3480f76-fe68-4c03-a922-c4aa16f9bb6b" providerId="ADAL" clId="{DBB6B645-C36E-4B21-9704-373E2A71DC5E}" dt="2020-07-02T13:02:47.147" v="18871" actId="478"/>
          <ac:picMkLst>
            <pc:docMk/>
            <pc:sldMk cId="1685732641" sldId="141169105"/>
            <ac:picMk id="71" creationId="{3E7F4A46-0A02-45EF-BE4A-D389908CA4D2}"/>
          </ac:picMkLst>
        </pc:picChg>
        <pc:picChg chg="add del">
          <ac:chgData name="Sourav Bose" userId="a3480f76-fe68-4c03-a922-c4aa16f9bb6b" providerId="ADAL" clId="{DBB6B645-C36E-4B21-9704-373E2A71DC5E}" dt="2020-07-02T13:02:47.147" v="18871" actId="478"/>
          <ac:picMkLst>
            <pc:docMk/>
            <pc:sldMk cId="1685732641" sldId="141169105"/>
            <ac:picMk id="72" creationId="{8E76C3C0-D935-4939-AEC5-6390B106ABFA}"/>
          </ac:picMkLst>
        </pc:picChg>
        <pc:picChg chg="add del">
          <ac:chgData name="Sourav Bose" userId="a3480f76-fe68-4c03-a922-c4aa16f9bb6b" providerId="ADAL" clId="{DBB6B645-C36E-4B21-9704-373E2A71DC5E}" dt="2020-07-02T13:02:47.147" v="18871" actId="478"/>
          <ac:picMkLst>
            <pc:docMk/>
            <pc:sldMk cId="1685732641" sldId="141169105"/>
            <ac:picMk id="73" creationId="{0BD897C6-5187-45A8-AB63-B08591C643CA}"/>
          </ac:picMkLst>
        </pc:picChg>
        <pc:picChg chg="add del">
          <ac:chgData name="Sourav Bose" userId="a3480f76-fe68-4c03-a922-c4aa16f9bb6b" providerId="ADAL" clId="{DBB6B645-C36E-4B21-9704-373E2A71DC5E}" dt="2020-07-02T13:02:47.147" v="18871" actId="478"/>
          <ac:picMkLst>
            <pc:docMk/>
            <pc:sldMk cId="1685732641" sldId="141169105"/>
            <ac:picMk id="74" creationId="{B7ED04D3-25CA-4775-85E7-7C0C5F5505ED}"/>
          </ac:picMkLst>
        </pc:picChg>
        <pc:picChg chg="add del">
          <ac:chgData name="Sourav Bose" userId="a3480f76-fe68-4c03-a922-c4aa16f9bb6b" providerId="ADAL" clId="{DBB6B645-C36E-4B21-9704-373E2A71DC5E}" dt="2020-07-02T13:02:47.147" v="18871" actId="478"/>
          <ac:picMkLst>
            <pc:docMk/>
            <pc:sldMk cId="1685732641" sldId="141169105"/>
            <ac:picMk id="75" creationId="{2C3B4022-2322-4773-BD1A-BA81BC57BCBA}"/>
          </ac:picMkLst>
        </pc:picChg>
        <pc:picChg chg="add del">
          <ac:chgData name="Sourav Bose" userId="a3480f76-fe68-4c03-a922-c4aa16f9bb6b" providerId="ADAL" clId="{DBB6B645-C36E-4B21-9704-373E2A71DC5E}" dt="2020-07-02T13:02:47.147" v="18871" actId="478"/>
          <ac:picMkLst>
            <pc:docMk/>
            <pc:sldMk cId="1685732641" sldId="141169105"/>
            <ac:picMk id="76" creationId="{ACFECAD3-E56F-4179-8E33-BFA93391B186}"/>
          </ac:picMkLst>
        </pc:picChg>
        <pc:picChg chg="add del">
          <ac:chgData name="Sourav Bose" userId="a3480f76-fe68-4c03-a922-c4aa16f9bb6b" providerId="ADAL" clId="{DBB6B645-C36E-4B21-9704-373E2A71DC5E}" dt="2020-07-02T13:02:47.147" v="18871" actId="478"/>
          <ac:picMkLst>
            <pc:docMk/>
            <pc:sldMk cId="1685732641" sldId="141169105"/>
            <ac:picMk id="79" creationId="{1796878D-649C-490A-AF33-D4D9857E382E}"/>
          </ac:picMkLst>
        </pc:picChg>
        <pc:picChg chg="add del">
          <ac:chgData name="Sourav Bose" userId="a3480f76-fe68-4c03-a922-c4aa16f9bb6b" providerId="ADAL" clId="{DBB6B645-C36E-4B21-9704-373E2A71DC5E}" dt="2020-07-02T13:02:47.147" v="18871" actId="478"/>
          <ac:picMkLst>
            <pc:docMk/>
            <pc:sldMk cId="1685732641" sldId="141169105"/>
            <ac:picMk id="80" creationId="{6B505978-74C2-4E8F-A08C-339695CEC721}"/>
          </ac:picMkLst>
        </pc:picChg>
        <pc:picChg chg="add mod">
          <ac:chgData name="Sourav Bose" userId="a3480f76-fe68-4c03-a922-c4aa16f9bb6b" providerId="ADAL" clId="{DBB6B645-C36E-4B21-9704-373E2A71DC5E}" dt="2020-07-03T05:08:16.962" v="26592" actId="1035"/>
          <ac:picMkLst>
            <pc:docMk/>
            <pc:sldMk cId="1685732641" sldId="141169105"/>
            <ac:picMk id="81" creationId="{FB3E0C6C-9029-43E0-9344-3D224D1FC841}"/>
          </ac:picMkLst>
        </pc:picChg>
        <pc:picChg chg="add mod">
          <ac:chgData name="Sourav Bose" userId="a3480f76-fe68-4c03-a922-c4aa16f9bb6b" providerId="ADAL" clId="{DBB6B645-C36E-4B21-9704-373E2A71DC5E}" dt="2020-07-03T05:08:16.962" v="26592" actId="1035"/>
          <ac:picMkLst>
            <pc:docMk/>
            <pc:sldMk cId="1685732641" sldId="141169105"/>
            <ac:picMk id="82" creationId="{179027FD-4596-488D-91DA-CFEC6F13A27C}"/>
          </ac:picMkLst>
        </pc:picChg>
        <pc:picChg chg="add mod">
          <ac:chgData name="Sourav Bose" userId="a3480f76-fe68-4c03-a922-c4aa16f9bb6b" providerId="ADAL" clId="{DBB6B645-C36E-4B21-9704-373E2A71DC5E}" dt="2020-07-03T05:08:16.962" v="26592" actId="1035"/>
          <ac:picMkLst>
            <pc:docMk/>
            <pc:sldMk cId="1685732641" sldId="141169105"/>
            <ac:picMk id="83" creationId="{0E2A7FB1-231E-450D-92CE-F92576A52D46}"/>
          </ac:picMkLst>
        </pc:picChg>
        <pc:picChg chg="add mod">
          <ac:chgData name="Sourav Bose" userId="a3480f76-fe68-4c03-a922-c4aa16f9bb6b" providerId="ADAL" clId="{DBB6B645-C36E-4B21-9704-373E2A71DC5E}" dt="2020-07-03T05:08:16.962" v="26592" actId="1035"/>
          <ac:picMkLst>
            <pc:docMk/>
            <pc:sldMk cId="1685732641" sldId="141169105"/>
            <ac:picMk id="84" creationId="{233E64CE-FB06-48A7-BEFD-535B211EFB2C}"/>
          </ac:picMkLst>
        </pc:picChg>
        <pc:picChg chg="add mod">
          <ac:chgData name="Sourav Bose" userId="a3480f76-fe68-4c03-a922-c4aa16f9bb6b" providerId="ADAL" clId="{DBB6B645-C36E-4B21-9704-373E2A71DC5E}" dt="2020-07-03T05:08:16.962" v="26592" actId="1035"/>
          <ac:picMkLst>
            <pc:docMk/>
            <pc:sldMk cId="1685732641" sldId="141169105"/>
            <ac:picMk id="86" creationId="{6AF7575E-18E2-4CF4-8BF2-580013F16C16}"/>
          </ac:picMkLst>
        </pc:picChg>
        <pc:picChg chg="add mod">
          <ac:chgData name="Sourav Bose" userId="a3480f76-fe68-4c03-a922-c4aa16f9bb6b" providerId="ADAL" clId="{DBB6B645-C36E-4B21-9704-373E2A71DC5E}" dt="2020-07-03T05:08:16.962" v="26592" actId="1035"/>
          <ac:picMkLst>
            <pc:docMk/>
            <pc:sldMk cId="1685732641" sldId="141169105"/>
            <ac:picMk id="87" creationId="{5901261A-B6B1-4C88-A04A-A18344106240}"/>
          </ac:picMkLst>
        </pc:picChg>
        <pc:picChg chg="add mod">
          <ac:chgData name="Sourav Bose" userId="a3480f76-fe68-4c03-a922-c4aa16f9bb6b" providerId="ADAL" clId="{DBB6B645-C36E-4B21-9704-373E2A71DC5E}" dt="2020-07-03T05:08:16.962" v="26592" actId="1035"/>
          <ac:picMkLst>
            <pc:docMk/>
            <pc:sldMk cId="1685732641" sldId="141169105"/>
            <ac:picMk id="93" creationId="{B6B1D651-2DD7-447F-9451-4BDA0E7F5067}"/>
          </ac:picMkLst>
        </pc:picChg>
        <pc:picChg chg="add mod">
          <ac:chgData name="Sourav Bose" userId="a3480f76-fe68-4c03-a922-c4aa16f9bb6b" providerId="ADAL" clId="{DBB6B645-C36E-4B21-9704-373E2A71DC5E}" dt="2020-07-03T05:08:16.962" v="26592" actId="1035"/>
          <ac:picMkLst>
            <pc:docMk/>
            <pc:sldMk cId="1685732641" sldId="141169105"/>
            <ac:picMk id="98" creationId="{65D878A0-1E90-409F-8FA4-482B2FF2D26E}"/>
          </ac:picMkLst>
        </pc:picChg>
      </pc:sldChg>
      <pc:sldChg chg="addSp delSp modSp add">
        <pc:chgData name="Sourav Bose" userId="a3480f76-fe68-4c03-a922-c4aa16f9bb6b" providerId="ADAL" clId="{DBB6B645-C36E-4B21-9704-373E2A71DC5E}" dt="2020-07-03T08:25:55.769" v="30527" actId="20577"/>
        <pc:sldMkLst>
          <pc:docMk/>
          <pc:sldMk cId="135921294" sldId="141169106"/>
        </pc:sldMkLst>
        <pc:spChg chg="mod">
          <ac:chgData name="Sourav Bose" userId="a3480f76-fe68-4c03-a922-c4aa16f9bb6b" providerId="ADAL" clId="{DBB6B645-C36E-4B21-9704-373E2A71DC5E}" dt="2020-07-03T07:29:57.411" v="30444" actId="20577"/>
          <ac:spMkLst>
            <pc:docMk/>
            <pc:sldMk cId="135921294" sldId="141169106"/>
            <ac:spMk id="2" creationId="{B754DFFD-76C7-40BF-9429-1291B71C8590}"/>
          </ac:spMkLst>
        </pc:spChg>
        <pc:spChg chg="add mod">
          <ac:chgData name="Sourav Bose" userId="a3480f76-fe68-4c03-a922-c4aa16f9bb6b" providerId="ADAL" clId="{DBB6B645-C36E-4B21-9704-373E2A71DC5E}" dt="2020-07-03T05:19:05.009" v="26851" actId="1036"/>
          <ac:spMkLst>
            <pc:docMk/>
            <pc:sldMk cId="135921294" sldId="141169106"/>
            <ac:spMk id="7" creationId="{20DEA1A8-12C4-4555-A7C2-04D645D02619}"/>
          </ac:spMkLst>
        </pc:spChg>
        <pc:spChg chg="add del mod">
          <ac:chgData name="Sourav Bose" userId="a3480f76-fe68-4c03-a922-c4aa16f9bb6b" providerId="ADAL" clId="{DBB6B645-C36E-4B21-9704-373E2A71DC5E}" dt="2020-07-03T05:17:48.072" v="26773" actId="478"/>
          <ac:spMkLst>
            <pc:docMk/>
            <pc:sldMk cId="135921294" sldId="141169106"/>
            <ac:spMk id="8" creationId="{243D322B-7F7B-492B-8179-A534920D79E8}"/>
          </ac:spMkLst>
        </pc:spChg>
        <pc:spChg chg="add mod">
          <ac:chgData name="Sourav Bose" userId="a3480f76-fe68-4c03-a922-c4aa16f9bb6b" providerId="ADAL" clId="{DBB6B645-C36E-4B21-9704-373E2A71DC5E}" dt="2020-07-03T05:19:05.009" v="26851" actId="1036"/>
          <ac:spMkLst>
            <pc:docMk/>
            <pc:sldMk cId="135921294" sldId="141169106"/>
            <ac:spMk id="9" creationId="{4A1210F9-CE14-4787-8C5F-86D186264E77}"/>
          </ac:spMkLst>
        </pc:spChg>
        <pc:spChg chg="add mod">
          <ac:chgData name="Sourav Bose" userId="a3480f76-fe68-4c03-a922-c4aa16f9bb6b" providerId="ADAL" clId="{DBB6B645-C36E-4B21-9704-373E2A71DC5E}" dt="2020-07-03T08:25:55.769" v="30527" actId="20577"/>
          <ac:spMkLst>
            <pc:docMk/>
            <pc:sldMk cId="135921294" sldId="141169106"/>
            <ac:spMk id="10" creationId="{67C68D94-1F90-42D4-8EB0-4673A579B700}"/>
          </ac:spMkLst>
        </pc:spChg>
        <pc:graphicFrameChg chg="add mod modGraphic">
          <ac:chgData name="Sourav Bose" userId="a3480f76-fe68-4c03-a922-c4aa16f9bb6b" providerId="ADAL" clId="{DBB6B645-C36E-4B21-9704-373E2A71DC5E}" dt="2020-07-03T07:30:12.143" v="30448" actId="20577"/>
          <ac:graphicFrameMkLst>
            <pc:docMk/>
            <pc:sldMk cId="135921294" sldId="141169106"/>
            <ac:graphicFrameMk id="3" creationId="{ECDD2965-B64D-4618-A18C-FAF484DAD8E4}"/>
          </ac:graphicFrameMkLst>
        </pc:graphicFrameChg>
        <pc:graphicFrameChg chg="add del mod">
          <ac:chgData name="Sourav Bose" userId="a3480f76-fe68-4c03-a922-c4aa16f9bb6b" providerId="ADAL" clId="{DBB6B645-C36E-4B21-9704-373E2A71DC5E}" dt="2020-07-03T04:48:22.134" v="26024" actId="478"/>
          <ac:graphicFrameMkLst>
            <pc:docMk/>
            <pc:sldMk cId="135921294" sldId="141169106"/>
            <ac:graphicFrameMk id="4" creationId="{1EEEC455-E95B-4957-AEB0-D46D39BCBD10}"/>
          </ac:graphicFrameMkLst>
        </pc:graphicFrameChg>
        <pc:graphicFrameChg chg="add del mod">
          <ac:chgData name="Sourav Bose" userId="a3480f76-fe68-4c03-a922-c4aa16f9bb6b" providerId="ADAL" clId="{DBB6B645-C36E-4B21-9704-373E2A71DC5E}" dt="2020-07-03T04:48:44.626" v="26027" actId="478"/>
          <ac:graphicFrameMkLst>
            <pc:docMk/>
            <pc:sldMk cId="135921294" sldId="141169106"/>
            <ac:graphicFrameMk id="5" creationId="{C955786A-7CB2-4155-A76F-60A7791886EF}"/>
          </ac:graphicFrameMkLst>
        </pc:graphicFrameChg>
        <pc:graphicFrameChg chg="add del mod">
          <ac:chgData name="Sourav Bose" userId="a3480f76-fe68-4c03-a922-c4aa16f9bb6b" providerId="ADAL" clId="{DBB6B645-C36E-4B21-9704-373E2A71DC5E}" dt="2020-07-03T04:49:16.867" v="26031" actId="478"/>
          <ac:graphicFrameMkLst>
            <pc:docMk/>
            <pc:sldMk cId="135921294" sldId="141169106"/>
            <ac:graphicFrameMk id="6" creationId="{AE5B65CF-BAE0-4FE0-82B7-AC5ADACF75BA}"/>
          </ac:graphicFrameMkLst>
        </pc:graphicFrameChg>
      </pc:sldChg>
      <pc:sldChg chg="addSp delSp modSp add">
        <pc:chgData name="Sourav Bose" userId="a3480f76-fe68-4c03-a922-c4aa16f9bb6b" providerId="ADAL" clId="{DBB6B645-C36E-4B21-9704-373E2A71DC5E}" dt="2020-07-03T08:27:03.088" v="30543" actId="20577"/>
        <pc:sldMkLst>
          <pc:docMk/>
          <pc:sldMk cId="1178069200" sldId="141169107"/>
        </pc:sldMkLst>
        <pc:spChg chg="mod">
          <ac:chgData name="Sourav Bose" userId="a3480f76-fe68-4c03-a922-c4aa16f9bb6b" providerId="ADAL" clId="{DBB6B645-C36E-4B21-9704-373E2A71DC5E}" dt="2020-07-03T05:09:23.244" v="26625" actId="20577"/>
          <ac:spMkLst>
            <pc:docMk/>
            <pc:sldMk cId="1178069200" sldId="141169107"/>
            <ac:spMk id="3" creationId="{2628184F-BB51-4520-9982-EA93EF50D704}"/>
          </ac:spMkLst>
        </pc:spChg>
        <pc:graphicFrameChg chg="del">
          <ac:chgData name="Sourav Bose" userId="a3480f76-fe68-4c03-a922-c4aa16f9bb6b" providerId="ADAL" clId="{DBB6B645-C36E-4B21-9704-373E2A71DC5E}" dt="2020-07-03T05:09:51.460" v="26628" actId="478"/>
          <ac:graphicFrameMkLst>
            <pc:docMk/>
            <pc:sldMk cId="1178069200" sldId="141169107"/>
            <ac:graphicFrameMk id="8" creationId="{7A5A2827-2BFA-429B-B529-AC1ADBCD2C0A}"/>
          </ac:graphicFrameMkLst>
        </pc:graphicFrameChg>
        <pc:graphicFrameChg chg="del">
          <ac:chgData name="Sourav Bose" userId="a3480f76-fe68-4c03-a922-c4aa16f9bb6b" providerId="ADAL" clId="{DBB6B645-C36E-4B21-9704-373E2A71DC5E}" dt="2020-07-03T05:09:40.738" v="26627" actId="478"/>
          <ac:graphicFrameMkLst>
            <pc:docMk/>
            <pc:sldMk cId="1178069200" sldId="141169107"/>
            <ac:graphicFrameMk id="10" creationId="{BF83DA13-5163-4A10-AE2E-D5E53C89CF5B}"/>
          </ac:graphicFrameMkLst>
        </pc:graphicFrameChg>
        <pc:graphicFrameChg chg="add">
          <ac:chgData name="Sourav Bose" userId="a3480f76-fe68-4c03-a922-c4aa16f9bb6b" providerId="ADAL" clId="{DBB6B645-C36E-4B21-9704-373E2A71DC5E}" dt="2020-07-03T05:09:52.199" v="26629"/>
          <ac:graphicFrameMkLst>
            <pc:docMk/>
            <pc:sldMk cId="1178069200" sldId="141169107"/>
            <ac:graphicFrameMk id="11" creationId="{7D1F39A2-7E82-4E60-AEA7-9041B6935519}"/>
          </ac:graphicFrameMkLst>
        </pc:graphicFrameChg>
        <pc:graphicFrameChg chg="add mod modGraphic">
          <ac:chgData name="Sourav Bose" userId="a3480f76-fe68-4c03-a922-c4aa16f9bb6b" providerId="ADAL" clId="{DBB6B645-C36E-4B21-9704-373E2A71DC5E}" dt="2020-07-03T08:27:03.088" v="30543" actId="20577"/>
          <ac:graphicFrameMkLst>
            <pc:docMk/>
            <pc:sldMk cId="1178069200" sldId="141169107"/>
            <ac:graphicFrameMk id="13" creationId="{CB9EA1E5-2A46-43E9-80B6-CCBCACFE3A0A}"/>
          </ac:graphicFrameMkLst>
        </pc:graphicFrameChg>
        <pc:picChg chg="del">
          <ac:chgData name="Sourav Bose" userId="a3480f76-fe68-4c03-a922-c4aa16f9bb6b" providerId="ADAL" clId="{DBB6B645-C36E-4B21-9704-373E2A71DC5E}" dt="2020-07-03T05:09:40.738" v="26627" actId="478"/>
          <ac:picMkLst>
            <pc:docMk/>
            <pc:sldMk cId="1178069200" sldId="141169107"/>
            <ac:picMk id="7" creationId="{D1EB8C8A-BF8F-43D5-88A6-A0C1A5CF386D}"/>
          </ac:picMkLst>
        </pc:picChg>
        <pc:picChg chg="del">
          <ac:chgData name="Sourav Bose" userId="a3480f76-fe68-4c03-a922-c4aa16f9bb6b" providerId="ADAL" clId="{DBB6B645-C36E-4B21-9704-373E2A71DC5E}" dt="2020-07-03T05:09:40.738" v="26627" actId="478"/>
          <ac:picMkLst>
            <pc:docMk/>
            <pc:sldMk cId="1178069200" sldId="141169107"/>
            <ac:picMk id="9" creationId="{78EBA35F-797F-4149-9368-C1503AE2288C}"/>
          </ac:picMkLst>
        </pc:picChg>
        <pc:picChg chg="add">
          <ac:chgData name="Sourav Bose" userId="a3480f76-fe68-4c03-a922-c4aa16f9bb6b" providerId="ADAL" clId="{DBB6B645-C36E-4B21-9704-373E2A71DC5E}" dt="2020-07-03T05:09:52.199" v="26629"/>
          <ac:picMkLst>
            <pc:docMk/>
            <pc:sldMk cId="1178069200" sldId="141169107"/>
            <ac:picMk id="12" creationId="{3A37B617-C904-4EDA-BE2A-45586D255947}"/>
          </ac:picMkLst>
        </pc:picChg>
        <pc:picChg chg="add mod">
          <ac:chgData name="Sourav Bose" userId="a3480f76-fe68-4c03-a922-c4aa16f9bb6b" providerId="ADAL" clId="{DBB6B645-C36E-4B21-9704-373E2A71DC5E}" dt="2020-07-03T05:15:42.917" v="26750" actId="1037"/>
          <ac:picMkLst>
            <pc:docMk/>
            <pc:sldMk cId="1178069200" sldId="141169107"/>
            <ac:picMk id="14" creationId="{8CC7DEF2-9487-4413-ABBA-6F67B37BB5BF}"/>
          </ac:picMkLst>
        </pc:picChg>
      </pc:sldChg>
      <pc:sldChg chg="modSp add del">
        <pc:chgData name="Sourav Bose" userId="a3480f76-fe68-4c03-a922-c4aa16f9bb6b" providerId="ADAL" clId="{DBB6B645-C36E-4B21-9704-373E2A71DC5E}" dt="2020-07-03T06:10:02.404" v="28645" actId="2696"/>
        <pc:sldMkLst>
          <pc:docMk/>
          <pc:sldMk cId="3633038703" sldId="141169108"/>
        </pc:sldMkLst>
        <pc:graphicFrameChg chg="mod">
          <ac:chgData name="Sourav Bose" userId="a3480f76-fe68-4c03-a922-c4aa16f9bb6b" providerId="ADAL" clId="{DBB6B645-C36E-4B21-9704-373E2A71DC5E}" dt="2020-07-03T05:22:31.564" v="26899"/>
          <ac:graphicFrameMkLst>
            <pc:docMk/>
            <pc:sldMk cId="3633038703" sldId="141169108"/>
            <ac:graphicFrameMk id="175" creationId="{A79314E3-AB79-40C2-B9F3-68EB746E7E2C}"/>
          </ac:graphicFrameMkLst>
        </pc:graphicFrameChg>
      </pc:sldChg>
      <pc:sldChg chg="modSp del">
        <pc:chgData name="Sourav Bose" userId="a3480f76-fe68-4c03-a922-c4aa16f9bb6b" providerId="ADAL" clId="{DBB6B645-C36E-4B21-9704-373E2A71DC5E}" dt="2020-07-03T08:36:09.007" v="30934" actId="20577"/>
        <pc:sldMkLst>
          <pc:docMk/>
          <pc:sldMk cId="735362412" sldId="141169109"/>
        </pc:sldMkLst>
        <pc:graphicFrameChg chg="modGraphic">
          <ac:chgData name="Sourav Bose" userId="a3480f76-fe68-4c03-a922-c4aa16f9bb6b" providerId="ADAL" clId="{DBB6B645-C36E-4B21-9704-373E2A71DC5E}" dt="2020-07-03T08:36:09.007" v="30934" actId="20577"/>
          <ac:graphicFrameMkLst>
            <pc:docMk/>
            <pc:sldMk cId="735362412" sldId="141169109"/>
            <ac:graphicFrameMk id="7" creationId="{031644C0-27D7-FE46-9B47-4B6F21517174}"/>
          </ac:graphicFrameMkLst>
        </pc:graphicFrameChg>
        <pc:picChg chg="mod">
          <ac:chgData name="Sourav Bose" userId="a3480f76-fe68-4c03-a922-c4aa16f9bb6b" providerId="ADAL" clId="{DBB6B645-C36E-4B21-9704-373E2A71DC5E}" dt="2020-07-03T05:35:26.749" v="27473" actId="14100"/>
          <ac:picMkLst>
            <pc:docMk/>
            <pc:sldMk cId="735362412" sldId="141169109"/>
            <ac:picMk id="35" creationId="{B1698498-7A46-4927-B37C-9409D76A3FC4}"/>
          </ac:picMkLst>
        </pc:picChg>
      </pc:sldChg>
      <pc:sldMasterChg chg="add del addSldLayout delSldLayout">
        <pc:chgData name="Sourav Bose" userId="a3480f76-fe68-4c03-a922-c4aa16f9bb6b" providerId="ADAL" clId="{DBB6B645-C36E-4B21-9704-373E2A71DC5E}" dt="2020-07-03T05:34:48.172" v="27466" actId="2696"/>
        <pc:sldMasterMkLst>
          <pc:docMk/>
          <pc:sldMasterMk cId="2821849342" sldId="2147484246"/>
        </pc:sldMasterMkLst>
        <pc:sldLayoutChg chg="add del">
          <pc:chgData name="Sourav Bose" userId="a3480f76-fe68-4c03-a922-c4aa16f9bb6b" providerId="ADAL" clId="{DBB6B645-C36E-4B21-9704-373E2A71DC5E}" dt="2020-07-03T05:34:48.172" v="27466" actId="2696"/>
          <pc:sldLayoutMkLst>
            <pc:docMk/>
            <pc:sldMasterMk cId="2821849342" sldId="2147484246"/>
            <pc:sldLayoutMk cId="3923680945" sldId="2147484247"/>
          </pc:sldLayoutMkLst>
        </pc:sldLayoutChg>
        <pc:sldLayoutChg chg="add del">
          <pc:chgData name="Sourav Bose" userId="a3480f76-fe68-4c03-a922-c4aa16f9bb6b" providerId="ADAL" clId="{DBB6B645-C36E-4B21-9704-373E2A71DC5E}" dt="2020-07-03T05:34:48.171" v="27465" actId="2696"/>
          <pc:sldLayoutMkLst>
            <pc:docMk/>
            <pc:sldMasterMk cId="2821849342" sldId="2147484246"/>
            <pc:sldLayoutMk cId="3778790124" sldId="2147484248"/>
          </pc:sldLayoutMkLst>
        </pc:sldLayoutChg>
      </pc:sldMaster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3.vml.rels><?xml version="1.0" encoding="UTF-8" standalone="yes"?>
<Relationships xmlns="http://schemas.openxmlformats.org/package/2006/relationships"><Relationship Id="rId1" Type="http://schemas.openxmlformats.org/officeDocument/2006/relationships/image" Target="NULL"/></Relationships>
</file>

<file path=ppt/drawings/_rels/vmlDrawing24.vml.rels><?xml version="1.0" encoding="UTF-8" standalone="yes"?>
<Relationships xmlns="http://schemas.openxmlformats.org/package/2006/relationships"><Relationship Id="rId1" Type="http://schemas.openxmlformats.org/officeDocument/2006/relationships/image" Target="NULL"/></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098" name="Rectangle 2"/>
          <p:cNvSpPr>
            <a:spLocks noGrp="1" noChangeArrowheads="1"/>
          </p:cNvSpPr>
          <p:nvPr>
            <p:ph type="hdr" sz="quarter"/>
          </p:nvPr>
        </p:nvSpPr>
        <p:spPr bwMode="auto">
          <a:xfrm>
            <a:off x="5" y="-1084"/>
            <a:ext cx="4305631" cy="341297"/>
          </a:xfrm>
          <a:prstGeom prst="rect">
            <a:avLst/>
          </a:prstGeom>
          <a:noFill/>
          <a:ln w="9525">
            <a:noFill/>
            <a:miter lim="800000"/>
            <a:headEnd/>
            <a:tailEnd/>
          </a:ln>
          <a:effectLst/>
        </p:spPr>
        <p:txBody>
          <a:bodyPr vert="horz" wrap="square" lIns="19030" tIns="0" rIns="19030" bIns="0" numCol="1" anchor="t" anchorCtr="0" compatLnSpc="1">
            <a:prstTxWarp prst="textNoShape">
              <a:avLst/>
            </a:prstTxWarp>
          </a:bodyPr>
          <a:lstStyle>
            <a:lvl1pPr defTabSz="911015" eaLnBrk="0" hangingPunct="0">
              <a:spcAft>
                <a:spcPct val="0"/>
              </a:spcAft>
              <a:buClrTx/>
              <a:buSzTx/>
              <a:buFontTx/>
              <a:buNone/>
              <a:defRPr sz="1000" i="1">
                <a:latin typeface="Arial" charset="0"/>
              </a:defRPr>
            </a:lvl1pPr>
          </a:lstStyle>
          <a:p>
            <a:pPr>
              <a:defRPr/>
            </a:pPr>
            <a:endParaRPr lang="en-US">
              <a:latin typeface="EYInterstate Light" panose="02000506000000020004" pitchFamily="2" charset="0"/>
            </a:endParaRPr>
          </a:p>
        </p:txBody>
      </p:sp>
      <p:sp>
        <p:nvSpPr>
          <p:cNvPr id="4099" name="Rectangle 3"/>
          <p:cNvSpPr>
            <a:spLocks noGrp="1" noChangeArrowheads="1"/>
          </p:cNvSpPr>
          <p:nvPr>
            <p:ph type="dt" sz="quarter" idx="1"/>
          </p:nvPr>
        </p:nvSpPr>
        <p:spPr bwMode="auto">
          <a:xfrm>
            <a:off x="5622597" y="-1084"/>
            <a:ext cx="4305630" cy="341297"/>
          </a:xfrm>
          <a:prstGeom prst="rect">
            <a:avLst/>
          </a:prstGeom>
          <a:noFill/>
          <a:ln w="9525">
            <a:noFill/>
            <a:miter lim="800000"/>
            <a:headEnd/>
            <a:tailEnd/>
          </a:ln>
          <a:effectLst/>
        </p:spPr>
        <p:txBody>
          <a:bodyPr vert="horz" wrap="square" lIns="19030" tIns="0" rIns="19030" bIns="0" numCol="1" anchor="t" anchorCtr="0" compatLnSpc="1">
            <a:prstTxWarp prst="textNoShape">
              <a:avLst/>
            </a:prstTxWarp>
          </a:bodyPr>
          <a:lstStyle>
            <a:lvl1pPr algn="r" defTabSz="911015" eaLnBrk="0" hangingPunct="0">
              <a:spcAft>
                <a:spcPct val="0"/>
              </a:spcAft>
              <a:buClrTx/>
              <a:buSzTx/>
              <a:buFontTx/>
              <a:buNone/>
              <a:defRPr sz="1000" i="1">
                <a:latin typeface="Arial" charset="0"/>
              </a:defRPr>
            </a:lvl1pPr>
          </a:lstStyle>
          <a:p>
            <a:pPr>
              <a:defRPr/>
            </a:pPr>
            <a:fld id="{2C8B5B08-9942-40C9-A145-199797EAA6AD}" type="datetime3">
              <a:rPr lang="en-US" smtClean="0">
                <a:latin typeface="EYInterstate Light" panose="02000506000000020004" pitchFamily="2" charset="0"/>
              </a:rPr>
              <a:t>3 July 2020</a:t>
            </a:fld>
            <a:endParaRPr lang="en-US">
              <a:latin typeface="EYInterstate Light" panose="02000506000000020004" pitchFamily="2" charset="0"/>
            </a:endParaRPr>
          </a:p>
        </p:txBody>
      </p:sp>
      <p:sp>
        <p:nvSpPr>
          <p:cNvPr id="4100" name="Rectangle 4"/>
          <p:cNvSpPr>
            <a:spLocks noGrp="1" noChangeArrowheads="1"/>
          </p:cNvSpPr>
          <p:nvPr>
            <p:ph type="sldNum" sz="quarter" idx="3"/>
          </p:nvPr>
        </p:nvSpPr>
        <p:spPr bwMode="auto">
          <a:xfrm>
            <a:off x="5622597" y="6457467"/>
            <a:ext cx="4305630" cy="341296"/>
          </a:xfrm>
          <a:prstGeom prst="rect">
            <a:avLst/>
          </a:prstGeom>
          <a:noFill/>
          <a:ln w="9525">
            <a:noFill/>
            <a:miter lim="800000"/>
            <a:headEnd/>
            <a:tailEnd/>
          </a:ln>
          <a:effectLst/>
        </p:spPr>
        <p:txBody>
          <a:bodyPr vert="horz" wrap="square" lIns="19030" tIns="0" rIns="19030" bIns="0" numCol="1" anchor="b" anchorCtr="0" compatLnSpc="1">
            <a:prstTxWarp prst="textNoShape">
              <a:avLst/>
            </a:prstTxWarp>
          </a:bodyPr>
          <a:lstStyle>
            <a:lvl5pPr marL="1826794" lvl="4" algn="r" defTabSz="911015" eaLnBrk="0" hangingPunct="0">
              <a:spcAft>
                <a:spcPct val="0"/>
              </a:spcAft>
              <a:buClrTx/>
              <a:buSzTx/>
              <a:buFontTx/>
              <a:buNone/>
              <a:defRPr sz="1000" i="1">
                <a:latin typeface="Arial" charset="0"/>
              </a:defRPr>
            </a:lvl5pPr>
          </a:lstStyle>
          <a:p>
            <a:pPr lvl="4">
              <a:defRPr/>
            </a:pPr>
            <a:fld id="{22B505C0-7908-4893-B1C9-A197C9277880}" type="slidenum">
              <a:rPr lang="en-US">
                <a:latin typeface="EYInterstate Light" panose="02000506000000020004" pitchFamily="2" charset="0"/>
              </a:rPr>
              <a:pPr lvl="4">
                <a:defRPr/>
              </a:pPr>
              <a:t>‹#›</a:t>
            </a:fld>
            <a:endParaRPr lang="en-US">
              <a:latin typeface="EYInterstate Light" panose="02000506000000020004" pitchFamily="2" charset="0"/>
            </a:endParaRPr>
          </a:p>
        </p:txBody>
      </p:sp>
      <p:sp>
        <p:nvSpPr>
          <p:cNvPr id="4101" name="Rectangle 5"/>
          <p:cNvSpPr>
            <a:spLocks noGrp="1" noChangeArrowheads="1"/>
          </p:cNvSpPr>
          <p:nvPr>
            <p:ph type="ftr" sz="quarter" idx="2"/>
          </p:nvPr>
        </p:nvSpPr>
        <p:spPr bwMode="auto">
          <a:xfrm>
            <a:off x="20873" y="6469424"/>
            <a:ext cx="4296356" cy="316298"/>
          </a:xfrm>
          <a:prstGeom prst="rect">
            <a:avLst/>
          </a:prstGeom>
          <a:noFill/>
          <a:ln w="9525">
            <a:noFill/>
            <a:miter lim="800000"/>
            <a:headEnd/>
            <a:tailEnd/>
          </a:ln>
          <a:effectLst/>
        </p:spPr>
        <p:txBody>
          <a:bodyPr vert="horz" wrap="square" lIns="14273" tIns="0" rIns="14273" bIns="0" numCol="1" anchor="b" anchorCtr="0" compatLnSpc="1">
            <a:prstTxWarp prst="textNoShape">
              <a:avLst/>
            </a:prstTxWarp>
          </a:bodyPr>
          <a:lstStyle>
            <a:lvl1pPr defTabSz="493600" eaLnBrk="0" hangingPunct="0">
              <a:spcAft>
                <a:spcPct val="0"/>
              </a:spcAft>
              <a:buClrTx/>
              <a:buSzTx/>
              <a:buFontTx/>
              <a:buNone/>
              <a:defRPr sz="700" i="1">
                <a:solidFill>
                  <a:schemeClr val="accent1"/>
                </a:solidFill>
                <a:latin typeface="Arial" charset="0"/>
              </a:defRPr>
            </a:lvl1pPr>
          </a:lstStyle>
          <a:p>
            <a:pPr>
              <a:defRPr/>
            </a:pPr>
            <a:endParaRPr lang="en-US">
              <a:latin typeface="EYInterstate Light" panose="02000506000000020004" pitchFamily="2" charset="0"/>
            </a:endParaRPr>
          </a:p>
        </p:txBody>
      </p:sp>
    </p:spTree>
    <p:extLst>
      <p:ext uri="{BB962C8B-B14F-4D97-AF65-F5344CB8AC3E}">
        <p14:creationId xmlns:p14="http://schemas.microsoft.com/office/powerpoint/2010/main" val="319054764"/>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50" name="Rectangle 2"/>
          <p:cNvSpPr>
            <a:spLocks noGrp="1" noChangeArrowheads="1"/>
          </p:cNvSpPr>
          <p:nvPr>
            <p:ph type="hdr" sz="quarter"/>
          </p:nvPr>
        </p:nvSpPr>
        <p:spPr bwMode="auto">
          <a:xfrm>
            <a:off x="5" y="-1084"/>
            <a:ext cx="4305631" cy="341297"/>
          </a:xfrm>
          <a:prstGeom prst="rect">
            <a:avLst/>
          </a:prstGeom>
          <a:noFill/>
          <a:ln w="9525">
            <a:noFill/>
            <a:miter lim="800000"/>
            <a:headEnd/>
            <a:tailEnd/>
          </a:ln>
          <a:effectLst/>
        </p:spPr>
        <p:txBody>
          <a:bodyPr vert="horz" wrap="square" lIns="19030" tIns="0" rIns="19030" bIns="0" numCol="1" anchor="t" anchorCtr="0" compatLnSpc="1">
            <a:prstTxWarp prst="textNoShape">
              <a:avLst/>
            </a:prstTxWarp>
          </a:bodyPr>
          <a:lstStyle>
            <a:lvl1pPr defTabSz="911015" eaLnBrk="0" hangingPunct="0">
              <a:spcAft>
                <a:spcPct val="0"/>
              </a:spcAft>
              <a:buClrTx/>
              <a:buSzTx/>
              <a:buFontTx/>
              <a:buNone/>
              <a:defRPr sz="1000" i="1">
                <a:latin typeface="EYInterstate Light" panose="02000506000000020004" pitchFamily="2" charset="0"/>
              </a:defRPr>
            </a:lvl1pPr>
          </a:lstStyle>
          <a:p>
            <a:pPr>
              <a:defRPr/>
            </a:pPr>
            <a:endParaRPr lang="en-US"/>
          </a:p>
        </p:txBody>
      </p:sp>
      <p:sp>
        <p:nvSpPr>
          <p:cNvPr id="2051" name="Rectangle 3"/>
          <p:cNvSpPr>
            <a:spLocks noGrp="1" noChangeArrowheads="1"/>
          </p:cNvSpPr>
          <p:nvPr>
            <p:ph type="dt" idx="1"/>
          </p:nvPr>
        </p:nvSpPr>
        <p:spPr bwMode="auto">
          <a:xfrm>
            <a:off x="5622597" y="-1084"/>
            <a:ext cx="4305630" cy="341297"/>
          </a:xfrm>
          <a:prstGeom prst="rect">
            <a:avLst/>
          </a:prstGeom>
          <a:noFill/>
          <a:ln w="9525">
            <a:noFill/>
            <a:miter lim="800000"/>
            <a:headEnd/>
            <a:tailEnd/>
          </a:ln>
          <a:effectLst/>
        </p:spPr>
        <p:txBody>
          <a:bodyPr vert="horz" wrap="square" lIns="19030" tIns="0" rIns="19030" bIns="0" numCol="1" anchor="t" anchorCtr="0" compatLnSpc="1">
            <a:prstTxWarp prst="textNoShape">
              <a:avLst/>
            </a:prstTxWarp>
          </a:bodyPr>
          <a:lstStyle>
            <a:lvl1pPr algn="r" defTabSz="911015" eaLnBrk="0" hangingPunct="0">
              <a:spcAft>
                <a:spcPct val="0"/>
              </a:spcAft>
              <a:buClrTx/>
              <a:buSzTx/>
              <a:buFontTx/>
              <a:buNone/>
              <a:defRPr sz="1000" i="1">
                <a:latin typeface="EYInterstate Light" panose="02000506000000020004" pitchFamily="2" charset="0"/>
              </a:defRPr>
            </a:lvl1pPr>
          </a:lstStyle>
          <a:p>
            <a:pPr>
              <a:defRPr/>
            </a:pPr>
            <a:fld id="{A1AA5B97-AE52-4962-9288-00DBDF2B6D94}" type="datetime3">
              <a:rPr lang="en-US" smtClean="0"/>
              <a:t>3 July 2020</a:t>
            </a:fld>
            <a:endParaRPr lang="en-US"/>
          </a:p>
        </p:txBody>
      </p:sp>
      <p:sp>
        <p:nvSpPr>
          <p:cNvPr id="23556" name="Rectangle 4"/>
          <p:cNvSpPr>
            <a:spLocks noGrp="1" noRot="1" noChangeAspect="1" noChangeArrowheads="1" noTextEdit="1"/>
          </p:cNvSpPr>
          <p:nvPr>
            <p:ph type="sldImg" idx="2"/>
          </p:nvPr>
        </p:nvSpPr>
        <p:spPr bwMode="auto">
          <a:xfrm>
            <a:off x="2706688" y="514350"/>
            <a:ext cx="4516437" cy="2540000"/>
          </a:xfrm>
          <a:prstGeom prst="rect">
            <a:avLst/>
          </a:prstGeom>
          <a:noFill/>
          <a:ln w="12700">
            <a:solidFill>
              <a:schemeClr val="tx1"/>
            </a:solidFill>
            <a:miter lim="800000"/>
            <a:headEnd/>
            <a:tailEnd/>
          </a:ln>
        </p:spPr>
      </p:sp>
      <p:sp>
        <p:nvSpPr>
          <p:cNvPr id="2053" name="Rectangle 5"/>
          <p:cNvSpPr>
            <a:spLocks noGrp="1" noChangeArrowheads="1"/>
          </p:cNvSpPr>
          <p:nvPr>
            <p:ph type="body" sz="quarter" idx="3"/>
          </p:nvPr>
        </p:nvSpPr>
        <p:spPr bwMode="auto">
          <a:xfrm>
            <a:off x="1323921" y="3229280"/>
            <a:ext cx="7280390" cy="3058629"/>
          </a:xfrm>
          <a:prstGeom prst="rect">
            <a:avLst/>
          </a:prstGeom>
          <a:noFill/>
          <a:ln w="9525">
            <a:noFill/>
            <a:miter lim="800000"/>
            <a:headEnd/>
            <a:tailEnd/>
          </a:ln>
          <a:effectLst/>
        </p:spPr>
        <p:txBody>
          <a:bodyPr vert="horz" wrap="square" lIns="90390" tIns="45988" rIns="90390" bIns="45988" numCol="1" anchor="t" anchorCtr="0" compatLnSpc="1">
            <a:prstTxWarp prst="textNoShape">
              <a:avLst/>
            </a:prstTxWarp>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054" name="Rectangle 6"/>
          <p:cNvSpPr>
            <a:spLocks noGrp="1" noChangeArrowheads="1"/>
          </p:cNvSpPr>
          <p:nvPr>
            <p:ph type="ftr" sz="quarter" idx="4"/>
          </p:nvPr>
        </p:nvSpPr>
        <p:spPr bwMode="auto">
          <a:xfrm>
            <a:off x="5" y="6457467"/>
            <a:ext cx="4305631" cy="341296"/>
          </a:xfrm>
          <a:prstGeom prst="rect">
            <a:avLst/>
          </a:prstGeom>
          <a:noFill/>
          <a:ln w="9525">
            <a:noFill/>
            <a:miter lim="800000"/>
            <a:headEnd/>
            <a:tailEnd/>
          </a:ln>
          <a:effectLst/>
        </p:spPr>
        <p:txBody>
          <a:bodyPr vert="horz" wrap="square" lIns="19030" tIns="0" rIns="19030" bIns="0" numCol="1" anchor="b" anchorCtr="0" compatLnSpc="1">
            <a:prstTxWarp prst="textNoShape">
              <a:avLst/>
            </a:prstTxWarp>
          </a:bodyPr>
          <a:lstStyle>
            <a:lvl1pPr defTabSz="911015" eaLnBrk="0" hangingPunct="0">
              <a:spcAft>
                <a:spcPct val="0"/>
              </a:spcAft>
              <a:buClrTx/>
              <a:buSzTx/>
              <a:buFontTx/>
              <a:buNone/>
              <a:defRPr sz="1000" i="1">
                <a:latin typeface="EYInterstate Light" panose="02000506000000020004" pitchFamily="2" charset="0"/>
              </a:defRPr>
            </a:lvl1pPr>
          </a:lstStyle>
          <a:p>
            <a:pPr>
              <a:defRPr/>
            </a:pPr>
            <a:endParaRPr lang="en-US"/>
          </a:p>
        </p:txBody>
      </p:sp>
      <p:sp>
        <p:nvSpPr>
          <p:cNvPr id="2055" name="Rectangle 7"/>
          <p:cNvSpPr>
            <a:spLocks noGrp="1" noChangeArrowheads="1"/>
          </p:cNvSpPr>
          <p:nvPr>
            <p:ph type="sldNum" sz="quarter" idx="5"/>
          </p:nvPr>
        </p:nvSpPr>
        <p:spPr bwMode="auto">
          <a:xfrm>
            <a:off x="5622597" y="6457467"/>
            <a:ext cx="4305630" cy="341296"/>
          </a:xfrm>
          <a:prstGeom prst="rect">
            <a:avLst/>
          </a:prstGeom>
          <a:noFill/>
          <a:ln w="9525">
            <a:noFill/>
            <a:miter lim="800000"/>
            <a:headEnd/>
            <a:tailEnd/>
          </a:ln>
          <a:effectLst/>
        </p:spPr>
        <p:txBody>
          <a:bodyPr vert="horz" wrap="square" lIns="19030" tIns="0" rIns="19030" bIns="0" numCol="1" anchor="b" anchorCtr="0" compatLnSpc="1">
            <a:prstTxWarp prst="textNoShape">
              <a:avLst/>
            </a:prstTxWarp>
          </a:bodyPr>
          <a:lstStyle>
            <a:lvl1pPr algn="r" defTabSz="911015" eaLnBrk="0" hangingPunct="0">
              <a:spcAft>
                <a:spcPct val="0"/>
              </a:spcAft>
              <a:buClrTx/>
              <a:buSzTx/>
              <a:buFontTx/>
              <a:buNone/>
              <a:defRPr sz="1000" i="1">
                <a:latin typeface="EYInterstate Light" panose="02000506000000020004" pitchFamily="2" charset="0"/>
              </a:defRPr>
            </a:lvl1pPr>
          </a:lstStyle>
          <a:p>
            <a:pPr>
              <a:defRPr/>
            </a:pPr>
            <a:fld id="{D6A34487-4F48-425E-A304-49BC9447D884}" type="slidenum">
              <a:rPr lang="en-US" smtClean="0"/>
              <a:pPr>
                <a:defRPr/>
              </a:pPr>
              <a:t>‹#›</a:t>
            </a:fld>
            <a:endParaRPr lang="en-US"/>
          </a:p>
        </p:txBody>
      </p:sp>
    </p:spTree>
    <p:extLst>
      <p:ext uri="{BB962C8B-B14F-4D97-AF65-F5344CB8AC3E}">
        <p14:creationId xmlns:p14="http://schemas.microsoft.com/office/powerpoint/2010/main" val="4040298497"/>
      </p:ext>
    </p:extLst>
  </p:cSld>
  <p:clrMap bg1="lt1" tx1="dk1" bg2="lt2" tx2="dk2" accent1="accent1" accent2="accent2" accent3="accent3" accent4="accent4" accent5="accent5" accent6="accent6" hlink="hlink" folHlink="folHlink"/>
  <p:hf hdr="0" ftr="0"/>
  <p:notesStyle>
    <a:lvl1pPr algn="l" defTabSz="910428" rtl="0" eaLnBrk="0" fontAlgn="base" hangingPunct="0">
      <a:spcBef>
        <a:spcPct val="30000"/>
      </a:spcBef>
      <a:spcAft>
        <a:spcPct val="0"/>
      </a:spcAft>
      <a:defRPr sz="1200" kern="1200">
        <a:solidFill>
          <a:schemeClr val="tx1"/>
        </a:solidFill>
        <a:latin typeface="EYInterstate Light" panose="02000506000000020004" pitchFamily="2" charset="0"/>
        <a:ea typeface="+mn-ea"/>
        <a:cs typeface="+mn-cs"/>
      </a:defRPr>
    </a:lvl1pPr>
    <a:lvl2pPr marL="456800" algn="l" defTabSz="910428" rtl="0" eaLnBrk="0" fontAlgn="base" hangingPunct="0">
      <a:spcBef>
        <a:spcPct val="30000"/>
      </a:spcBef>
      <a:spcAft>
        <a:spcPct val="0"/>
      </a:spcAft>
      <a:defRPr sz="1200" kern="1200">
        <a:solidFill>
          <a:schemeClr val="tx1"/>
        </a:solidFill>
        <a:latin typeface="EYInterstate Light" panose="02000506000000020004" pitchFamily="2" charset="0"/>
        <a:ea typeface="+mn-ea"/>
        <a:cs typeface="+mn-cs"/>
      </a:defRPr>
    </a:lvl2pPr>
    <a:lvl3pPr marL="913599" algn="l" defTabSz="910428" rtl="0" eaLnBrk="0" fontAlgn="base" hangingPunct="0">
      <a:spcBef>
        <a:spcPct val="30000"/>
      </a:spcBef>
      <a:spcAft>
        <a:spcPct val="0"/>
      </a:spcAft>
      <a:defRPr sz="1200" kern="1200">
        <a:solidFill>
          <a:schemeClr val="tx1"/>
        </a:solidFill>
        <a:latin typeface="EYInterstate Light" panose="02000506000000020004" pitchFamily="2" charset="0"/>
        <a:ea typeface="+mn-ea"/>
        <a:cs typeface="+mn-cs"/>
      </a:defRPr>
    </a:lvl3pPr>
    <a:lvl4pPr marL="1367229" algn="l" defTabSz="910428" rtl="0" eaLnBrk="0" fontAlgn="base" hangingPunct="0">
      <a:spcBef>
        <a:spcPct val="30000"/>
      </a:spcBef>
      <a:spcAft>
        <a:spcPct val="0"/>
      </a:spcAft>
      <a:defRPr sz="1200" kern="1200">
        <a:solidFill>
          <a:schemeClr val="tx1"/>
        </a:solidFill>
        <a:latin typeface="EYInterstate Light" panose="02000506000000020004" pitchFamily="2" charset="0"/>
        <a:ea typeface="+mn-ea"/>
        <a:cs typeface="+mn-cs"/>
      </a:defRPr>
    </a:lvl4pPr>
    <a:lvl5pPr marL="1827205" algn="l" defTabSz="910428" rtl="0" eaLnBrk="0" fontAlgn="base" hangingPunct="0">
      <a:spcBef>
        <a:spcPct val="30000"/>
      </a:spcBef>
      <a:spcAft>
        <a:spcPct val="0"/>
      </a:spcAft>
      <a:defRPr sz="1200" kern="1200">
        <a:solidFill>
          <a:schemeClr val="tx1"/>
        </a:solidFill>
        <a:latin typeface="EYInterstate Light" panose="02000506000000020004" pitchFamily="2" charset="0"/>
        <a:ea typeface="+mn-ea"/>
        <a:cs typeface="+mn-cs"/>
      </a:defRPr>
    </a:lvl5pPr>
    <a:lvl6pPr marL="2284001" algn="l" defTabSz="913599" rtl="0" eaLnBrk="1" latinLnBrk="0" hangingPunct="1">
      <a:defRPr sz="1200" kern="1200">
        <a:solidFill>
          <a:schemeClr val="tx1"/>
        </a:solidFill>
        <a:latin typeface="+mn-lt"/>
        <a:ea typeface="+mn-ea"/>
        <a:cs typeface="+mn-cs"/>
      </a:defRPr>
    </a:lvl6pPr>
    <a:lvl7pPr marL="2740801" algn="l" defTabSz="913599" rtl="0" eaLnBrk="1" latinLnBrk="0" hangingPunct="1">
      <a:defRPr sz="1200" kern="1200">
        <a:solidFill>
          <a:schemeClr val="tx1"/>
        </a:solidFill>
        <a:latin typeface="+mn-lt"/>
        <a:ea typeface="+mn-ea"/>
        <a:cs typeface="+mn-cs"/>
      </a:defRPr>
    </a:lvl7pPr>
    <a:lvl8pPr marL="3197601" algn="l" defTabSz="913599" rtl="0" eaLnBrk="1" latinLnBrk="0" hangingPunct="1">
      <a:defRPr sz="1200" kern="1200">
        <a:solidFill>
          <a:schemeClr val="tx1"/>
        </a:solidFill>
        <a:latin typeface="+mn-lt"/>
        <a:ea typeface="+mn-ea"/>
        <a:cs typeface="+mn-cs"/>
      </a:defRPr>
    </a:lvl8pPr>
    <a:lvl9pPr marL="3654397" algn="l" defTabSz="913599"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Date Placeholder 3"/>
          <p:cNvSpPr>
            <a:spLocks noGrp="1"/>
          </p:cNvSpPr>
          <p:nvPr>
            <p:ph type="dt" idx="1"/>
          </p:nvPr>
        </p:nvSpPr>
        <p:spPr/>
        <p:txBody>
          <a:bodyPr/>
          <a:lstStyle/>
          <a:p>
            <a:pPr marL="0" marR="0" lvl="0" indent="0" algn="r" defTabSz="911015" rtl="0" eaLnBrk="0" fontAlgn="base" latinLnBrk="0" hangingPunct="0">
              <a:lnSpc>
                <a:spcPct val="100000"/>
              </a:lnSpc>
              <a:spcBef>
                <a:spcPct val="0"/>
              </a:spcBef>
              <a:spcAft>
                <a:spcPct val="0"/>
              </a:spcAft>
              <a:buClrTx/>
              <a:buSzTx/>
              <a:buFontTx/>
              <a:buNone/>
              <a:tabLst/>
              <a:defRPr/>
            </a:pPr>
            <a:fld id="{A1AA5B97-AE52-4962-9288-00DBDF2B6D94}" type="datetime3">
              <a:rPr kumimoji="0" lang="en-US" sz="1000" b="0" i="1" u="none" strike="noStrike" kern="1200" cap="none" spc="0" normalizeH="0" baseline="0" noProof="0" smtClean="0">
                <a:ln>
                  <a:noFill/>
                </a:ln>
                <a:solidFill>
                  <a:srgbClr val="000000"/>
                </a:solidFill>
                <a:effectLst/>
                <a:uLnTx/>
                <a:uFillTx/>
                <a:latin typeface="EYInterstate Light" panose="02000506000000020004" pitchFamily="2" charset="0"/>
                <a:ea typeface="+mn-ea"/>
                <a:cs typeface="+mn-cs"/>
              </a:rPr>
              <a:pPr marL="0" marR="0" lvl="0" indent="0" algn="r" defTabSz="911015" rtl="0" eaLnBrk="0" fontAlgn="base" latinLnBrk="0" hangingPunct="0">
                <a:lnSpc>
                  <a:spcPct val="100000"/>
                </a:lnSpc>
                <a:spcBef>
                  <a:spcPct val="0"/>
                </a:spcBef>
                <a:spcAft>
                  <a:spcPct val="0"/>
                </a:spcAft>
                <a:buClrTx/>
                <a:buSzTx/>
                <a:buFontTx/>
                <a:buNone/>
                <a:tabLst/>
                <a:defRPr/>
              </a:pPr>
              <a:t>3 July 2020</a:t>
            </a:fld>
            <a:endParaRPr kumimoji="0" lang="en-US" sz="1000" b="0" i="1" u="none" strike="noStrike" kern="1200" cap="none" spc="0" normalizeH="0" baseline="0" noProof="0">
              <a:ln>
                <a:noFill/>
              </a:ln>
              <a:solidFill>
                <a:srgbClr val="000000"/>
              </a:solidFill>
              <a:effectLst/>
              <a:uLnTx/>
              <a:uFillTx/>
              <a:latin typeface="EYInterstate Light" panose="02000506000000020004" pitchFamily="2" charset="0"/>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1015" rtl="0" eaLnBrk="0" fontAlgn="base" latinLnBrk="0" hangingPunct="0">
              <a:lnSpc>
                <a:spcPct val="100000"/>
              </a:lnSpc>
              <a:spcBef>
                <a:spcPct val="0"/>
              </a:spcBef>
              <a:spcAft>
                <a:spcPct val="0"/>
              </a:spcAft>
              <a:buClrTx/>
              <a:buSzTx/>
              <a:buFontTx/>
              <a:buNone/>
              <a:tabLst/>
              <a:defRPr/>
            </a:pPr>
            <a:fld id="{D6A34487-4F48-425E-A304-49BC9447D884}" type="slidenum">
              <a:rPr kumimoji="0" lang="en-US" sz="1000" b="0" i="1" u="none" strike="noStrike" kern="1200" cap="none" spc="0" normalizeH="0" baseline="0" noProof="0" smtClean="0">
                <a:ln>
                  <a:noFill/>
                </a:ln>
                <a:solidFill>
                  <a:srgbClr val="000000"/>
                </a:solidFill>
                <a:effectLst/>
                <a:uLnTx/>
                <a:uFillTx/>
                <a:latin typeface="EYInterstate Light" panose="02000506000000020004" pitchFamily="2" charset="0"/>
                <a:ea typeface="+mn-ea"/>
                <a:cs typeface="+mn-cs"/>
              </a:rPr>
              <a:pPr marL="0" marR="0" lvl="0" indent="0" algn="r" defTabSz="911015" rtl="0" eaLnBrk="0" fontAlgn="base" latinLnBrk="0" hangingPunct="0">
                <a:lnSpc>
                  <a:spcPct val="100000"/>
                </a:lnSpc>
                <a:spcBef>
                  <a:spcPct val="0"/>
                </a:spcBef>
                <a:spcAft>
                  <a:spcPct val="0"/>
                </a:spcAft>
                <a:buClrTx/>
                <a:buSzTx/>
                <a:buFontTx/>
                <a:buNone/>
                <a:tabLst/>
                <a:defRPr/>
              </a:pPr>
              <a:t>3</a:t>
            </a:fld>
            <a:endParaRPr kumimoji="0" lang="en-US" sz="1000" b="0" i="1" u="none" strike="noStrike" kern="1200" cap="none" spc="0" normalizeH="0" baseline="0" noProof="0">
              <a:ln>
                <a:noFill/>
              </a:ln>
              <a:solidFill>
                <a:srgbClr val="000000"/>
              </a:solidFill>
              <a:effectLst/>
              <a:uLnTx/>
              <a:uFillTx/>
              <a:latin typeface="EYInterstate Light" panose="02000506000000020004" pitchFamily="2" charset="0"/>
              <a:ea typeface="+mn-ea"/>
              <a:cs typeface="+mn-cs"/>
            </a:endParaRPr>
          </a:p>
        </p:txBody>
      </p:sp>
    </p:spTree>
    <p:extLst>
      <p:ext uri="{BB962C8B-B14F-4D97-AF65-F5344CB8AC3E}">
        <p14:creationId xmlns:p14="http://schemas.microsoft.com/office/powerpoint/2010/main" val="92821191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
          </p:nvPr>
        </p:nvSpPr>
        <p:spPr/>
        <p:txBody>
          <a:bodyPr/>
          <a:lstStyle/>
          <a:p>
            <a:pPr marL="0" marR="0" lvl="0" indent="0" algn="r" defTabSz="911015" rtl="0" eaLnBrk="0" fontAlgn="base" latinLnBrk="0" hangingPunct="0">
              <a:lnSpc>
                <a:spcPct val="100000"/>
              </a:lnSpc>
              <a:spcBef>
                <a:spcPct val="0"/>
              </a:spcBef>
              <a:spcAft>
                <a:spcPct val="0"/>
              </a:spcAft>
              <a:buClrTx/>
              <a:buSzTx/>
              <a:buFontTx/>
              <a:buNone/>
              <a:tabLst/>
              <a:defRPr/>
            </a:pPr>
            <a:fld id="{A1AA5B97-AE52-4962-9288-00DBDF2B6D94}" type="datetime3">
              <a:rPr kumimoji="0" lang="en-US" sz="1000" b="0" i="1" u="none" strike="noStrike" kern="1200" cap="none" spc="0" normalizeH="0" baseline="0" noProof="0" smtClean="0">
                <a:ln>
                  <a:noFill/>
                </a:ln>
                <a:solidFill>
                  <a:srgbClr val="000000"/>
                </a:solidFill>
                <a:effectLst/>
                <a:uLnTx/>
                <a:uFillTx/>
                <a:latin typeface="EYInterstate Light" panose="02000506000000020004" pitchFamily="2" charset="0"/>
                <a:ea typeface="+mn-ea"/>
                <a:cs typeface="+mn-cs"/>
              </a:rPr>
              <a:pPr marL="0" marR="0" lvl="0" indent="0" algn="r" defTabSz="911015" rtl="0" eaLnBrk="0" fontAlgn="base" latinLnBrk="0" hangingPunct="0">
                <a:lnSpc>
                  <a:spcPct val="100000"/>
                </a:lnSpc>
                <a:spcBef>
                  <a:spcPct val="0"/>
                </a:spcBef>
                <a:spcAft>
                  <a:spcPct val="0"/>
                </a:spcAft>
                <a:buClrTx/>
                <a:buSzTx/>
                <a:buFontTx/>
                <a:buNone/>
                <a:tabLst/>
                <a:defRPr/>
              </a:pPr>
              <a:t>3 July 2020</a:t>
            </a:fld>
            <a:endParaRPr kumimoji="0" lang="en-US" sz="1000" b="0" i="1" u="none" strike="noStrike" kern="1200" cap="none" spc="0" normalizeH="0" baseline="0" noProof="0">
              <a:ln>
                <a:noFill/>
              </a:ln>
              <a:solidFill>
                <a:srgbClr val="000000"/>
              </a:solidFill>
              <a:effectLst/>
              <a:uLnTx/>
              <a:uFillTx/>
              <a:latin typeface="EYInterstate Light" panose="02000506000000020004" pitchFamily="2" charset="0"/>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1015" rtl="0" eaLnBrk="0" fontAlgn="base" latinLnBrk="0" hangingPunct="0">
              <a:lnSpc>
                <a:spcPct val="100000"/>
              </a:lnSpc>
              <a:spcBef>
                <a:spcPct val="0"/>
              </a:spcBef>
              <a:spcAft>
                <a:spcPct val="0"/>
              </a:spcAft>
              <a:buClrTx/>
              <a:buSzTx/>
              <a:buFontTx/>
              <a:buNone/>
              <a:tabLst/>
              <a:defRPr/>
            </a:pPr>
            <a:fld id="{D6A34487-4F48-425E-A304-49BC9447D884}" type="slidenum">
              <a:rPr kumimoji="0" lang="en-US" sz="1000" b="0" i="1" u="none" strike="noStrike" kern="1200" cap="none" spc="0" normalizeH="0" baseline="0" noProof="0" smtClean="0">
                <a:ln>
                  <a:noFill/>
                </a:ln>
                <a:solidFill>
                  <a:srgbClr val="000000"/>
                </a:solidFill>
                <a:effectLst/>
                <a:uLnTx/>
                <a:uFillTx/>
                <a:latin typeface="EYInterstate Light" panose="02000506000000020004" pitchFamily="2" charset="0"/>
                <a:ea typeface="+mn-ea"/>
                <a:cs typeface="+mn-cs"/>
              </a:rPr>
              <a:pPr marL="0" marR="0" lvl="0" indent="0" algn="r" defTabSz="911015" rtl="0" eaLnBrk="0" fontAlgn="base" latinLnBrk="0" hangingPunct="0">
                <a:lnSpc>
                  <a:spcPct val="100000"/>
                </a:lnSpc>
                <a:spcBef>
                  <a:spcPct val="0"/>
                </a:spcBef>
                <a:spcAft>
                  <a:spcPct val="0"/>
                </a:spcAft>
                <a:buClrTx/>
                <a:buSzTx/>
                <a:buFontTx/>
                <a:buNone/>
                <a:tabLst/>
                <a:defRPr/>
              </a:pPr>
              <a:t>18</a:t>
            </a:fld>
            <a:endParaRPr kumimoji="0" lang="en-US" sz="1000" b="0" i="1" u="none" strike="noStrike" kern="1200" cap="none" spc="0" normalizeH="0" baseline="0" noProof="0">
              <a:ln>
                <a:noFill/>
              </a:ln>
              <a:solidFill>
                <a:srgbClr val="000000"/>
              </a:solidFill>
              <a:effectLst/>
              <a:uLnTx/>
              <a:uFillTx/>
              <a:latin typeface="EYInterstate Light" panose="02000506000000020004" pitchFamily="2" charset="0"/>
              <a:ea typeface="+mn-ea"/>
              <a:cs typeface="+mn-cs"/>
            </a:endParaRPr>
          </a:p>
        </p:txBody>
      </p:sp>
    </p:spTree>
    <p:extLst>
      <p:ext uri="{BB962C8B-B14F-4D97-AF65-F5344CB8AC3E}">
        <p14:creationId xmlns:p14="http://schemas.microsoft.com/office/powerpoint/2010/main" val="203671717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
          </p:nvPr>
        </p:nvSpPr>
        <p:spPr/>
        <p:txBody>
          <a:bodyPr/>
          <a:lstStyle/>
          <a:p>
            <a:pPr marL="0" marR="0" lvl="0" indent="0" algn="r" defTabSz="911015" rtl="0" eaLnBrk="0" fontAlgn="base" latinLnBrk="0" hangingPunct="0">
              <a:lnSpc>
                <a:spcPct val="100000"/>
              </a:lnSpc>
              <a:spcBef>
                <a:spcPct val="0"/>
              </a:spcBef>
              <a:spcAft>
                <a:spcPct val="0"/>
              </a:spcAft>
              <a:buClrTx/>
              <a:buSzTx/>
              <a:buFontTx/>
              <a:buNone/>
              <a:tabLst/>
              <a:defRPr/>
            </a:pPr>
            <a:fld id="{A1AA5B97-AE52-4962-9288-00DBDF2B6D94}" type="datetime3">
              <a:rPr kumimoji="0" lang="en-US" sz="1000" b="0" i="1" u="none" strike="noStrike" kern="1200" cap="none" spc="0" normalizeH="0" baseline="0" noProof="0" smtClean="0">
                <a:ln>
                  <a:noFill/>
                </a:ln>
                <a:solidFill>
                  <a:srgbClr val="000000"/>
                </a:solidFill>
                <a:effectLst/>
                <a:uLnTx/>
                <a:uFillTx/>
                <a:latin typeface="EYInterstate Light" panose="02000506000000020004" pitchFamily="2" charset="0"/>
                <a:ea typeface="+mn-ea"/>
                <a:cs typeface="+mn-cs"/>
              </a:rPr>
              <a:pPr marL="0" marR="0" lvl="0" indent="0" algn="r" defTabSz="911015" rtl="0" eaLnBrk="0" fontAlgn="base" latinLnBrk="0" hangingPunct="0">
                <a:lnSpc>
                  <a:spcPct val="100000"/>
                </a:lnSpc>
                <a:spcBef>
                  <a:spcPct val="0"/>
                </a:spcBef>
                <a:spcAft>
                  <a:spcPct val="0"/>
                </a:spcAft>
                <a:buClrTx/>
                <a:buSzTx/>
                <a:buFontTx/>
                <a:buNone/>
                <a:tabLst/>
                <a:defRPr/>
              </a:pPr>
              <a:t>3 July 2020</a:t>
            </a:fld>
            <a:endParaRPr kumimoji="0" lang="en-US" sz="1000" b="0" i="1" u="none" strike="noStrike" kern="1200" cap="none" spc="0" normalizeH="0" baseline="0" noProof="0">
              <a:ln>
                <a:noFill/>
              </a:ln>
              <a:solidFill>
                <a:srgbClr val="000000"/>
              </a:solidFill>
              <a:effectLst/>
              <a:uLnTx/>
              <a:uFillTx/>
              <a:latin typeface="EYInterstate Light" panose="02000506000000020004" pitchFamily="2" charset="0"/>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1015" rtl="0" eaLnBrk="0" fontAlgn="base" latinLnBrk="0" hangingPunct="0">
              <a:lnSpc>
                <a:spcPct val="100000"/>
              </a:lnSpc>
              <a:spcBef>
                <a:spcPct val="0"/>
              </a:spcBef>
              <a:spcAft>
                <a:spcPct val="0"/>
              </a:spcAft>
              <a:buClrTx/>
              <a:buSzTx/>
              <a:buFontTx/>
              <a:buNone/>
              <a:tabLst/>
              <a:defRPr/>
            </a:pPr>
            <a:fld id="{D6A34487-4F48-425E-A304-49BC9447D884}" type="slidenum">
              <a:rPr kumimoji="0" lang="en-US" sz="1000" b="0" i="1" u="none" strike="noStrike" kern="1200" cap="none" spc="0" normalizeH="0" baseline="0" noProof="0" smtClean="0">
                <a:ln>
                  <a:noFill/>
                </a:ln>
                <a:solidFill>
                  <a:srgbClr val="000000"/>
                </a:solidFill>
                <a:effectLst/>
                <a:uLnTx/>
                <a:uFillTx/>
                <a:latin typeface="EYInterstate Light" panose="02000506000000020004" pitchFamily="2" charset="0"/>
                <a:ea typeface="+mn-ea"/>
                <a:cs typeface="+mn-cs"/>
              </a:rPr>
              <a:pPr marL="0" marR="0" lvl="0" indent="0" algn="r" defTabSz="911015" rtl="0" eaLnBrk="0" fontAlgn="base" latinLnBrk="0" hangingPunct="0">
                <a:lnSpc>
                  <a:spcPct val="100000"/>
                </a:lnSpc>
                <a:spcBef>
                  <a:spcPct val="0"/>
                </a:spcBef>
                <a:spcAft>
                  <a:spcPct val="0"/>
                </a:spcAft>
                <a:buClrTx/>
                <a:buSzTx/>
                <a:buFontTx/>
                <a:buNone/>
                <a:tabLst/>
                <a:defRPr/>
              </a:pPr>
              <a:t>19</a:t>
            </a:fld>
            <a:endParaRPr kumimoji="0" lang="en-US" sz="1000" b="0" i="1" u="none" strike="noStrike" kern="1200" cap="none" spc="0" normalizeH="0" baseline="0" noProof="0">
              <a:ln>
                <a:noFill/>
              </a:ln>
              <a:solidFill>
                <a:srgbClr val="000000"/>
              </a:solidFill>
              <a:effectLst/>
              <a:uLnTx/>
              <a:uFillTx/>
              <a:latin typeface="EYInterstate Light" panose="02000506000000020004" pitchFamily="2" charset="0"/>
              <a:ea typeface="+mn-ea"/>
              <a:cs typeface="+mn-cs"/>
            </a:endParaRPr>
          </a:p>
        </p:txBody>
      </p:sp>
    </p:spTree>
    <p:extLst>
      <p:ext uri="{BB962C8B-B14F-4D97-AF65-F5344CB8AC3E}">
        <p14:creationId xmlns:p14="http://schemas.microsoft.com/office/powerpoint/2010/main" val="422817150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
          </p:nvPr>
        </p:nvSpPr>
        <p:spPr/>
        <p:txBody>
          <a:bodyPr/>
          <a:lstStyle/>
          <a:p>
            <a:pPr marL="0" marR="0" lvl="0" indent="0" algn="r" defTabSz="911015" rtl="0" eaLnBrk="0" fontAlgn="base" latinLnBrk="0" hangingPunct="0">
              <a:lnSpc>
                <a:spcPct val="100000"/>
              </a:lnSpc>
              <a:spcBef>
                <a:spcPct val="0"/>
              </a:spcBef>
              <a:spcAft>
                <a:spcPct val="0"/>
              </a:spcAft>
              <a:buClrTx/>
              <a:buSzTx/>
              <a:buFontTx/>
              <a:buNone/>
              <a:tabLst/>
              <a:defRPr/>
            </a:pPr>
            <a:fld id="{A1AA5B97-AE52-4962-9288-00DBDF2B6D94}" type="datetime3">
              <a:rPr kumimoji="0" lang="en-US" sz="1000" b="0" i="1" u="none" strike="noStrike" kern="1200" cap="none" spc="0" normalizeH="0" baseline="0" noProof="0" smtClean="0">
                <a:ln>
                  <a:noFill/>
                </a:ln>
                <a:solidFill>
                  <a:srgbClr val="000000"/>
                </a:solidFill>
                <a:effectLst/>
                <a:uLnTx/>
                <a:uFillTx/>
                <a:latin typeface="EYInterstate Light" panose="02000506000000020004" pitchFamily="2" charset="0"/>
                <a:ea typeface="+mn-ea"/>
                <a:cs typeface="+mn-cs"/>
              </a:rPr>
              <a:pPr marL="0" marR="0" lvl="0" indent="0" algn="r" defTabSz="911015" rtl="0" eaLnBrk="0" fontAlgn="base" latinLnBrk="0" hangingPunct="0">
                <a:lnSpc>
                  <a:spcPct val="100000"/>
                </a:lnSpc>
                <a:spcBef>
                  <a:spcPct val="0"/>
                </a:spcBef>
                <a:spcAft>
                  <a:spcPct val="0"/>
                </a:spcAft>
                <a:buClrTx/>
                <a:buSzTx/>
                <a:buFontTx/>
                <a:buNone/>
                <a:tabLst/>
                <a:defRPr/>
              </a:pPr>
              <a:t>3 July 2020</a:t>
            </a:fld>
            <a:endParaRPr kumimoji="0" lang="en-US" sz="1000" b="0" i="1" u="none" strike="noStrike" kern="1200" cap="none" spc="0" normalizeH="0" baseline="0" noProof="0">
              <a:ln>
                <a:noFill/>
              </a:ln>
              <a:solidFill>
                <a:srgbClr val="000000"/>
              </a:solidFill>
              <a:effectLst/>
              <a:uLnTx/>
              <a:uFillTx/>
              <a:latin typeface="EYInterstate Light" panose="02000506000000020004" pitchFamily="2" charset="0"/>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1015" rtl="0" eaLnBrk="0" fontAlgn="base" latinLnBrk="0" hangingPunct="0">
              <a:lnSpc>
                <a:spcPct val="100000"/>
              </a:lnSpc>
              <a:spcBef>
                <a:spcPct val="0"/>
              </a:spcBef>
              <a:spcAft>
                <a:spcPct val="0"/>
              </a:spcAft>
              <a:buClrTx/>
              <a:buSzTx/>
              <a:buFontTx/>
              <a:buNone/>
              <a:tabLst/>
              <a:defRPr/>
            </a:pPr>
            <a:fld id="{D6A34487-4F48-425E-A304-49BC9447D884}" type="slidenum">
              <a:rPr kumimoji="0" lang="en-US" sz="1000" b="0" i="1" u="none" strike="noStrike" kern="1200" cap="none" spc="0" normalizeH="0" baseline="0" noProof="0" smtClean="0">
                <a:ln>
                  <a:noFill/>
                </a:ln>
                <a:solidFill>
                  <a:srgbClr val="000000"/>
                </a:solidFill>
                <a:effectLst/>
                <a:uLnTx/>
                <a:uFillTx/>
                <a:latin typeface="EYInterstate Light" panose="02000506000000020004" pitchFamily="2" charset="0"/>
                <a:ea typeface="+mn-ea"/>
                <a:cs typeface="+mn-cs"/>
              </a:rPr>
              <a:pPr marL="0" marR="0" lvl="0" indent="0" algn="r" defTabSz="911015" rtl="0" eaLnBrk="0" fontAlgn="base" latinLnBrk="0" hangingPunct="0">
                <a:lnSpc>
                  <a:spcPct val="100000"/>
                </a:lnSpc>
                <a:spcBef>
                  <a:spcPct val="0"/>
                </a:spcBef>
                <a:spcAft>
                  <a:spcPct val="0"/>
                </a:spcAft>
                <a:buClrTx/>
                <a:buSzTx/>
                <a:buFontTx/>
                <a:buNone/>
                <a:tabLst/>
                <a:defRPr/>
              </a:pPr>
              <a:t>20</a:t>
            </a:fld>
            <a:endParaRPr kumimoji="0" lang="en-US" sz="1000" b="0" i="1" u="none" strike="noStrike" kern="1200" cap="none" spc="0" normalizeH="0" baseline="0" noProof="0">
              <a:ln>
                <a:noFill/>
              </a:ln>
              <a:solidFill>
                <a:srgbClr val="000000"/>
              </a:solidFill>
              <a:effectLst/>
              <a:uLnTx/>
              <a:uFillTx/>
              <a:latin typeface="EYInterstate Light" panose="02000506000000020004" pitchFamily="2" charset="0"/>
              <a:ea typeface="+mn-ea"/>
              <a:cs typeface="+mn-cs"/>
            </a:endParaRPr>
          </a:p>
        </p:txBody>
      </p:sp>
    </p:spTree>
    <p:extLst>
      <p:ext uri="{BB962C8B-B14F-4D97-AF65-F5344CB8AC3E}">
        <p14:creationId xmlns:p14="http://schemas.microsoft.com/office/powerpoint/2010/main" val="302118417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
          </p:nvPr>
        </p:nvSpPr>
        <p:spPr/>
        <p:txBody>
          <a:bodyPr/>
          <a:lstStyle/>
          <a:p>
            <a:pPr marL="0" marR="0" lvl="0" indent="0" algn="r" defTabSz="911015" rtl="0" eaLnBrk="0" fontAlgn="base" latinLnBrk="0" hangingPunct="0">
              <a:lnSpc>
                <a:spcPct val="100000"/>
              </a:lnSpc>
              <a:spcBef>
                <a:spcPct val="0"/>
              </a:spcBef>
              <a:spcAft>
                <a:spcPct val="0"/>
              </a:spcAft>
              <a:buClrTx/>
              <a:buSzTx/>
              <a:buFontTx/>
              <a:buNone/>
              <a:tabLst/>
              <a:defRPr/>
            </a:pPr>
            <a:fld id="{A1AA5B97-AE52-4962-9288-00DBDF2B6D94}" type="datetime3">
              <a:rPr kumimoji="0" lang="en-US" sz="1000" b="0" i="1" u="none" strike="noStrike" kern="1200" cap="none" spc="0" normalizeH="0" baseline="0" noProof="0" smtClean="0">
                <a:ln>
                  <a:noFill/>
                </a:ln>
                <a:solidFill>
                  <a:srgbClr val="000000"/>
                </a:solidFill>
                <a:effectLst/>
                <a:uLnTx/>
                <a:uFillTx/>
                <a:latin typeface="EYInterstate Light" panose="02000506000000020004" pitchFamily="2" charset="0"/>
                <a:ea typeface="+mn-ea"/>
                <a:cs typeface="+mn-cs"/>
              </a:rPr>
              <a:pPr marL="0" marR="0" lvl="0" indent="0" algn="r" defTabSz="911015" rtl="0" eaLnBrk="0" fontAlgn="base" latinLnBrk="0" hangingPunct="0">
                <a:lnSpc>
                  <a:spcPct val="100000"/>
                </a:lnSpc>
                <a:spcBef>
                  <a:spcPct val="0"/>
                </a:spcBef>
                <a:spcAft>
                  <a:spcPct val="0"/>
                </a:spcAft>
                <a:buClrTx/>
                <a:buSzTx/>
                <a:buFontTx/>
                <a:buNone/>
                <a:tabLst/>
                <a:defRPr/>
              </a:pPr>
              <a:t>3 July 2020</a:t>
            </a:fld>
            <a:endParaRPr kumimoji="0" lang="en-US" sz="1000" b="0" i="1" u="none" strike="noStrike" kern="1200" cap="none" spc="0" normalizeH="0" baseline="0" noProof="0">
              <a:ln>
                <a:noFill/>
              </a:ln>
              <a:solidFill>
                <a:srgbClr val="000000"/>
              </a:solidFill>
              <a:effectLst/>
              <a:uLnTx/>
              <a:uFillTx/>
              <a:latin typeface="EYInterstate Light" panose="02000506000000020004" pitchFamily="2" charset="0"/>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1015" rtl="0" eaLnBrk="0" fontAlgn="base" latinLnBrk="0" hangingPunct="0">
              <a:lnSpc>
                <a:spcPct val="100000"/>
              </a:lnSpc>
              <a:spcBef>
                <a:spcPct val="0"/>
              </a:spcBef>
              <a:spcAft>
                <a:spcPct val="0"/>
              </a:spcAft>
              <a:buClrTx/>
              <a:buSzTx/>
              <a:buFontTx/>
              <a:buNone/>
              <a:tabLst/>
              <a:defRPr/>
            </a:pPr>
            <a:fld id="{D6A34487-4F48-425E-A304-49BC9447D884}" type="slidenum">
              <a:rPr kumimoji="0" lang="en-US" sz="1000" b="0" i="1" u="none" strike="noStrike" kern="1200" cap="none" spc="0" normalizeH="0" baseline="0" noProof="0" smtClean="0">
                <a:ln>
                  <a:noFill/>
                </a:ln>
                <a:solidFill>
                  <a:srgbClr val="000000"/>
                </a:solidFill>
                <a:effectLst/>
                <a:uLnTx/>
                <a:uFillTx/>
                <a:latin typeface="EYInterstate Light" panose="02000506000000020004" pitchFamily="2" charset="0"/>
                <a:ea typeface="+mn-ea"/>
                <a:cs typeface="+mn-cs"/>
              </a:rPr>
              <a:pPr marL="0" marR="0" lvl="0" indent="0" algn="r" defTabSz="911015" rtl="0" eaLnBrk="0" fontAlgn="base" latinLnBrk="0" hangingPunct="0">
                <a:lnSpc>
                  <a:spcPct val="100000"/>
                </a:lnSpc>
                <a:spcBef>
                  <a:spcPct val="0"/>
                </a:spcBef>
                <a:spcAft>
                  <a:spcPct val="0"/>
                </a:spcAft>
                <a:buClrTx/>
                <a:buSzTx/>
                <a:buFontTx/>
                <a:buNone/>
                <a:tabLst/>
                <a:defRPr/>
              </a:pPr>
              <a:t>21</a:t>
            </a:fld>
            <a:endParaRPr kumimoji="0" lang="en-US" sz="1000" b="0" i="1" u="none" strike="noStrike" kern="1200" cap="none" spc="0" normalizeH="0" baseline="0" noProof="0">
              <a:ln>
                <a:noFill/>
              </a:ln>
              <a:solidFill>
                <a:srgbClr val="000000"/>
              </a:solidFill>
              <a:effectLst/>
              <a:uLnTx/>
              <a:uFillTx/>
              <a:latin typeface="EYInterstate Light" panose="02000506000000020004" pitchFamily="2" charset="0"/>
              <a:ea typeface="+mn-ea"/>
              <a:cs typeface="+mn-cs"/>
            </a:endParaRPr>
          </a:p>
        </p:txBody>
      </p:sp>
    </p:spTree>
    <p:extLst>
      <p:ext uri="{BB962C8B-B14F-4D97-AF65-F5344CB8AC3E}">
        <p14:creationId xmlns:p14="http://schemas.microsoft.com/office/powerpoint/2010/main" val="159068935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
          </p:nvPr>
        </p:nvSpPr>
        <p:spPr/>
        <p:txBody>
          <a:bodyPr/>
          <a:lstStyle/>
          <a:p>
            <a:pPr marL="0" marR="0" lvl="0" indent="0" algn="r" defTabSz="911015" rtl="0" eaLnBrk="0" fontAlgn="base" latinLnBrk="0" hangingPunct="0">
              <a:lnSpc>
                <a:spcPct val="100000"/>
              </a:lnSpc>
              <a:spcBef>
                <a:spcPct val="0"/>
              </a:spcBef>
              <a:spcAft>
                <a:spcPct val="0"/>
              </a:spcAft>
              <a:buClrTx/>
              <a:buSzTx/>
              <a:buFontTx/>
              <a:buNone/>
              <a:tabLst/>
              <a:defRPr/>
            </a:pPr>
            <a:fld id="{A1AA5B97-AE52-4962-9288-00DBDF2B6D94}" type="datetime3">
              <a:rPr kumimoji="0" lang="en-US" sz="1000" b="0" i="1" u="none" strike="noStrike" kern="1200" cap="none" spc="0" normalizeH="0" baseline="0" noProof="0" smtClean="0">
                <a:ln>
                  <a:noFill/>
                </a:ln>
                <a:solidFill>
                  <a:srgbClr val="000000"/>
                </a:solidFill>
                <a:effectLst/>
                <a:uLnTx/>
                <a:uFillTx/>
                <a:latin typeface="EYInterstate Light" panose="02000506000000020004" pitchFamily="2" charset="0"/>
                <a:ea typeface="+mn-ea"/>
                <a:cs typeface="+mn-cs"/>
              </a:rPr>
              <a:pPr marL="0" marR="0" lvl="0" indent="0" algn="r" defTabSz="911015" rtl="0" eaLnBrk="0" fontAlgn="base" latinLnBrk="0" hangingPunct="0">
                <a:lnSpc>
                  <a:spcPct val="100000"/>
                </a:lnSpc>
                <a:spcBef>
                  <a:spcPct val="0"/>
                </a:spcBef>
                <a:spcAft>
                  <a:spcPct val="0"/>
                </a:spcAft>
                <a:buClrTx/>
                <a:buSzTx/>
                <a:buFontTx/>
                <a:buNone/>
                <a:tabLst/>
                <a:defRPr/>
              </a:pPr>
              <a:t>3 July 2020</a:t>
            </a:fld>
            <a:endParaRPr kumimoji="0" lang="en-US" sz="1000" b="0" i="1" u="none" strike="noStrike" kern="1200" cap="none" spc="0" normalizeH="0" baseline="0" noProof="0">
              <a:ln>
                <a:noFill/>
              </a:ln>
              <a:solidFill>
                <a:srgbClr val="000000"/>
              </a:solidFill>
              <a:effectLst/>
              <a:uLnTx/>
              <a:uFillTx/>
              <a:latin typeface="EYInterstate Light" panose="02000506000000020004" pitchFamily="2" charset="0"/>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1015" rtl="0" eaLnBrk="0" fontAlgn="base" latinLnBrk="0" hangingPunct="0">
              <a:lnSpc>
                <a:spcPct val="100000"/>
              </a:lnSpc>
              <a:spcBef>
                <a:spcPct val="0"/>
              </a:spcBef>
              <a:spcAft>
                <a:spcPct val="0"/>
              </a:spcAft>
              <a:buClrTx/>
              <a:buSzTx/>
              <a:buFontTx/>
              <a:buNone/>
              <a:tabLst/>
              <a:defRPr/>
            </a:pPr>
            <a:fld id="{D6A34487-4F48-425E-A304-49BC9447D884}" type="slidenum">
              <a:rPr kumimoji="0" lang="en-US" sz="1000" b="0" i="1" u="none" strike="noStrike" kern="1200" cap="none" spc="0" normalizeH="0" baseline="0" noProof="0" smtClean="0">
                <a:ln>
                  <a:noFill/>
                </a:ln>
                <a:solidFill>
                  <a:srgbClr val="000000"/>
                </a:solidFill>
                <a:effectLst/>
                <a:uLnTx/>
                <a:uFillTx/>
                <a:latin typeface="EYInterstate Light" panose="02000506000000020004" pitchFamily="2" charset="0"/>
                <a:ea typeface="+mn-ea"/>
                <a:cs typeface="+mn-cs"/>
              </a:rPr>
              <a:pPr marL="0" marR="0" lvl="0" indent="0" algn="r" defTabSz="911015" rtl="0" eaLnBrk="0" fontAlgn="base" latinLnBrk="0" hangingPunct="0">
                <a:lnSpc>
                  <a:spcPct val="100000"/>
                </a:lnSpc>
                <a:spcBef>
                  <a:spcPct val="0"/>
                </a:spcBef>
                <a:spcAft>
                  <a:spcPct val="0"/>
                </a:spcAft>
                <a:buClrTx/>
                <a:buSzTx/>
                <a:buFontTx/>
                <a:buNone/>
                <a:tabLst/>
                <a:defRPr/>
              </a:pPr>
              <a:t>22</a:t>
            </a:fld>
            <a:endParaRPr kumimoji="0" lang="en-US" sz="1000" b="0" i="1" u="none" strike="noStrike" kern="1200" cap="none" spc="0" normalizeH="0" baseline="0" noProof="0">
              <a:ln>
                <a:noFill/>
              </a:ln>
              <a:solidFill>
                <a:srgbClr val="000000"/>
              </a:solidFill>
              <a:effectLst/>
              <a:uLnTx/>
              <a:uFillTx/>
              <a:latin typeface="EYInterstate Light" panose="02000506000000020004" pitchFamily="2" charset="0"/>
              <a:ea typeface="+mn-ea"/>
              <a:cs typeface="+mn-cs"/>
            </a:endParaRPr>
          </a:p>
        </p:txBody>
      </p:sp>
    </p:spTree>
    <p:extLst>
      <p:ext uri="{BB962C8B-B14F-4D97-AF65-F5344CB8AC3E}">
        <p14:creationId xmlns:p14="http://schemas.microsoft.com/office/powerpoint/2010/main" val="417018873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Date Placeholder 3"/>
          <p:cNvSpPr>
            <a:spLocks noGrp="1"/>
          </p:cNvSpPr>
          <p:nvPr>
            <p:ph type="dt" idx="1"/>
          </p:nvPr>
        </p:nvSpPr>
        <p:spPr/>
        <p:txBody>
          <a:bodyPr/>
          <a:lstStyle/>
          <a:p>
            <a:pPr marL="0" marR="0" lvl="0" indent="0" algn="r" defTabSz="911015" rtl="0" eaLnBrk="0" fontAlgn="base" latinLnBrk="0" hangingPunct="0">
              <a:lnSpc>
                <a:spcPct val="100000"/>
              </a:lnSpc>
              <a:spcBef>
                <a:spcPct val="0"/>
              </a:spcBef>
              <a:spcAft>
                <a:spcPct val="0"/>
              </a:spcAft>
              <a:buClrTx/>
              <a:buSzTx/>
              <a:buFontTx/>
              <a:buNone/>
              <a:tabLst/>
              <a:defRPr/>
            </a:pPr>
            <a:fld id="{A1AA5B97-AE52-4962-9288-00DBDF2B6D94}" type="datetime3">
              <a:rPr kumimoji="0" lang="en-US" sz="1000" b="0" i="1" u="none" strike="noStrike" kern="1200" cap="none" spc="0" normalizeH="0" baseline="0" noProof="0" smtClean="0">
                <a:ln>
                  <a:noFill/>
                </a:ln>
                <a:solidFill>
                  <a:srgbClr val="000000"/>
                </a:solidFill>
                <a:effectLst/>
                <a:uLnTx/>
                <a:uFillTx/>
                <a:latin typeface="EYInterstate Light" panose="02000506000000020004" pitchFamily="2" charset="0"/>
                <a:ea typeface="+mn-ea"/>
                <a:cs typeface="+mn-cs"/>
              </a:rPr>
              <a:pPr marL="0" marR="0" lvl="0" indent="0" algn="r" defTabSz="911015" rtl="0" eaLnBrk="0" fontAlgn="base" latinLnBrk="0" hangingPunct="0">
                <a:lnSpc>
                  <a:spcPct val="100000"/>
                </a:lnSpc>
                <a:spcBef>
                  <a:spcPct val="0"/>
                </a:spcBef>
                <a:spcAft>
                  <a:spcPct val="0"/>
                </a:spcAft>
                <a:buClrTx/>
                <a:buSzTx/>
                <a:buFontTx/>
                <a:buNone/>
                <a:tabLst/>
                <a:defRPr/>
              </a:pPr>
              <a:t>3 July 2020</a:t>
            </a:fld>
            <a:endParaRPr kumimoji="0" lang="en-US" sz="1000" b="0" i="1" u="none" strike="noStrike" kern="1200" cap="none" spc="0" normalizeH="0" baseline="0" noProof="0">
              <a:ln>
                <a:noFill/>
              </a:ln>
              <a:solidFill>
                <a:srgbClr val="000000"/>
              </a:solidFill>
              <a:effectLst/>
              <a:uLnTx/>
              <a:uFillTx/>
              <a:latin typeface="EYInterstate Light" panose="02000506000000020004" pitchFamily="2" charset="0"/>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1015" rtl="0" eaLnBrk="0" fontAlgn="base" latinLnBrk="0" hangingPunct="0">
              <a:lnSpc>
                <a:spcPct val="100000"/>
              </a:lnSpc>
              <a:spcBef>
                <a:spcPct val="0"/>
              </a:spcBef>
              <a:spcAft>
                <a:spcPct val="0"/>
              </a:spcAft>
              <a:buClrTx/>
              <a:buSzTx/>
              <a:buFontTx/>
              <a:buNone/>
              <a:tabLst/>
              <a:defRPr/>
            </a:pPr>
            <a:fld id="{D6A34487-4F48-425E-A304-49BC9447D884}" type="slidenum">
              <a:rPr kumimoji="0" lang="en-US" sz="1000" b="0" i="1" u="none" strike="noStrike" kern="1200" cap="none" spc="0" normalizeH="0" baseline="0" noProof="0" smtClean="0">
                <a:ln>
                  <a:noFill/>
                </a:ln>
                <a:solidFill>
                  <a:srgbClr val="000000"/>
                </a:solidFill>
                <a:effectLst/>
                <a:uLnTx/>
                <a:uFillTx/>
                <a:latin typeface="EYInterstate Light" panose="02000506000000020004" pitchFamily="2" charset="0"/>
                <a:ea typeface="+mn-ea"/>
                <a:cs typeface="+mn-cs"/>
              </a:rPr>
              <a:pPr marL="0" marR="0" lvl="0" indent="0" algn="r" defTabSz="911015" rtl="0" eaLnBrk="0" fontAlgn="base" latinLnBrk="0" hangingPunct="0">
                <a:lnSpc>
                  <a:spcPct val="100000"/>
                </a:lnSpc>
                <a:spcBef>
                  <a:spcPct val="0"/>
                </a:spcBef>
                <a:spcAft>
                  <a:spcPct val="0"/>
                </a:spcAft>
                <a:buClrTx/>
                <a:buSzTx/>
                <a:buFontTx/>
                <a:buNone/>
                <a:tabLst/>
                <a:defRPr/>
              </a:pPr>
              <a:t>23</a:t>
            </a:fld>
            <a:endParaRPr kumimoji="0" lang="en-US" sz="1000" b="0" i="1" u="none" strike="noStrike" kern="1200" cap="none" spc="0" normalizeH="0" baseline="0" noProof="0">
              <a:ln>
                <a:noFill/>
              </a:ln>
              <a:solidFill>
                <a:srgbClr val="000000"/>
              </a:solidFill>
              <a:effectLst/>
              <a:uLnTx/>
              <a:uFillTx/>
              <a:latin typeface="EYInterstate Light" panose="02000506000000020004" pitchFamily="2" charset="0"/>
              <a:ea typeface="+mn-ea"/>
              <a:cs typeface="+mn-cs"/>
            </a:endParaRPr>
          </a:p>
        </p:txBody>
      </p:sp>
    </p:spTree>
    <p:extLst>
      <p:ext uri="{BB962C8B-B14F-4D97-AF65-F5344CB8AC3E}">
        <p14:creationId xmlns:p14="http://schemas.microsoft.com/office/powerpoint/2010/main" val="73198500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Date Placeholder 3"/>
          <p:cNvSpPr>
            <a:spLocks noGrp="1"/>
          </p:cNvSpPr>
          <p:nvPr>
            <p:ph type="dt" idx="1"/>
          </p:nvPr>
        </p:nvSpPr>
        <p:spPr/>
        <p:txBody>
          <a:bodyPr/>
          <a:lstStyle/>
          <a:p>
            <a:pPr marL="0" marR="0" lvl="0" indent="0" algn="r" defTabSz="911015" rtl="0" eaLnBrk="0" fontAlgn="base" latinLnBrk="0" hangingPunct="0">
              <a:lnSpc>
                <a:spcPct val="100000"/>
              </a:lnSpc>
              <a:spcBef>
                <a:spcPct val="0"/>
              </a:spcBef>
              <a:spcAft>
                <a:spcPct val="0"/>
              </a:spcAft>
              <a:buClrTx/>
              <a:buSzTx/>
              <a:buFontTx/>
              <a:buNone/>
              <a:tabLst/>
              <a:defRPr/>
            </a:pPr>
            <a:fld id="{A1AA5B97-AE52-4962-9288-00DBDF2B6D94}" type="datetime3">
              <a:rPr kumimoji="0" lang="en-US" sz="1000" b="0" i="1" u="none" strike="noStrike" kern="1200" cap="none" spc="0" normalizeH="0" baseline="0" noProof="0" smtClean="0">
                <a:ln>
                  <a:noFill/>
                </a:ln>
                <a:solidFill>
                  <a:srgbClr val="000000"/>
                </a:solidFill>
                <a:effectLst/>
                <a:uLnTx/>
                <a:uFillTx/>
                <a:latin typeface="EYInterstate Light" panose="02000506000000020004" pitchFamily="2" charset="0"/>
                <a:ea typeface="+mn-ea"/>
                <a:cs typeface="+mn-cs"/>
              </a:rPr>
              <a:pPr marL="0" marR="0" lvl="0" indent="0" algn="r" defTabSz="911015" rtl="0" eaLnBrk="0" fontAlgn="base" latinLnBrk="0" hangingPunct="0">
                <a:lnSpc>
                  <a:spcPct val="100000"/>
                </a:lnSpc>
                <a:spcBef>
                  <a:spcPct val="0"/>
                </a:spcBef>
                <a:spcAft>
                  <a:spcPct val="0"/>
                </a:spcAft>
                <a:buClrTx/>
                <a:buSzTx/>
                <a:buFontTx/>
                <a:buNone/>
                <a:tabLst/>
                <a:defRPr/>
              </a:pPr>
              <a:t>3 July 2020</a:t>
            </a:fld>
            <a:endParaRPr kumimoji="0" lang="en-US" sz="1000" b="0" i="1" u="none" strike="noStrike" kern="1200" cap="none" spc="0" normalizeH="0" baseline="0" noProof="0">
              <a:ln>
                <a:noFill/>
              </a:ln>
              <a:solidFill>
                <a:srgbClr val="000000"/>
              </a:solidFill>
              <a:effectLst/>
              <a:uLnTx/>
              <a:uFillTx/>
              <a:latin typeface="EYInterstate Light" panose="02000506000000020004" pitchFamily="2" charset="0"/>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1015" rtl="0" eaLnBrk="0" fontAlgn="base" latinLnBrk="0" hangingPunct="0">
              <a:lnSpc>
                <a:spcPct val="100000"/>
              </a:lnSpc>
              <a:spcBef>
                <a:spcPct val="0"/>
              </a:spcBef>
              <a:spcAft>
                <a:spcPct val="0"/>
              </a:spcAft>
              <a:buClrTx/>
              <a:buSzTx/>
              <a:buFontTx/>
              <a:buNone/>
              <a:tabLst/>
              <a:defRPr/>
            </a:pPr>
            <a:fld id="{D6A34487-4F48-425E-A304-49BC9447D884}" type="slidenum">
              <a:rPr kumimoji="0" lang="en-US" sz="1000" b="0" i="1" u="none" strike="noStrike" kern="1200" cap="none" spc="0" normalizeH="0" baseline="0" noProof="0" smtClean="0">
                <a:ln>
                  <a:noFill/>
                </a:ln>
                <a:solidFill>
                  <a:srgbClr val="000000"/>
                </a:solidFill>
                <a:effectLst/>
                <a:uLnTx/>
                <a:uFillTx/>
                <a:latin typeface="EYInterstate Light" panose="02000506000000020004" pitchFamily="2" charset="0"/>
                <a:ea typeface="+mn-ea"/>
                <a:cs typeface="+mn-cs"/>
              </a:rPr>
              <a:pPr marL="0" marR="0" lvl="0" indent="0" algn="r" defTabSz="911015" rtl="0" eaLnBrk="0" fontAlgn="base" latinLnBrk="0" hangingPunct="0">
                <a:lnSpc>
                  <a:spcPct val="100000"/>
                </a:lnSpc>
                <a:spcBef>
                  <a:spcPct val="0"/>
                </a:spcBef>
                <a:spcAft>
                  <a:spcPct val="0"/>
                </a:spcAft>
                <a:buClrTx/>
                <a:buSzTx/>
                <a:buFontTx/>
                <a:buNone/>
                <a:tabLst/>
                <a:defRPr/>
              </a:pPr>
              <a:t>26</a:t>
            </a:fld>
            <a:endParaRPr kumimoji="0" lang="en-US" sz="1000" b="0" i="1" u="none" strike="noStrike" kern="1200" cap="none" spc="0" normalizeH="0" baseline="0" noProof="0">
              <a:ln>
                <a:noFill/>
              </a:ln>
              <a:solidFill>
                <a:srgbClr val="000000"/>
              </a:solidFill>
              <a:effectLst/>
              <a:uLnTx/>
              <a:uFillTx/>
              <a:latin typeface="EYInterstate Light" panose="02000506000000020004" pitchFamily="2" charset="0"/>
              <a:ea typeface="+mn-ea"/>
              <a:cs typeface="+mn-cs"/>
            </a:endParaRPr>
          </a:p>
        </p:txBody>
      </p:sp>
    </p:spTree>
    <p:extLst>
      <p:ext uri="{BB962C8B-B14F-4D97-AF65-F5344CB8AC3E}">
        <p14:creationId xmlns:p14="http://schemas.microsoft.com/office/powerpoint/2010/main" val="35012212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Date Placeholder 3"/>
          <p:cNvSpPr>
            <a:spLocks noGrp="1"/>
          </p:cNvSpPr>
          <p:nvPr>
            <p:ph type="dt" idx="1"/>
          </p:nvPr>
        </p:nvSpPr>
        <p:spPr/>
        <p:txBody>
          <a:bodyPr/>
          <a:lstStyle/>
          <a:p>
            <a:pPr marL="0" marR="0" lvl="0" indent="0" algn="r" defTabSz="911015" rtl="0" eaLnBrk="0" fontAlgn="base" latinLnBrk="0" hangingPunct="0">
              <a:lnSpc>
                <a:spcPct val="100000"/>
              </a:lnSpc>
              <a:spcBef>
                <a:spcPct val="0"/>
              </a:spcBef>
              <a:spcAft>
                <a:spcPct val="0"/>
              </a:spcAft>
              <a:buClrTx/>
              <a:buSzTx/>
              <a:buFontTx/>
              <a:buNone/>
              <a:tabLst/>
              <a:defRPr/>
            </a:pPr>
            <a:fld id="{A1AA5B97-AE52-4962-9288-00DBDF2B6D94}" type="datetime3">
              <a:rPr kumimoji="0" lang="en-US" sz="1000" b="0" i="1" u="none" strike="noStrike" kern="1200" cap="none" spc="0" normalizeH="0" baseline="0" noProof="0" smtClean="0">
                <a:ln>
                  <a:noFill/>
                </a:ln>
                <a:solidFill>
                  <a:srgbClr val="000000"/>
                </a:solidFill>
                <a:effectLst/>
                <a:uLnTx/>
                <a:uFillTx/>
                <a:latin typeface="EYInterstate Light" panose="02000506000000020004" pitchFamily="2" charset="0"/>
                <a:ea typeface="+mn-ea"/>
                <a:cs typeface="+mn-cs"/>
              </a:rPr>
              <a:pPr marL="0" marR="0" lvl="0" indent="0" algn="r" defTabSz="911015" rtl="0" eaLnBrk="0" fontAlgn="base" latinLnBrk="0" hangingPunct="0">
                <a:lnSpc>
                  <a:spcPct val="100000"/>
                </a:lnSpc>
                <a:spcBef>
                  <a:spcPct val="0"/>
                </a:spcBef>
                <a:spcAft>
                  <a:spcPct val="0"/>
                </a:spcAft>
                <a:buClrTx/>
                <a:buSzTx/>
                <a:buFontTx/>
                <a:buNone/>
                <a:tabLst/>
                <a:defRPr/>
              </a:pPr>
              <a:t>3 July 2020</a:t>
            </a:fld>
            <a:endParaRPr kumimoji="0" lang="en-US" sz="1000" b="0" i="1" u="none" strike="noStrike" kern="1200" cap="none" spc="0" normalizeH="0" baseline="0" noProof="0">
              <a:ln>
                <a:noFill/>
              </a:ln>
              <a:solidFill>
                <a:srgbClr val="000000"/>
              </a:solidFill>
              <a:effectLst/>
              <a:uLnTx/>
              <a:uFillTx/>
              <a:latin typeface="EYInterstate Light" panose="02000506000000020004" pitchFamily="2" charset="0"/>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1015" rtl="0" eaLnBrk="0" fontAlgn="base" latinLnBrk="0" hangingPunct="0">
              <a:lnSpc>
                <a:spcPct val="100000"/>
              </a:lnSpc>
              <a:spcBef>
                <a:spcPct val="0"/>
              </a:spcBef>
              <a:spcAft>
                <a:spcPct val="0"/>
              </a:spcAft>
              <a:buClrTx/>
              <a:buSzTx/>
              <a:buFontTx/>
              <a:buNone/>
              <a:tabLst/>
              <a:defRPr/>
            </a:pPr>
            <a:fld id="{D6A34487-4F48-425E-A304-49BC9447D884}" type="slidenum">
              <a:rPr kumimoji="0" lang="en-US" sz="1000" b="0" i="1" u="none" strike="noStrike" kern="1200" cap="none" spc="0" normalizeH="0" baseline="0" noProof="0" smtClean="0">
                <a:ln>
                  <a:noFill/>
                </a:ln>
                <a:solidFill>
                  <a:srgbClr val="000000"/>
                </a:solidFill>
                <a:effectLst/>
                <a:uLnTx/>
                <a:uFillTx/>
                <a:latin typeface="EYInterstate Light" panose="02000506000000020004" pitchFamily="2" charset="0"/>
                <a:ea typeface="+mn-ea"/>
                <a:cs typeface="+mn-cs"/>
              </a:rPr>
              <a:pPr marL="0" marR="0" lvl="0" indent="0" algn="r" defTabSz="911015" rtl="0" eaLnBrk="0" fontAlgn="base" latinLnBrk="0" hangingPunct="0">
                <a:lnSpc>
                  <a:spcPct val="100000"/>
                </a:lnSpc>
                <a:spcBef>
                  <a:spcPct val="0"/>
                </a:spcBef>
                <a:spcAft>
                  <a:spcPct val="0"/>
                </a:spcAft>
                <a:buClrTx/>
                <a:buSzTx/>
                <a:buFontTx/>
                <a:buNone/>
                <a:tabLst/>
                <a:defRPr/>
              </a:pPr>
              <a:t>28</a:t>
            </a:fld>
            <a:endParaRPr kumimoji="0" lang="en-US" sz="1000" b="0" i="1" u="none" strike="noStrike" kern="1200" cap="none" spc="0" normalizeH="0" baseline="0" noProof="0">
              <a:ln>
                <a:noFill/>
              </a:ln>
              <a:solidFill>
                <a:srgbClr val="000000"/>
              </a:solidFill>
              <a:effectLst/>
              <a:uLnTx/>
              <a:uFillTx/>
              <a:latin typeface="EYInterstate Light" panose="02000506000000020004" pitchFamily="2" charset="0"/>
              <a:ea typeface="+mn-ea"/>
              <a:cs typeface="+mn-cs"/>
            </a:endParaRPr>
          </a:p>
        </p:txBody>
      </p:sp>
    </p:spTree>
    <p:extLst>
      <p:ext uri="{BB962C8B-B14F-4D97-AF65-F5344CB8AC3E}">
        <p14:creationId xmlns:p14="http://schemas.microsoft.com/office/powerpoint/2010/main" val="419512705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
          </p:nvPr>
        </p:nvSpPr>
        <p:spPr/>
        <p:txBody>
          <a:bodyPr/>
          <a:lstStyle/>
          <a:p>
            <a:pPr marL="0" marR="0" lvl="0" indent="0" algn="r" defTabSz="911015" rtl="0" eaLnBrk="0" fontAlgn="base" latinLnBrk="0" hangingPunct="0">
              <a:lnSpc>
                <a:spcPct val="100000"/>
              </a:lnSpc>
              <a:spcBef>
                <a:spcPct val="0"/>
              </a:spcBef>
              <a:spcAft>
                <a:spcPct val="0"/>
              </a:spcAft>
              <a:buClrTx/>
              <a:buSzTx/>
              <a:buFontTx/>
              <a:buNone/>
              <a:tabLst/>
              <a:defRPr/>
            </a:pPr>
            <a:fld id="{A1AA5B97-AE52-4962-9288-00DBDF2B6D94}" type="datetime3">
              <a:rPr kumimoji="0" lang="en-US" sz="1000" b="0" i="1" u="none" strike="noStrike" kern="1200" cap="none" spc="0" normalizeH="0" baseline="0" noProof="0" smtClean="0">
                <a:ln>
                  <a:noFill/>
                </a:ln>
                <a:solidFill>
                  <a:srgbClr val="000000"/>
                </a:solidFill>
                <a:effectLst/>
                <a:uLnTx/>
                <a:uFillTx/>
                <a:latin typeface="EYInterstate Light" panose="02000506000000020004" pitchFamily="2" charset="0"/>
                <a:ea typeface="+mn-ea"/>
                <a:cs typeface="+mn-cs"/>
              </a:rPr>
              <a:pPr marL="0" marR="0" lvl="0" indent="0" algn="r" defTabSz="911015" rtl="0" eaLnBrk="0" fontAlgn="base" latinLnBrk="0" hangingPunct="0">
                <a:lnSpc>
                  <a:spcPct val="100000"/>
                </a:lnSpc>
                <a:spcBef>
                  <a:spcPct val="0"/>
                </a:spcBef>
                <a:spcAft>
                  <a:spcPct val="0"/>
                </a:spcAft>
                <a:buClrTx/>
                <a:buSzTx/>
                <a:buFontTx/>
                <a:buNone/>
                <a:tabLst/>
                <a:defRPr/>
              </a:pPr>
              <a:t>3 July 2020</a:t>
            </a:fld>
            <a:endParaRPr kumimoji="0" lang="en-US" sz="1000" b="0" i="1" u="none" strike="noStrike" kern="1200" cap="none" spc="0" normalizeH="0" baseline="0" noProof="0">
              <a:ln>
                <a:noFill/>
              </a:ln>
              <a:solidFill>
                <a:srgbClr val="000000"/>
              </a:solidFill>
              <a:effectLst/>
              <a:uLnTx/>
              <a:uFillTx/>
              <a:latin typeface="EYInterstate Light" panose="02000506000000020004" pitchFamily="2" charset="0"/>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1015" rtl="0" eaLnBrk="0" fontAlgn="base" latinLnBrk="0" hangingPunct="0">
              <a:lnSpc>
                <a:spcPct val="100000"/>
              </a:lnSpc>
              <a:spcBef>
                <a:spcPct val="0"/>
              </a:spcBef>
              <a:spcAft>
                <a:spcPct val="0"/>
              </a:spcAft>
              <a:buClrTx/>
              <a:buSzTx/>
              <a:buFontTx/>
              <a:buNone/>
              <a:tabLst/>
              <a:defRPr/>
            </a:pPr>
            <a:fld id="{D6A34487-4F48-425E-A304-49BC9447D884}" type="slidenum">
              <a:rPr kumimoji="0" lang="en-US" sz="1000" b="0" i="1" u="none" strike="noStrike" kern="1200" cap="none" spc="0" normalizeH="0" baseline="0" noProof="0" smtClean="0">
                <a:ln>
                  <a:noFill/>
                </a:ln>
                <a:solidFill>
                  <a:srgbClr val="000000"/>
                </a:solidFill>
                <a:effectLst/>
                <a:uLnTx/>
                <a:uFillTx/>
                <a:latin typeface="EYInterstate Light" panose="02000506000000020004" pitchFamily="2" charset="0"/>
                <a:ea typeface="+mn-ea"/>
                <a:cs typeface="+mn-cs"/>
              </a:rPr>
              <a:pPr marL="0" marR="0" lvl="0" indent="0" algn="r" defTabSz="911015" rtl="0" eaLnBrk="0" fontAlgn="base" latinLnBrk="0" hangingPunct="0">
                <a:lnSpc>
                  <a:spcPct val="100000"/>
                </a:lnSpc>
                <a:spcBef>
                  <a:spcPct val="0"/>
                </a:spcBef>
                <a:spcAft>
                  <a:spcPct val="0"/>
                </a:spcAft>
                <a:buClrTx/>
                <a:buSzTx/>
                <a:buFontTx/>
                <a:buNone/>
                <a:tabLst/>
                <a:defRPr/>
              </a:pPr>
              <a:t>4</a:t>
            </a:fld>
            <a:endParaRPr kumimoji="0" lang="en-US" sz="1000" b="0" i="1" u="none" strike="noStrike" kern="1200" cap="none" spc="0" normalizeH="0" baseline="0" noProof="0">
              <a:ln>
                <a:noFill/>
              </a:ln>
              <a:solidFill>
                <a:srgbClr val="000000"/>
              </a:solidFill>
              <a:effectLst/>
              <a:uLnTx/>
              <a:uFillTx/>
              <a:latin typeface="EYInterstate Light" panose="02000506000000020004" pitchFamily="2" charset="0"/>
              <a:ea typeface="+mn-ea"/>
              <a:cs typeface="+mn-cs"/>
            </a:endParaRPr>
          </a:p>
        </p:txBody>
      </p:sp>
    </p:spTree>
    <p:extLst>
      <p:ext uri="{BB962C8B-B14F-4D97-AF65-F5344CB8AC3E}">
        <p14:creationId xmlns:p14="http://schemas.microsoft.com/office/powerpoint/2010/main" val="67691275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Date Placeholder 3"/>
          <p:cNvSpPr>
            <a:spLocks noGrp="1"/>
          </p:cNvSpPr>
          <p:nvPr>
            <p:ph type="dt" idx="1"/>
          </p:nvPr>
        </p:nvSpPr>
        <p:spPr/>
        <p:txBody>
          <a:bodyPr/>
          <a:lstStyle/>
          <a:p>
            <a:pPr marL="0" marR="0" lvl="0" indent="0" algn="r" defTabSz="911015" rtl="0" eaLnBrk="0" fontAlgn="base" latinLnBrk="0" hangingPunct="0">
              <a:lnSpc>
                <a:spcPct val="100000"/>
              </a:lnSpc>
              <a:spcBef>
                <a:spcPct val="0"/>
              </a:spcBef>
              <a:spcAft>
                <a:spcPct val="0"/>
              </a:spcAft>
              <a:buClrTx/>
              <a:buSzTx/>
              <a:buFontTx/>
              <a:buNone/>
              <a:tabLst/>
              <a:defRPr/>
            </a:pPr>
            <a:fld id="{A1AA5B97-AE52-4962-9288-00DBDF2B6D94}" type="datetime3">
              <a:rPr kumimoji="0" lang="en-US" sz="1000" b="0" i="1" u="none" strike="noStrike" kern="1200" cap="none" spc="0" normalizeH="0" baseline="0" noProof="0" smtClean="0">
                <a:ln>
                  <a:noFill/>
                </a:ln>
                <a:solidFill>
                  <a:srgbClr val="000000"/>
                </a:solidFill>
                <a:effectLst/>
                <a:uLnTx/>
                <a:uFillTx/>
                <a:latin typeface="EYInterstate Light" panose="02000506000000020004" pitchFamily="2" charset="0"/>
                <a:ea typeface="+mn-ea"/>
                <a:cs typeface="+mn-cs"/>
              </a:rPr>
              <a:pPr marL="0" marR="0" lvl="0" indent="0" algn="r" defTabSz="911015" rtl="0" eaLnBrk="0" fontAlgn="base" latinLnBrk="0" hangingPunct="0">
                <a:lnSpc>
                  <a:spcPct val="100000"/>
                </a:lnSpc>
                <a:spcBef>
                  <a:spcPct val="0"/>
                </a:spcBef>
                <a:spcAft>
                  <a:spcPct val="0"/>
                </a:spcAft>
                <a:buClrTx/>
                <a:buSzTx/>
                <a:buFontTx/>
                <a:buNone/>
                <a:tabLst/>
                <a:defRPr/>
              </a:pPr>
              <a:t>3 July 2020</a:t>
            </a:fld>
            <a:endParaRPr kumimoji="0" lang="en-US" sz="1000" b="0" i="1" u="none" strike="noStrike" kern="1200" cap="none" spc="0" normalizeH="0" baseline="0" noProof="0">
              <a:ln>
                <a:noFill/>
              </a:ln>
              <a:solidFill>
                <a:srgbClr val="000000"/>
              </a:solidFill>
              <a:effectLst/>
              <a:uLnTx/>
              <a:uFillTx/>
              <a:latin typeface="EYInterstate Light" panose="02000506000000020004" pitchFamily="2" charset="0"/>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1015" rtl="0" eaLnBrk="0" fontAlgn="base" latinLnBrk="0" hangingPunct="0">
              <a:lnSpc>
                <a:spcPct val="100000"/>
              </a:lnSpc>
              <a:spcBef>
                <a:spcPct val="0"/>
              </a:spcBef>
              <a:spcAft>
                <a:spcPct val="0"/>
              </a:spcAft>
              <a:buClrTx/>
              <a:buSzTx/>
              <a:buFontTx/>
              <a:buNone/>
              <a:tabLst/>
              <a:defRPr/>
            </a:pPr>
            <a:fld id="{D6A34487-4F48-425E-A304-49BC9447D884}" type="slidenum">
              <a:rPr kumimoji="0" lang="en-US" sz="1000" b="0" i="1" u="none" strike="noStrike" kern="1200" cap="none" spc="0" normalizeH="0" baseline="0" noProof="0" smtClean="0">
                <a:ln>
                  <a:noFill/>
                </a:ln>
                <a:solidFill>
                  <a:srgbClr val="000000"/>
                </a:solidFill>
                <a:effectLst/>
                <a:uLnTx/>
                <a:uFillTx/>
                <a:latin typeface="EYInterstate Light" panose="02000506000000020004" pitchFamily="2" charset="0"/>
                <a:ea typeface="+mn-ea"/>
                <a:cs typeface="+mn-cs"/>
              </a:rPr>
              <a:pPr marL="0" marR="0" lvl="0" indent="0" algn="r" defTabSz="911015" rtl="0" eaLnBrk="0" fontAlgn="base" latinLnBrk="0" hangingPunct="0">
                <a:lnSpc>
                  <a:spcPct val="100000"/>
                </a:lnSpc>
                <a:spcBef>
                  <a:spcPct val="0"/>
                </a:spcBef>
                <a:spcAft>
                  <a:spcPct val="0"/>
                </a:spcAft>
                <a:buClrTx/>
                <a:buSzTx/>
                <a:buFontTx/>
                <a:buNone/>
                <a:tabLst/>
                <a:defRPr/>
              </a:pPr>
              <a:t>5</a:t>
            </a:fld>
            <a:endParaRPr kumimoji="0" lang="en-US" sz="1000" b="0" i="1" u="none" strike="noStrike" kern="1200" cap="none" spc="0" normalizeH="0" baseline="0" noProof="0">
              <a:ln>
                <a:noFill/>
              </a:ln>
              <a:solidFill>
                <a:srgbClr val="000000"/>
              </a:solidFill>
              <a:effectLst/>
              <a:uLnTx/>
              <a:uFillTx/>
              <a:latin typeface="EYInterstate Light" panose="02000506000000020004" pitchFamily="2" charset="0"/>
              <a:ea typeface="+mn-ea"/>
              <a:cs typeface="+mn-cs"/>
            </a:endParaRPr>
          </a:p>
        </p:txBody>
      </p:sp>
    </p:spTree>
    <p:extLst>
      <p:ext uri="{BB962C8B-B14F-4D97-AF65-F5344CB8AC3E}">
        <p14:creationId xmlns:p14="http://schemas.microsoft.com/office/powerpoint/2010/main" val="334158537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
          </p:nvPr>
        </p:nvSpPr>
        <p:spPr/>
        <p:txBody>
          <a:bodyPr/>
          <a:lstStyle/>
          <a:p>
            <a:pPr marL="0" marR="0" lvl="0" indent="0" algn="r" defTabSz="911015" rtl="0" eaLnBrk="0" fontAlgn="base" latinLnBrk="0" hangingPunct="0">
              <a:lnSpc>
                <a:spcPct val="100000"/>
              </a:lnSpc>
              <a:spcBef>
                <a:spcPct val="0"/>
              </a:spcBef>
              <a:spcAft>
                <a:spcPct val="0"/>
              </a:spcAft>
              <a:buClrTx/>
              <a:buSzTx/>
              <a:buFontTx/>
              <a:buNone/>
              <a:tabLst/>
              <a:defRPr/>
            </a:pPr>
            <a:fld id="{A1AA5B97-AE52-4962-9288-00DBDF2B6D94}" type="datetime3">
              <a:rPr kumimoji="0" lang="en-US" sz="1000" b="0" i="1" u="none" strike="noStrike" kern="1200" cap="none" spc="0" normalizeH="0" baseline="0" noProof="0" smtClean="0">
                <a:ln>
                  <a:noFill/>
                </a:ln>
                <a:solidFill>
                  <a:srgbClr val="000000"/>
                </a:solidFill>
                <a:effectLst/>
                <a:uLnTx/>
                <a:uFillTx/>
                <a:latin typeface="EYInterstate Light" panose="02000506000000020004" pitchFamily="2" charset="0"/>
                <a:ea typeface="+mn-ea"/>
                <a:cs typeface="+mn-cs"/>
              </a:rPr>
              <a:pPr marL="0" marR="0" lvl="0" indent="0" algn="r" defTabSz="911015" rtl="0" eaLnBrk="0" fontAlgn="base" latinLnBrk="0" hangingPunct="0">
                <a:lnSpc>
                  <a:spcPct val="100000"/>
                </a:lnSpc>
                <a:spcBef>
                  <a:spcPct val="0"/>
                </a:spcBef>
                <a:spcAft>
                  <a:spcPct val="0"/>
                </a:spcAft>
                <a:buClrTx/>
                <a:buSzTx/>
                <a:buFontTx/>
                <a:buNone/>
                <a:tabLst/>
                <a:defRPr/>
              </a:pPr>
              <a:t>3 July 2020</a:t>
            </a:fld>
            <a:endParaRPr kumimoji="0" lang="en-US" sz="1000" b="0" i="1" u="none" strike="noStrike" kern="1200" cap="none" spc="0" normalizeH="0" baseline="0" noProof="0">
              <a:ln>
                <a:noFill/>
              </a:ln>
              <a:solidFill>
                <a:srgbClr val="000000"/>
              </a:solidFill>
              <a:effectLst/>
              <a:uLnTx/>
              <a:uFillTx/>
              <a:latin typeface="EYInterstate Light" panose="02000506000000020004" pitchFamily="2" charset="0"/>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1015" rtl="0" eaLnBrk="0" fontAlgn="base" latinLnBrk="0" hangingPunct="0">
              <a:lnSpc>
                <a:spcPct val="100000"/>
              </a:lnSpc>
              <a:spcBef>
                <a:spcPct val="0"/>
              </a:spcBef>
              <a:spcAft>
                <a:spcPct val="0"/>
              </a:spcAft>
              <a:buClrTx/>
              <a:buSzTx/>
              <a:buFontTx/>
              <a:buNone/>
              <a:tabLst/>
              <a:defRPr/>
            </a:pPr>
            <a:fld id="{D6A34487-4F48-425E-A304-49BC9447D884}" type="slidenum">
              <a:rPr kumimoji="0" lang="en-US" sz="1000" b="0" i="1" u="none" strike="noStrike" kern="1200" cap="none" spc="0" normalizeH="0" baseline="0" noProof="0" smtClean="0">
                <a:ln>
                  <a:noFill/>
                </a:ln>
                <a:solidFill>
                  <a:srgbClr val="000000"/>
                </a:solidFill>
                <a:effectLst/>
                <a:uLnTx/>
                <a:uFillTx/>
                <a:latin typeface="EYInterstate Light" panose="02000506000000020004" pitchFamily="2" charset="0"/>
                <a:ea typeface="+mn-ea"/>
                <a:cs typeface="+mn-cs"/>
              </a:rPr>
              <a:pPr marL="0" marR="0" lvl="0" indent="0" algn="r" defTabSz="911015" rtl="0" eaLnBrk="0" fontAlgn="base" latinLnBrk="0" hangingPunct="0">
                <a:lnSpc>
                  <a:spcPct val="100000"/>
                </a:lnSpc>
                <a:spcBef>
                  <a:spcPct val="0"/>
                </a:spcBef>
                <a:spcAft>
                  <a:spcPct val="0"/>
                </a:spcAft>
                <a:buClrTx/>
                <a:buSzTx/>
                <a:buFontTx/>
                <a:buNone/>
                <a:tabLst/>
                <a:defRPr/>
              </a:pPr>
              <a:t>6</a:t>
            </a:fld>
            <a:endParaRPr kumimoji="0" lang="en-US" sz="1000" b="0" i="1" u="none" strike="noStrike" kern="1200" cap="none" spc="0" normalizeH="0" baseline="0" noProof="0">
              <a:ln>
                <a:noFill/>
              </a:ln>
              <a:solidFill>
                <a:srgbClr val="000000"/>
              </a:solidFill>
              <a:effectLst/>
              <a:uLnTx/>
              <a:uFillTx/>
              <a:latin typeface="EYInterstate Light" panose="02000506000000020004" pitchFamily="2" charset="0"/>
              <a:ea typeface="+mn-ea"/>
              <a:cs typeface="+mn-cs"/>
            </a:endParaRPr>
          </a:p>
        </p:txBody>
      </p:sp>
    </p:spTree>
    <p:extLst>
      <p:ext uri="{BB962C8B-B14F-4D97-AF65-F5344CB8AC3E}">
        <p14:creationId xmlns:p14="http://schemas.microsoft.com/office/powerpoint/2010/main" val="239960189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Date Placeholder 3"/>
          <p:cNvSpPr>
            <a:spLocks noGrp="1"/>
          </p:cNvSpPr>
          <p:nvPr>
            <p:ph type="dt" idx="1"/>
          </p:nvPr>
        </p:nvSpPr>
        <p:spPr/>
        <p:txBody>
          <a:bodyPr/>
          <a:lstStyle/>
          <a:p>
            <a:pPr marL="0" marR="0" lvl="0" indent="0" algn="r" defTabSz="911015" rtl="0" eaLnBrk="0" fontAlgn="base" latinLnBrk="0" hangingPunct="0">
              <a:lnSpc>
                <a:spcPct val="100000"/>
              </a:lnSpc>
              <a:spcBef>
                <a:spcPct val="0"/>
              </a:spcBef>
              <a:spcAft>
                <a:spcPct val="0"/>
              </a:spcAft>
              <a:buClrTx/>
              <a:buSzTx/>
              <a:buFontTx/>
              <a:buNone/>
              <a:tabLst/>
              <a:defRPr/>
            </a:pPr>
            <a:fld id="{A1AA5B97-AE52-4962-9288-00DBDF2B6D94}" type="datetime3">
              <a:rPr kumimoji="0" lang="en-US" sz="1000" b="0" i="1" u="none" strike="noStrike" kern="1200" cap="none" spc="0" normalizeH="0" baseline="0" noProof="0" smtClean="0">
                <a:ln>
                  <a:noFill/>
                </a:ln>
                <a:solidFill>
                  <a:srgbClr val="000000"/>
                </a:solidFill>
                <a:effectLst/>
                <a:uLnTx/>
                <a:uFillTx/>
                <a:latin typeface="EYInterstate Light" panose="02000506000000020004" pitchFamily="2" charset="0"/>
                <a:ea typeface="+mn-ea"/>
                <a:cs typeface="+mn-cs"/>
              </a:rPr>
              <a:pPr marL="0" marR="0" lvl="0" indent="0" algn="r" defTabSz="911015" rtl="0" eaLnBrk="0" fontAlgn="base" latinLnBrk="0" hangingPunct="0">
                <a:lnSpc>
                  <a:spcPct val="100000"/>
                </a:lnSpc>
                <a:spcBef>
                  <a:spcPct val="0"/>
                </a:spcBef>
                <a:spcAft>
                  <a:spcPct val="0"/>
                </a:spcAft>
                <a:buClrTx/>
                <a:buSzTx/>
                <a:buFontTx/>
                <a:buNone/>
                <a:tabLst/>
                <a:defRPr/>
              </a:pPr>
              <a:t>3 July 2020</a:t>
            </a:fld>
            <a:endParaRPr kumimoji="0" lang="en-US" sz="1000" b="0" i="1" u="none" strike="noStrike" kern="1200" cap="none" spc="0" normalizeH="0" baseline="0" noProof="0">
              <a:ln>
                <a:noFill/>
              </a:ln>
              <a:solidFill>
                <a:srgbClr val="000000"/>
              </a:solidFill>
              <a:effectLst/>
              <a:uLnTx/>
              <a:uFillTx/>
              <a:latin typeface="EYInterstate Light" panose="02000506000000020004" pitchFamily="2" charset="0"/>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1015" rtl="0" eaLnBrk="0" fontAlgn="base" latinLnBrk="0" hangingPunct="0">
              <a:lnSpc>
                <a:spcPct val="100000"/>
              </a:lnSpc>
              <a:spcBef>
                <a:spcPct val="0"/>
              </a:spcBef>
              <a:spcAft>
                <a:spcPct val="0"/>
              </a:spcAft>
              <a:buClrTx/>
              <a:buSzTx/>
              <a:buFontTx/>
              <a:buNone/>
              <a:tabLst/>
              <a:defRPr/>
            </a:pPr>
            <a:fld id="{D6A34487-4F48-425E-A304-49BC9447D884}" type="slidenum">
              <a:rPr kumimoji="0" lang="en-US" sz="1000" b="0" i="1" u="none" strike="noStrike" kern="1200" cap="none" spc="0" normalizeH="0" baseline="0" noProof="0" smtClean="0">
                <a:ln>
                  <a:noFill/>
                </a:ln>
                <a:solidFill>
                  <a:srgbClr val="000000"/>
                </a:solidFill>
                <a:effectLst/>
                <a:uLnTx/>
                <a:uFillTx/>
                <a:latin typeface="EYInterstate Light" panose="02000506000000020004" pitchFamily="2" charset="0"/>
                <a:ea typeface="+mn-ea"/>
                <a:cs typeface="+mn-cs"/>
              </a:rPr>
              <a:pPr marL="0" marR="0" lvl="0" indent="0" algn="r" defTabSz="911015" rtl="0" eaLnBrk="0" fontAlgn="base" latinLnBrk="0" hangingPunct="0">
                <a:lnSpc>
                  <a:spcPct val="100000"/>
                </a:lnSpc>
                <a:spcBef>
                  <a:spcPct val="0"/>
                </a:spcBef>
                <a:spcAft>
                  <a:spcPct val="0"/>
                </a:spcAft>
                <a:buClrTx/>
                <a:buSzTx/>
                <a:buFontTx/>
                <a:buNone/>
                <a:tabLst/>
                <a:defRPr/>
              </a:pPr>
              <a:t>8</a:t>
            </a:fld>
            <a:endParaRPr kumimoji="0" lang="en-US" sz="1000" b="0" i="1" u="none" strike="noStrike" kern="1200" cap="none" spc="0" normalizeH="0" baseline="0" noProof="0">
              <a:ln>
                <a:noFill/>
              </a:ln>
              <a:solidFill>
                <a:srgbClr val="000000"/>
              </a:solidFill>
              <a:effectLst/>
              <a:uLnTx/>
              <a:uFillTx/>
              <a:latin typeface="EYInterstate Light" panose="02000506000000020004" pitchFamily="2" charset="0"/>
              <a:ea typeface="+mn-ea"/>
              <a:cs typeface="+mn-cs"/>
            </a:endParaRPr>
          </a:p>
        </p:txBody>
      </p:sp>
    </p:spTree>
    <p:extLst>
      <p:ext uri="{BB962C8B-B14F-4D97-AF65-F5344CB8AC3E}">
        <p14:creationId xmlns:p14="http://schemas.microsoft.com/office/powerpoint/2010/main" val="369890616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Date Placeholder 3"/>
          <p:cNvSpPr>
            <a:spLocks noGrp="1"/>
          </p:cNvSpPr>
          <p:nvPr>
            <p:ph type="dt" idx="1"/>
          </p:nvPr>
        </p:nvSpPr>
        <p:spPr/>
        <p:txBody>
          <a:bodyPr/>
          <a:lstStyle/>
          <a:p>
            <a:pPr marL="0" marR="0" lvl="0" indent="0" algn="r" defTabSz="911015" rtl="0" eaLnBrk="0" fontAlgn="base" latinLnBrk="0" hangingPunct="0">
              <a:lnSpc>
                <a:spcPct val="100000"/>
              </a:lnSpc>
              <a:spcBef>
                <a:spcPct val="0"/>
              </a:spcBef>
              <a:spcAft>
                <a:spcPct val="0"/>
              </a:spcAft>
              <a:buClrTx/>
              <a:buSzTx/>
              <a:buFontTx/>
              <a:buNone/>
              <a:tabLst/>
              <a:defRPr/>
            </a:pPr>
            <a:fld id="{A1AA5B97-AE52-4962-9288-00DBDF2B6D94}" type="datetime3">
              <a:rPr kumimoji="0" lang="en-US" sz="1000" b="0" i="1" u="none" strike="noStrike" kern="1200" cap="none" spc="0" normalizeH="0" baseline="0" noProof="0" smtClean="0">
                <a:ln>
                  <a:noFill/>
                </a:ln>
                <a:solidFill>
                  <a:srgbClr val="000000"/>
                </a:solidFill>
                <a:effectLst/>
                <a:uLnTx/>
                <a:uFillTx/>
                <a:latin typeface="EYInterstate Light" panose="02000506000000020004" pitchFamily="2" charset="0"/>
                <a:ea typeface="+mn-ea"/>
                <a:cs typeface="+mn-cs"/>
              </a:rPr>
              <a:pPr marL="0" marR="0" lvl="0" indent="0" algn="r" defTabSz="911015" rtl="0" eaLnBrk="0" fontAlgn="base" latinLnBrk="0" hangingPunct="0">
                <a:lnSpc>
                  <a:spcPct val="100000"/>
                </a:lnSpc>
                <a:spcBef>
                  <a:spcPct val="0"/>
                </a:spcBef>
                <a:spcAft>
                  <a:spcPct val="0"/>
                </a:spcAft>
                <a:buClrTx/>
                <a:buSzTx/>
                <a:buFontTx/>
                <a:buNone/>
                <a:tabLst/>
                <a:defRPr/>
              </a:pPr>
              <a:t>3 July 2020</a:t>
            </a:fld>
            <a:endParaRPr kumimoji="0" lang="en-US" sz="1000" b="0" i="1" u="none" strike="noStrike" kern="1200" cap="none" spc="0" normalizeH="0" baseline="0" noProof="0">
              <a:ln>
                <a:noFill/>
              </a:ln>
              <a:solidFill>
                <a:srgbClr val="000000"/>
              </a:solidFill>
              <a:effectLst/>
              <a:uLnTx/>
              <a:uFillTx/>
              <a:latin typeface="EYInterstate Light" panose="02000506000000020004" pitchFamily="2" charset="0"/>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1015" rtl="0" eaLnBrk="0" fontAlgn="base" latinLnBrk="0" hangingPunct="0">
              <a:lnSpc>
                <a:spcPct val="100000"/>
              </a:lnSpc>
              <a:spcBef>
                <a:spcPct val="0"/>
              </a:spcBef>
              <a:spcAft>
                <a:spcPct val="0"/>
              </a:spcAft>
              <a:buClrTx/>
              <a:buSzTx/>
              <a:buFontTx/>
              <a:buNone/>
              <a:tabLst/>
              <a:defRPr/>
            </a:pPr>
            <a:fld id="{D6A34487-4F48-425E-A304-49BC9447D884}" type="slidenum">
              <a:rPr kumimoji="0" lang="en-US" sz="1000" b="0" i="1" u="none" strike="noStrike" kern="1200" cap="none" spc="0" normalizeH="0" baseline="0" noProof="0" smtClean="0">
                <a:ln>
                  <a:noFill/>
                </a:ln>
                <a:solidFill>
                  <a:srgbClr val="000000"/>
                </a:solidFill>
                <a:effectLst/>
                <a:uLnTx/>
                <a:uFillTx/>
                <a:latin typeface="EYInterstate Light" panose="02000506000000020004" pitchFamily="2" charset="0"/>
                <a:ea typeface="+mn-ea"/>
                <a:cs typeface="+mn-cs"/>
              </a:rPr>
              <a:pPr marL="0" marR="0" lvl="0" indent="0" algn="r" defTabSz="911015" rtl="0" eaLnBrk="0" fontAlgn="base" latinLnBrk="0" hangingPunct="0">
                <a:lnSpc>
                  <a:spcPct val="100000"/>
                </a:lnSpc>
                <a:spcBef>
                  <a:spcPct val="0"/>
                </a:spcBef>
                <a:spcAft>
                  <a:spcPct val="0"/>
                </a:spcAft>
                <a:buClrTx/>
                <a:buSzTx/>
                <a:buFontTx/>
                <a:buNone/>
                <a:tabLst/>
                <a:defRPr/>
              </a:pPr>
              <a:t>13</a:t>
            </a:fld>
            <a:endParaRPr kumimoji="0" lang="en-US" sz="1000" b="0" i="1" u="none" strike="noStrike" kern="1200" cap="none" spc="0" normalizeH="0" baseline="0" noProof="0">
              <a:ln>
                <a:noFill/>
              </a:ln>
              <a:solidFill>
                <a:srgbClr val="000000"/>
              </a:solidFill>
              <a:effectLst/>
              <a:uLnTx/>
              <a:uFillTx/>
              <a:latin typeface="EYInterstate Light" panose="02000506000000020004" pitchFamily="2" charset="0"/>
              <a:ea typeface="+mn-ea"/>
              <a:cs typeface="+mn-cs"/>
            </a:endParaRPr>
          </a:p>
        </p:txBody>
      </p:sp>
    </p:spTree>
    <p:extLst>
      <p:ext uri="{BB962C8B-B14F-4D97-AF65-F5344CB8AC3E}">
        <p14:creationId xmlns:p14="http://schemas.microsoft.com/office/powerpoint/2010/main" val="341869491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
          </p:nvPr>
        </p:nvSpPr>
        <p:spPr/>
        <p:txBody>
          <a:bodyPr/>
          <a:lstStyle/>
          <a:p>
            <a:pPr marL="0" marR="0" lvl="0" indent="0" algn="r" defTabSz="911015" rtl="0" eaLnBrk="0" fontAlgn="base" latinLnBrk="0" hangingPunct="0">
              <a:lnSpc>
                <a:spcPct val="100000"/>
              </a:lnSpc>
              <a:spcBef>
                <a:spcPct val="0"/>
              </a:spcBef>
              <a:spcAft>
                <a:spcPct val="0"/>
              </a:spcAft>
              <a:buClrTx/>
              <a:buSzTx/>
              <a:buFontTx/>
              <a:buNone/>
              <a:tabLst/>
              <a:defRPr/>
            </a:pPr>
            <a:fld id="{A1AA5B97-AE52-4962-9288-00DBDF2B6D94}" type="datetime3">
              <a:rPr kumimoji="0" lang="en-US" sz="1000" b="0" i="1" u="none" strike="noStrike" kern="1200" cap="none" spc="0" normalizeH="0" baseline="0" noProof="0" smtClean="0">
                <a:ln>
                  <a:noFill/>
                </a:ln>
                <a:solidFill>
                  <a:srgbClr val="000000"/>
                </a:solidFill>
                <a:effectLst/>
                <a:uLnTx/>
                <a:uFillTx/>
                <a:latin typeface="EYInterstate Light" panose="02000506000000020004" pitchFamily="2" charset="0"/>
                <a:ea typeface="+mn-ea"/>
                <a:cs typeface="+mn-cs"/>
              </a:rPr>
              <a:pPr marL="0" marR="0" lvl="0" indent="0" algn="r" defTabSz="911015" rtl="0" eaLnBrk="0" fontAlgn="base" latinLnBrk="0" hangingPunct="0">
                <a:lnSpc>
                  <a:spcPct val="100000"/>
                </a:lnSpc>
                <a:spcBef>
                  <a:spcPct val="0"/>
                </a:spcBef>
                <a:spcAft>
                  <a:spcPct val="0"/>
                </a:spcAft>
                <a:buClrTx/>
                <a:buSzTx/>
                <a:buFontTx/>
                <a:buNone/>
                <a:tabLst/>
                <a:defRPr/>
              </a:pPr>
              <a:t>3 July 2020</a:t>
            </a:fld>
            <a:endParaRPr kumimoji="0" lang="en-US" sz="1000" b="0" i="1" u="none" strike="noStrike" kern="1200" cap="none" spc="0" normalizeH="0" baseline="0" noProof="0">
              <a:ln>
                <a:noFill/>
              </a:ln>
              <a:solidFill>
                <a:srgbClr val="000000"/>
              </a:solidFill>
              <a:effectLst/>
              <a:uLnTx/>
              <a:uFillTx/>
              <a:latin typeface="EYInterstate Light" panose="02000506000000020004" pitchFamily="2" charset="0"/>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1015" rtl="0" eaLnBrk="0" fontAlgn="base" latinLnBrk="0" hangingPunct="0">
              <a:lnSpc>
                <a:spcPct val="100000"/>
              </a:lnSpc>
              <a:spcBef>
                <a:spcPct val="0"/>
              </a:spcBef>
              <a:spcAft>
                <a:spcPct val="0"/>
              </a:spcAft>
              <a:buClrTx/>
              <a:buSzTx/>
              <a:buFontTx/>
              <a:buNone/>
              <a:tabLst/>
              <a:defRPr/>
            </a:pPr>
            <a:fld id="{D6A34487-4F48-425E-A304-49BC9447D884}" type="slidenum">
              <a:rPr kumimoji="0" lang="en-US" sz="1000" b="0" i="1" u="none" strike="noStrike" kern="1200" cap="none" spc="0" normalizeH="0" baseline="0" noProof="0" smtClean="0">
                <a:ln>
                  <a:noFill/>
                </a:ln>
                <a:solidFill>
                  <a:srgbClr val="000000"/>
                </a:solidFill>
                <a:effectLst/>
                <a:uLnTx/>
                <a:uFillTx/>
                <a:latin typeface="EYInterstate Light" panose="02000506000000020004" pitchFamily="2" charset="0"/>
                <a:ea typeface="+mn-ea"/>
                <a:cs typeface="+mn-cs"/>
              </a:rPr>
              <a:pPr marL="0" marR="0" lvl="0" indent="0" algn="r" defTabSz="911015" rtl="0" eaLnBrk="0" fontAlgn="base" latinLnBrk="0" hangingPunct="0">
                <a:lnSpc>
                  <a:spcPct val="100000"/>
                </a:lnSpc>
                <a:spcBef>
                  <a:spcPct val="0"/>
                </a:spcBef>
                <a:spcAft>
                  <a:spcPct val="0"/>
                </a:spcAft>
                <a:buClrTx/>
                <a:buSzTx/>
                <a:buFontTx/>
                <a:buNone/>
                <a:tabLst/>
                <a:defRPr/>
              </a:pPr>
              <a:t>15</a:t>
            </a:fld>
            <a:endParaRPr kumimoji="0" lang="en-US" sz="1000" b="0" i="1" u="none" strike="noStrike" kern="1200" cap="none" spc="0" normalizeH="0" baseline="0" noProof="0">
              <a:ln>
                <a:noFill/>
              </a:ln>
              <a:solidFill>
                <a:srgbClr val="000000"/>
              </a:solidFill>
              <a:effectLst/>
              <a:uLnTx/>
              <a:uFillTx/>
              <a:latin typeface="EYInterstate Light" panose="02000506000000020004" pitchFamily="2" charset="0"/>
              <a:ea typeface="+mn-ea"/>
              <a:cs typeface="+mn-cs"/>
            </a:endParaRPr>
          </a:p>
        </p:txBody>
      </p:sp>
    </p:spTree>
    <p:extLst>
      <p:ext uri="{BB962C8B-B14F-4D97-AF65-F5344CB8AC3E}">
        <p14:creationId xmlns:p14="http://schemas.microsoft.com/office/powerpoint/2010/main" val="130931643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Date Placeholder 3"/>
          <p:cNvSpPr>
            <a:spLocks noGrp="1"/>
          </p:cNvSpPr>
          <p:nvPr>
            <p:ph type="dt" idx="1"/>
          </p:nvPr>
        </p:nvSpPr>
        <p:spPr/>
        <p:txBody>
          <a:bodyPr/>
          <a:lstStyle/>
          <a:p>
            <a:pPr marL="0" marR="0" lvl="0" indent="0" algn="r" defTabSz="911015" rtl="0" eaLnBrk="0" fontAlgn="base" latinLnBrk="0" hangingPunct="0">
              <a:lnSpc>
                <a:spcPct val="100000"/>
              </a:lnSpc>
              <a:spcBef>
                <a:spcPct val="0"/>
              </a:spcBef>
              <a:spcAft>
                <a:spcPct val="0"/>
              </a:spcAft>
              <a:buClrTx/>
              <a:buSzTx/>
              <a:buFontTx/>
              <a:buNone/>
              <a:tabLst/>
              <a:defRPr/>
            </a:pPr>
            <a:fld id="{A1AA5B97-AE52-4962-9288-00DBDF2B6D94}" type="datetime3">
              <a:rPr kumimoji="0" lang="en-US" sz="1000" b="0" i="1" u="none" strike="noStrike" kern="1200" cap="none" spc="0" normalizeH="0" baseline="0" noProof="0" smtClean="0">
                <a:ln>
                  <a:noFill/>
                </a:ln>
                <a:solidFill>
                  <a:srgbClr val="000000"/>
                </a:solidFill>
                <a:effectLst/>
                <a:uLnTx/>
                <a:uFillTx/>
                <a:latin typeface="EYInterstate Light" panose="02000506000000020004" pitchFamily="2" charset="0"/>
                <a:ea typeface="+mn-ea"/>
                <a:cs typeface="+mn-cs"/>
              </a:rPr>
              <a:pPr marL="0" marR="0" lvl="0" indent="0" algn="r" defTabSz="911015" rtl="0" eaLnBrk="0" fontAlgn="base" latinLnBrk="0" hangingPunct="0">
                <a:lnSpc>
                  <a:spcPct val="100000"/>
                </a:lnSpc>
                <a:spcBef>
                  <a:spcPct val="0"/>
                </a:spcBef>
                <a:spcAft>
                  <a:spcPct val="0"/>
                </a:spcAft>
                <a:buClrTx/>
                <a:buSzTx/>
                <a:buFontTx/>
                <a:buNone/>
                <a:tabLst/>
                <a:defRPr/>
              </a:pPr>
              <a:t>3 July 2020</a:t>
            </a:fld>
            <a:endParaRPr kumimoji="0" lang="en-US" sz="1000" b="0" i="1" u="none" strike="noStrike" kern="1200" cap="none" spc="0" normalizeH="0" baseline="0" noProof="0">
              <a:ln>
                <a:noFill/>
              </a:ln>
              <a:solidFill>
                <a:srgbClr val="000000"/>
              </a:solidFill>
              <a:effectLst/>
              <a:uLnTx/>
              <a:uFillTx/>
              <a:latin typeface="EYInterstate Light" panose="02000506000000020004" pitchFamily="2" charset="0"/>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1015" rtl="0" eaLnBrk="0" fontAlgn="base" latinLnBrk="0" hangingPunct="0">
              <a:lnSpc>
                <a:spcPct val="100000"/>
              </a:lnSpc>
              <a:spcBef>
                <a:spcPct val="0"/>
              </a:spcBef>
              <a:spcAft>
                <a:spcPct val="0"/>
              </a:spcAft>
              <a:buClrTx/>
              <a:buSzTx/>
              <a:buFontTx/>
              <a:buNone/>
              <a:tabLst/>
              <a:defRPr/>
            </a:pPr>
            <a:fld id="{D6A34487-4F48-425E-A304-49BC9447D884}" type="slidenum">
              <a:rPr kumimoji="0" lang="en-US" sz="1000" b="0" i="1" u="none" strike="noStrike" kern="1200" cap="none" spc="0" normalizeH="0" baseline="0" noProof="0" smtClean="0">
                <a:ln>
                  <a:noFill/>
                </a:ln>
                <a:solidFill>
                  <a:srgbClr val="000000"/>
                </a:solidFill>
                <a:effectLst/>
                <a:uLnTx/>
                <a:uFillTx/>
                <a:latin typeface="EYInterstate Light" panose="02000506000000020004" pitchFamily="2" charset="0"/>
                <a:ea typeface="+mn-ea"/>
                <a:cs typeface="+mn-cs"/>
              </a:rPr>
              <a:pPr marL="0" marR="0" lvl="0" indent="0" algn="r" defTabSz="911015" rtl="0" eaLnBrk="0" fontAlgn="base" latinLnBrk="0" hangingPunct="0">
                <a:lnSpc>
                  <a:spcPct val="100000"/>
                </a:lnSpc>
                <a:spcBef>
                  <a:spcPct val="0"/>
                </a:spcBef>
                <a:spcAft>
                  <a:spcPct val="0"/>
                </a:spcAft>
                <a:buClrTx/>
                <a:buSzTx/>
                <a:buFontTx/>
                <a:buNone/>
                <a:tabLst/>
                <a:defRPr/>
              </a:pPr>
              <a:t>16</a:t>
            </a:fld>
            <a:endParaRPr kumimoji="0" lang="en-US" sz="1000" b="0" i="1" u="none" strike="noStrike" kern="1200" cap="none" spc="0" normalizeH="0" baseline="0" noProof="0">
              <a:ln>
                <a:noFill/>
              </a:ln>
              <a:solidFill>
                <a:srgbClr val="000000"/>
              </a:solidFill>
              <a:effectLst/>
              <a:uLnTx/>
              <a:uFillTx/>
              <a:latin typeface="EYInterstate Light" panose="02000506000000020004" pitchFamily="2" charset="0"/>
              <a:ea typeface="+mn-ea"/>
              <a:cs typeface="+mn-cs"/>
            </a:endParaRPr>
          </a:p>
        </p:txBody>
      </p:sp>
    </p:spTree>
    <p:extLst>
      <p:ext uri="{BB962C8B-B14F-4D97-AF65-F5344CB8AC3E}">
        <p14:creationId xmlns:p14="http://schemas.microsoft.com/office/powerpoint/2010/main" val="58365964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
          </p:nvPr>
        </p:nvSpPr>
        <p:spPr/>
        <p:txBody>
          <a:bodyPr/>
          <a:lstStyle/>
          <a:p>
            <a:pPr marL="0" marR="0" lvl="0" indent="0" algn="r" defTabSz="911015" rtl="0" eaLnBrk="0" fontAlgn="base" latinLnBrk="0" hangingPunct="0">
              <a:lnSpc>
                <a:spcPct val="100000"/>
              </a:lnSpc>
              <a:spcBef>
                <a:spcPct val="0"/>
              </a:spcBef>
              <a:spcAft>
                <a:spcPct val="0"/>
              </a:spcAft>
              <a:buClrTx/>
              <a:buSzTx/>
              <a:buFontTx/>
              <a:buNone/>
              <a:tabLst/>
              <a:defRPr/>
            </a:pPr>
            <a:fld id="{A1AA5B97-AE52-4962-9288-00DBDF2B6D94}" type="datetime3">
              <a:rPr kumimoji="0" lang="en-US" sz="1000" b="0" i="1" u="none" strike="noStrike" kern="1200" cap="none" spc="0" normalizeH="0" baseline="0" noProof="0" smtClean="0">
                <a:ln>
                  <a:noFill/>
                </a:ln>
                <a:solidFill>
                  <a:srgbClr val="000000"/>
                </a:solidFill>
                <a:effectLst/>
                <a:uLnTx/>
                <a:uFillTx/>
                <a:latin typeface="EYInterstate Light" panose="02000506000000020004" pitchFamily="2" charset="0"/>
                <a:ea typeface="+mn-ea"/>
                <a:cs typeface="+mn-cs"/>
              </a:rPr>
              <a:pPr marL="0" marR="0" lvl="0" indent="0" algn="r" defTabSz="911015" rtl="0" eaLnBrk="0" fontAlgn="base" latinLnBrk="0" hangingPunct="0">
                <a:lnSpc>
                  <a:spcPct val="100000"/>
                </a:lnSpc>
                <a:spcBef>
                  <a:spcPct val="0"/>
                </a:spcBef>
                <a:spcAft>
                  <a:spcPct val="0"/>
                </a:spcAft>
                <a:buClrTx/>
                <a:buSzTx/>
                <a:buFontTx/>
                <a:buNone/>
                <a:tabLst/>
                <a:defRPr/>
              </a:pPr>
              <a:t>3 July 2020</a:t>
            </a:fld>
            <a:endParaRPr kumimoji="0" lang="en-US" sz="1000" b="0" i="1" u="none" strike="noStrike" kern="1200" cap="none" spc="0" normalizeH="0" baseline="0" noProof="0">
              <a:ln>
                <a:noFill/>
              </a:ln>
              <a:solidFill>
                <a:srgbClr val="000000"/>
              </a:solidFill>
              <a:effectLst/>
              <a:uLnTx/>
              <a:uFillTx/>
              <a:latin typeface="EYInterstate Light" panose="02000506000000020004" pitchFamily="2" charset="0"/>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1015" rtl="0" eaLnBrk="0" fontAlgn="base" latinLnBrk="0" hangingPunct="0">
              <a:lnSpc>
                <a:spcPct val="100000"/>
              </a:lnSpc>
              <a:spcBef>
                <a:spcPct val="0"/>
              </a:spcBef>
              <a:spcAft>
                <a:spcPct val="0"/>
              </a:spcAft>
              <a:buClrTx/>
              <a:buSzTx/>
              <a:buFontTx/>
              <a:buNone/>
              <a:tabLst/>
              <a:defRPr/>
            </a:pPr>
            <a:fld id="{D6A34487-4F48-425E-A304-49BC9447D884}" type="slidenum">
              <a:rPr kumimoji="0" lang="en-US" sz="1000" b="0" i="1" u="none" strike="noStrike" kern="1200" cap="none" spc="0" normalizeH="0" baseline="0" noProof="0" smtClean="0">
                <a:ln>
                  <a:noFill/>
                </a:ln>
                <a:solidFill>
                  <a:srgbClr val="000000"/>
                </a:solidFill>
                <a:effectLst/>
                <a:uLnTx/>
                <a:uFillTx/>
                <a:latin typeface="EYInterstate Light" panose="02000506000000020004" pitchFamily="2" charset="0"/>
                <a:ea typeface="+mn-ea"/>
                <a:cs typeface="+mn-cs"/>
              </a:rPr>
              <a:pPr marL="0" marR="0" lvl="0" indent="0" algn="r" defTabSz="911015" rtl="0" eaLnBrk="0" fontAlgn="base" latinLnBrk="0" hangingPunct="0">
                <a:lnSpc>
                  <a:spcPct val="100000"/>
                </a:lnSpc>
                <a:spcBef>
                  <a:spcPct val="0"/>
                </a:spcBef>
                <a:spcAft>
                  <a:spcPct val="0"/>
                </a:spcAft>
                <a:buClrTx/>
                <a:buSzTx/>
                <a:buFontTx/>
                <a:buNone/>
                <a:tabLst/>
                <a:defRPr/>
              </a:pPr>
              <a:t>17</a:t>
            </a:fld>
            <a:endParaRPr kumimoji="0" lang="en-US" sz="1000" b="0" i="1" u="none" strike="noStrike" kern="1200" cap="none" spc="0" normalizeH="0" baseline="0" noProof="0">
              <a:ln>
                <a:noFill/>
              </a:ln>
              <a:solidFill>
                <a:srgbClr val="000000"/>
              </a:solidFill>
              <a:effectLst/>
              <a:uLnTx/>
              <a:uFillTx/>
              <a:latin typeface="EYInterstate Light" panose="02000506000000020004" pitchFamily="2" charset="0"/>
              <a:ea typeface="+mn-ea"/>
              <a:cs typeface="+mn-cs"/>
            </a:endParaRPr>
          </a:p>
        </p:txBody>
      </p:sp>
    </p:spTree>
    <p:extLst>
      <p:ext uri="{BB962C8B-B14F-4D97-AF65-F5344CB8AC3E}">
        <p14:creationId xmlns:p14="http://schemas.microsoft.com/office/powerpoint/2010/main" val="322189402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4.jpeg"/><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6.xml"/></Relationships>
</file>

<file path=ppt/slideLayouts/_rels/slideLayout103.xml.rels><?xml version="1.0" encoding="UTF-8" standalone="yes"?>
<Relationships xmlns="http://schemas.openxmlformats.org/package/2006/relationships"><Relationship Id="rId3" Type="http://schemas.openxmlformats.org/officeDocument/2006/relationships/tags" Target="../tags/tag66.xml"/><Relationship Id="rId2" Type="http://schemas.openxmlformats.org/officeDocument/2006/relationships/tags" Target="../tags/tag65.xml"/><Relationship Id="rId1" Type="http://schemas.openxmlformats.org/officeDocument/2006/relationships/vmlDrawing" Target="../drawings/vmlDrawing38.vml"/><Relationship Id="rId6" Type="http://schemas.openxmlformats.org/officeDocument/2006/relationships/image" Target="../media/image5.emf"/><Relationship Id="rId5" Type="http://schemas.openxmlformats.org/officeDocument/2006/relationships/oleObject" Target="../embeddings/oleObject38.bin"/><Relationship Id="rId4" Type="http://schemas.openxmlformats.org/officeDocument/2006/relationships/slideMaster" Target="../slideMasters/slideMaster16.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11.xml"/><Relationship Id="rId2" Type="http://schemas.openxmlformats.org/officeDocument/2006/relationships/tags" Target="../tags/tag10.xml"/><Relationship Id="rId1" Type="http://schemas.openxmlformats.org/officeDocument/2006/relationships/vmlDrawing" Target="../drawings/vmlDrawing7.vml"/><Relationship Id="rId6" Type="http://schemas.openxmlformats.org/officeDocument/2006/relationships/image" Target="../media/image5.emf"/><Relationship Id="rId5" Type="http://schemas.openxmlformats.org/officeDocument/2006/relationships/oleObject" Target="../embeddings/oleObject7.bin"/><Relationship Id="rId4"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3.vml"/><Relationship Id="rId5" Type="http://schemas.openxmlformats.org/officeDocument/2006/relationships/image" Target="../media/image5.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3.xml"/><Relationship Id="rId1" Type="http://schemas.openxmlformats.org/officeDocument/2006/relationships/vmlDrawing" Target="../drawings/vmlDrawing9.vml"/><Relationship Id="rId5" Type="http://schemas.openxmlformats.org/officeDocument/2006/relationships/image" Target="../media/image14.emf"/><Relationship Id="rId4" Type="http://schemas.openxmlformats.org/officeDocument/2006/relationships/oleObject" Target="../embeddings/oleObject9.bin"/></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5.xml"/><Relationship Id="rId1" Type="http://schemas.openxmlformats.org/officeDocument/2006/relationships/vmlDrawing" Target="../drawings/vmlDrawing11.vml"/><Relationship Id="rId5" Type="http://schemas.openxmlformats.org/officeDocument/2006/relationships/image" Target="../media/image14.emf"/><Relationship Id="rId4" Type="http://schemas.openxmlformats.org/officeDocument/2006/relationships/oleObject" Target="../embeddings/oleObject11.bin"/></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5.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5.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7.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0.xml"/><Relationship Id="rId1" Type="http://schemas.openxmlformats.org/officeDocument/2006/relationships/vmlDrawing" Target="../drawings/vmlDrawing14.vml"/><Relationship Id="rId5" Type="http://schemas.openxmlformats.org/officeDocument/2006/relationships/image" Target="../media/image5.emf"/><Relationship Id="rId4" Type="http://schemas.openxmlformats.org/officeDocument/2006/relationships/oleObject" Target="../embeddings/oleObject14.bin"/></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3.xml"/><Relationship Id="rId1" Type="http://schemas.openxmlformats.org/officeDocument/2006/relationships/vmlDrawing" Target="../drawings/vmlDrawing16.vml"/><Relationship Id="rId5" Type="http://schemas.openxmlformats.org/officeDocument/2006/relationships/image" Target="../media/image5.emf"/><Relationship Id="rId4" Type="http://schemas.openxmlformats.org/officeDocument/2006/relationships/oleObject" Target="../embeddings/oleObject16.bin"/></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6.xml"/><Relationship Id="rId1" Type="http://schemas.openxmlformats.org/officeDocument/2006/relationships/vmlDrawing" Target="../drawings/vmlDrawing18.vml"/><Relationship Id="rId6" Type="http://schemas.openxmlformats.org/officeDocument/2006/relationships/image" Target="../media/image4.jpeg"/><Relationship Id="rId5" Type="http://schemas.openxmlformats.org/officeDocument/2006/relationships/image" Target="../media/image3.emf"/><Relationship Id="rId4" Type="http://schemas.openxmlformats.org/officeDocument/2006/relationships/oleObject" Target="../embeddings/oleObject18.bin"/></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7.xml"/><Relationship Id="rId1" Type="http://schemas.openxmlformats.org/officeDocument/2006/relationships/vmlDrawing" Target="../drawings/vmlDrawing19.vml"/><Relationship Id="rId5" Type="http://schemas.openxmlformats.org/officeDocument/2006/relationships/image" Target="../media/image5.emf"/><Relationship Id="rId4" Type="http://schemas.openxmlformats.org/officeDocument/2006/relationships/oleObject" Target="../embeddings/oleObject19.bin"/></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30.xml"/><Relationship Id="rId1" Type="http://schemas.openxmlformats.org/officeDocument/2006/relationships/vmlDrawing" Target="../drawings/vmlDrawing21.vml"/><Relationship Id="rId6" Type="http://schemas.openxmlformats.org/officeDocument/2006/relationships/image" Target="../media/image4.jpeg"/><Relationship Id="rId5" Type="http://schemas.openxmlformats.org/officeDocument/2006/relationships/image" Target="../media/image3.emf"/><Relationship Id="rId4" Type="http://schemas.openxmlformats.org/officeDocument/2006/relationships/oleObject" Target="../embeddings/oleObject21.bin"/></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31.xml"/><Relationship Id="rId1" Type="http://schemas.openxmlformats.org/officeDocument/2006/relationships/vmlDrawing" Target="../drawings/vmlDrawing22.vml"/><Relationship Id="rId5" Type="http://schemas.openxmlformats.org/officeDocument/2006/relationships/image" Target="../media/image5.emf"/><Relationship Id="rId4" Type="http://schemas.openxmlformats.org/officeDocument/2006/relationships/oleObject" Target="../embeddings/oleObject22.bin"/></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vmlDrawing" Target="../drawings/vmlDrawing5.vml"/><Relationship Id="rId6" Type="http://schemas.openxmlformats.org/officeDocument/2006/relationships/image" Target="../media/image7.jpeg"/><Relationship Id="rId5" Type="http://schemas.openxmlformats.org/officeDocument/2006/relationships/image" Target="../media/image3.emf"/><Relationship Id="rId4" Type="http://schemas.openxmlformats.org/officeDocument/2006/relationships/oleObject" Target="../embeddings/oleObject5.bin"/></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1.xml.rels><?xml version="1.0" encoding="UTF-8" standalone="yes"?>
<Relationships xmlns="http://schemas.openxmlformats.org/package/2006/relationships"><Relationship Id="rId3" Type="http://schemas.openxmlformats.org/officeDocument/2006/relationships/tags" Target="../tags/tag45.xml"/><Relationship Id="rId2" Type="http://schemas.openxmlformats.org/officeDocument/2006/relationships/tags" Target="../tags/tag44.xml"/><Relationship Id="rId1" Type="http://schemas.openxmlformats.org/officeDocument/2006/relationships/vmlDrawing" Target="../drawings/vmlDrawing24.vml"/><Relationship Id="rId6" Type="http://schemas.openxmlformats.org/officeDocument/2006/relationships/image" Target="NULL"/><Relationship Id="rId5" Type="http://schemas.openxmlformats.org/officeDocument/2006/relationships/oleObject" Target="../embeddings/oleObject24.bin"/><Relationship Id="rId4" Type="http://schemas.openxmlformats.org/officeDocument/2006/relationships/slideMaster" Target="../slideMasters/slideMaster10.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xml"/><Relationship Id="rId1" Type="http://schemas.openxmlformats.org/officeDocument/2006/relationships/vmlDrawing" Target="../drawings/vmlDrawing6.vml"/><Relationship Id="rId5" Type="http://schemas.openxmlformats.org/officeDocument/2006/relationships/image" Target="../media/image5.emf"/><Relationship Id="rId4" Type="http://schemas.openxmlformats.org/officeDocument/2006/relationships/oleObject" Target="../embeddings/oleObject6.bin"/></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1.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13.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3.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48.xml"/><Relationship Id="rId1" Type="http://schemas.openxmlformats.org/officeDocument/2006/relationships/vmlDrawing" Target="../drawings/vmlDrawing26.vml"/><Relationship Id="rId6" Type="http://schemas.openxmlformats.org/officeDocument/2006/relationships/image" Target="../media/image23.jpeg"/><Relationship Id="rId5" Type="http://schemas.openxmlformats.org/officeDocument/2006/relationships/image" Target="../media/image22.emf"/><Relationship Id="rId4" Type="http://schemas.openxmlformats.org/officeDocument/2006/relationships/oleObject" Target="../embeddings/oleObject26.bin"/></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24.gif"/><Relationship Id="rId1" Type="http://schemas.openxmlformats.org/officeDocument/2006/relationships/slideMaster" Target="../slideMasters/slideMaster13.xml"/></Relationships>
</file>

<file path=ppt/slideLayouts/_rels/slideLayout83.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51.xml"/><Relationship Id="rId1" Type="http://schemas.openxmlformats.org/officeDocument/2006/relationships/vmlDrawing" Target="../drawings/vmlDrawing28.vml"/><Relationship Id="rId6" Type="http://schemas.openxmlformats.org/officeDocument/2006/relationships/image" Target="../media/image25.jpeg"/><Relationship Id="rId5" Type="http://schemas.openxmlformats.org/officeDocument/2006/relationships/image" Target="../media/image3.emf"/><Relationship Id="rId4" Type="http://schemas.openxmlformats.org/officeDocument/2006/relationships/oleObject" Target="../embeddings/oleObject28.bin"/></Relationships>
</file>

<file path=ppt/slideLayouts/_rels/slideLayout84.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52.xml"/><Relationship Id="rId1" Type="http://schemas.openxmlformats.org/officeDocument/2006/relationships/vmlDrawing" Target="../drawings/vmlDrawing29.vml"/><Relationship Id="rId5" Type="http://schemas.openxmlformats.org/officeDocument/2006/relationships/image" Target="../media/image5.emf"/><Relationship Id="rId4" Type="http://schemas.openxmlformats.org/officeDocument/2006/relationships/oleObject" Target="../embeddings/oleObject29.bin"/></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4.xml"/></Relationships>
</file>

<file path=ppt/slideLayouts/_rels/slideLayout89.xml.rels><?xml version="1.0" encoding="UTF-8" standalone="yes"?>
<Relationships xmlns="http://schemas.openxmlformats.org/package/2006/relationships"><Relationship Id="rId3" Type="http://schemas.openxmlformats.org/officeDocument/2006/relationships/tags" Target="../tags/tag54.xml"/><Relationship Id="rId2" Type="http://schemas.openxmlformats.org/officeDocument/2006/relationships/tags" Target="../tags/tag53.xml"/><Relationship Id="rId1" Type="http://schemas.openxmlformats.org/officeDocument/2006/relationships/vmlDrawing" Target="../drawings/vmlDrawing30.vml"/><Relationship Id="rId6" Type="http://schemas.openxmlformats.org/officeDocument/2006/relationships/image" Target="../media/image5.emf"/><Relationship Id="rId5" Type="http://schemas.openxmlformats.org/officeDocument/2006/relationships/oleObject" Target="../embeddings/oleObject30.bin"/><Relationship Id="rId4" Type="http://schemas.openxmlformats.org/officeDocument/2006/relationships/slideMaster" Target="../slideMasters/slideMaster1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57.xml"/><Relationship Id="rId1" Type="http://schemas.openxmlformats.org/officeDocument/2006/relationships/vmlDrawing" Target="../drawings/vmlDrawing32.vml"/><Relationship Id="rId6" Type="http://schemas.openxmlformats.org/officeDocument/2006/relationships/image" Target="../media/image25.jpeg"/><Relationship Id="rId5" Type="http://schemas.openxmlformats.org/officeDocument/2006/relationships/image" Target="../media/image3.emf"/><Relationship Id="rId4" Type="http://schemas.openxmlformats.org/officeDocument/2006/relationships/oleObject" Target="../embeddings/oleObject32.bin"/></Relationships>
</file>

<file path=ppt/slideLayouts/_rels/slideLayout91.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58.xml"/><Relationship Id="rId1" Type="http://schemas.openxmlformats.org/officeDocument/2006/relationships/vmlDrawing" Target="../drawings/vmlDrawing33.vml"/><Relationship Id="rId5" Type="http://schemas.openxmlformats.org/officeDocument/2006/relationships/image" Target="../media/image5.emf"/><Relationship Id="rId4" Type="http://schemas.openxmlformats.org/officeDocument/2006/relationships/oleObject" Target="../embeddings/oleObject33.bin"/></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5.xml"/></Relationships>
</file>

<file path=ppt/slideLayouts/_rels/slideLayout96.xml.rels><?xml version="1.0" encoding="UTF-8" standalone="yes"?>
<Relationships xmlns="http://schemas.openxmlformats.org/package/2006/relationships"><Relationship Id="rId3" Type="http://schemas.openxmlformats.org/officeDocument/2006/relationships/tags" Target="../tags/tag60.xml"/><Relationship Id="rId2" Type="http://schemas.openxmlformats.org/officeDocument/2006/relationships/tags" Target="../tags/tag59.xml"/><Relationship Id="rId1" Type="http://schemas.openxmlformats.org/officeDocument/2006/relationships/vmlDrawing" Target="../drawings/vmlDrawing34.vml"/><Relationship Id="rId6" Type="http://schemas.openxmlformats.org/officeDocument/2006/relationships/image" Target="../media/image5.emf"/><Relationship Id="rId5" Type="http://schemas.openxmlformats.org/officeDocument/2006/relationships/oleObject" Target="../embeddings/oleObject34.bin"/><Relationship Id="rId4" Type="http://schemas.openxmlformats.org/officeDocument/2006/relationships/slideMaster" Target="../slideMasters/slideMaster15.xml"/></Relationships>
</file>

<file path=ppt/slideLayouts/_rels/slideLayout97.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63.xml"/><Relationship Id="rId1" Type="http://schemas.openxmlformats.org/officeDocument/2006/relationships/vmlDrawing" Target="../drawings/vmlDrawing36.vml"/><Relationship Id="rId6" Type="http://schemas.openxmlformats.org/officeDocument/2006/relationships/image" Target="../media/image25.jpeg"/><Relationship Id="rId5" Type="http://schemas.openxmlformats.org/officeDocument/2006/relationships/image" Target="../media/image3.emf"/><Relationship Id="rId4" Type="http://schemas.openxmlformats.org/officeDocument/2006/relationships/oleObject" Target="../embeddings/oleObject36.bin"/></Relationships>
</file>

<file path=ppt/slideLayouts/_rels/slideLayout98.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64.xml"/><Relationship Id="rId1" Type="http://schemas.openxmlformats.org/officeDocument/2006/relationships/vmlDrawing" Target="../drawings/vmlDrawing37.vml"/><Relationship Id="rId5" Type="http://schemas.openxmlformats.org/officeDocument/2006/relationships/image" Target="../media/image5.emf"/><Relationship Id="rId4" Type="http://schemas.openxmlformats.org/officeDocument/2006/relationships/oleObject" Target="../embeddings/oleObject37.bin"/></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Standard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079025874"/>
              </p:ext>
            </p:extLst>
          </p:nvPr>
        </p:nvGraphicFramePr>
        <p:xfrm>
          <a:off x="1588" y="1589"/>
          <a:ext cx="1588" cy="1587"/>
        </p:xfrm>
        <a:graphic>
          <a:graphicData uri="http://schemas.openxmlformats.org/presentationml/2006/ole">
            <mc:AlternateContent xmlns:mc="http://schemas.openxmlformats.org/markup-compatibility/2006">
              <mc:Choice xmlns:v="urn:schemas-microsoft-com:vml" Requires="v">
                <p:oleObj spid="_x0000_s2050" name="think-cell Slide" r:id="rId4" imgW="360" imgH="360" progId="TCLayout.ActiveDocument.1">
                  <p:embed/>
                </p:oleObj>
              </mc:Choice>
              <mc:Fallback>
                <p:oleObj name="think-cell Slide" r:id="rId4" imgW="360" imgH="360" progId="TCLayout.ActiveDocument.1">
                  <p:embed/>
                  <p:pic>
                    <p:nvPicPr>
                      <p:cNvPr id="4" name="Object 3" hidden="1"/>
                      <p:cNvPicPr/>
                      <p:nvPr/>
                    </p:nvPicPr>
                    <p:blipFill>
                      <a:blip r:embed="rId5"/>
                      <a:stretch>
                        <a:fillRect/>
                      </a:stretch>
                    </p:blipFill>
                    <p:spPr>
                      <a:xfrm>
                        <a:off x="1588" y="1589"/>
                        <a:ext cx="1588" cy="1587"/>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783BE9ED-87EF-4BBE-B243-0CE42D8AFCDD}"/>
              </a:ext>
            </a:extLst>
          </p:cNvPr>
          <p:cNvPicPr>
            <a:picLocks noChangeAspect="1"/>
          </p:cNvPicPr>
          <p:nvPr userDrawn="1"/>
        </p:nvPicPr>
        <p:blipFill rotWithShape="1">
          <a:blip r:embed="rId6" cstate="print">
            <a:duotone>
              <a:prstClr val="black"/>
              <a:schemeClr val="tx2">
                <a:tint val="45000"/>
                <a:satMod val="400000"/>
              </a:schemeClr>
            </a:duotone>
            <a:extLst>
              <a:ext uri="{28A0092B-C50C-407E-A947-70E740481C1C}">
                <a14:useLocalDpi xmlns:a14="http://schemas.microsoft.com/office/drawing/2010/main" val="0"/>
              </a:ext>
            </a:extLst>
          </a:blip>
          <a:srcRect b="15599"/>
          <a:stretch/>
        </p:blipFill>
        <p:spPr>
          <a:xfrm>
            <a:off x="0" y="0"/>
            <a:ext cx="13438217" cy="7561263"/>
          </a:xfrm>
          <a:prstGeom prst="rect">
            <a:avLst/>
          </a:prstGeom>
        </p:spPr>
      </p:pic>
    </p:spTree>
    <p:extLst>
      <p:ext uri="{BB962C8B-B14F-4D97-AF65-F5344CB8AC3E}">
        <p14:creationId xmlns:p14="http://schemas.microsoft.com/office/powerpoint/2010/main" val="299441128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5_Blank">
    <p:bg>
      <p:bgPr>
        <a:solidFill>
          <a:schemeClr val="tx1"/>
        </a:solidFill>
        <a:effectLst/>
      </p:bgPr>
    </p:bg>
    <p:spTree>
      <p:nvGrpSpPr>
        <p:cNvPr id="1" name=""/>
        <p:cNvGrpSpPr/>
        <p:nvPr/>
      </p:nvGrpSpPr>
      <p:grpSpPr>
        <a:xfrm>
          <a:off x="0" y="0"/>
          <a:ext cx="0" cy="0"/>
          <a:chOff x="0" y="0"/>
          <a:chExt cx="0" cy="0"/>
        </a:xfrm>
      </p:grpSpPr>
      <p:sp>
        <p:nvSpPr>
          <p:cNvPr id="15" name="object 7">
            <a:extLst>
              <a:ext uri="{FF2B5EF4-FFF2-40B4-BE49-F238E27FC236}">
                <a16:creationId xmlns:a16="http://schemas.microsoft.com/office/drawing/2014/main" id="{A9E07F53-5493-D745-9EB3-56AA82429EB9}"/>
              </a:ext>
            </a:extLst>
          </p:cNvPr>
          <p:cNvSpPr/>
          <p:nvPr userDrawn="1"/>
        </p:nvSpPr>
        <p:spPr>
          <a:xfrm>
            <a:off x="714208" y="396917"/>
            <a:ext cx="3967825" cy="0"/>
          </a:xfrm>
          <a:custGeom>
            <a:avLst/>
            <a:gdLst/>
            <a:ahLst/>
            <a:cxnLst/>
            <a:rect l="l" t="t" r="r" b="b"/>
            <a:pathLst>
              <a:path w="7721600">
                <a:moveTo>
                  <a:pt x="0" y="0"/>
                </a:moveTo>
                <a:lnTo>
                  <a:pt x="7721600" y="0"/>
                </a:lnTo>
              </a:path>
            </a:pathLst>
          </a:custGeom>
          <a:ln w="19050">
            <a:solidFill>
              <a:schemeClr val="accent3"/>
            </a:solidFill>
          </a:ln>
        </p:spPr>
        <p:txBody>
          <a:bodyPr wrap="square" lIns="0" tIns="0" rIns="0" bIns="0" rtlCol="0"/>
          <a:lstStyle/>
          <a:p>
            <a:endParaRPr sz="1622"/>
          </a:p>
        </p:txBody>
      </p:sp>
      <p:sp>
        <p:nvSpPr>
          <p:cNvPr id="24" name="Title 23">
            <a:extLst>
              <a:ext uri="{FF2B5EF4-FFF2-40B4-BE49-F238E27FC236}">
                <a16:creationId xmlns:a16="http://schemas.microsoft.com/office/drawing/2014/main" id="{74582B84-AFBF-C14B-A4DA-884520648B28}"/>
              </a:ext>
            </a:extLst>
          </p:cNvPr>
          <p:cNvSpPr>
            <a:spLocks noGrp="1"/>
          </p:cNvSpPr>
          <p:nvPr>
            <p:ph type="title" hasCustomPrompt="1"/>
          </p:nvPr>
        </p:nvSpPr>
        <p:spPr>
          <a:xfrm>
            <a:off x="714210" y="476303"/>
            <a:ext cx="11903474" cy="555682"/>
          </a:xfrm>
          <a:prstGeom prst="rect">
            <a:avLst/>
          </a:prstGeom>
        </p:spPr>
        <p:txBody>
          <a:bodyPr vert="horz" wrap="square" lIns="0" tIns="0" rIns="0" bIns="0" rtlCol="0">
            <a:noAutofit/>
          </a:bodyPr>
          <a:lstStyle>
            <a:lvl1pPr>
              <a:defRPr lang="en-US" sz="2205" spc="-54" dirty="0">
                <a:solidFill>
                  <a:srgbClr val="575756"/>
                </a:solidFill>
                <a:latin typeface="EYInterstate Light" panose="02000506000000020004" pitchFamily="2" charset="0"/>
                <a:ea typeface="+mn-ea"/>
                <a:cs typeface="EYInterstate Light" panose="02000506000000020004" pitchFamily="2" charset="0"/>
              </a:defRPr>
            </a:lvl1pPr>
          </a:lstStyle>
          <a:p>
            <a:pPr marL="12355" lvl="0" defTabSz="889571">
              <a:lnSpc>
                <a:spcPct val="100000"/>
              </a:lnSpc>
            </a:pPr>
            <a:r>
              <a:rPr lang="en-US"/>
              <a:t>CLICK TO EDIT MASTER TITLE STYLE</a:t>
            </a:r>
          </a:p>
        </p:txBody>
      </p:sp>
    </p:spTree>
    <p:extLst>
      <p:ext uri="{BB962C8B-B14F-4D97-AF65-F5344CB8AC3E}">
        <p14:creationId xmlns:p14="http://schemas.microsoft.com/office/powerpoint/2010/main" val="86767426"/>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1_Custom Layout">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05277882"/>
      </p:ext>
    </p:extLst>
  </p:cSld>
  <p:clrMapOvr>
    <a:overrideClrMapping bg1="dk1" tx1="lt1" bg2="dk2" tx2="lt2" accent1="accent1" accent2="accent2" accent3="accent3" accent4="accent4" accent5="accent5" accent6="accent6" hlink="hlink" folHlink="folHlink"/>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userDrawn="1">
  <p:cSld name="5_Blank">
    <p:bg>
      <p:bgPr>
        <a:solidFill>
          <a:schemeClr val="tx1"/>
        </a:solidFill>
        <a:effectLst/>
      </p:bgPr>
    </p:bg>
    <p:spTree>
      <p:nvGrpSpPr>
        <p:cNvPr id="1" name=""/>
        <p:cNvGrpSpPr/>
        <p:nvPr/>
      </p:nvGrpSpPr>
      <p:grpSpPr>
        <a:xfrm>
          <a:off x="0" y="0"/>
          <a:ext cx="0" cy="0"/>
          <a:chOff x="0" y="0"/>
          <a:chExt cx="0" cy="0"/>
        </a:xfrm>
      </p:grpSpPr>
      <p:sp>
        <p:nvSpPr>
          <p:cNvPr id="15" name="object 7">
            <a:extLst>
              <a:ext uri="{FF2B5EF4-FFF2-40B4-BE49-F238E27FC236}">
                <a16:creationId xmlns:a16="http://schemas.microsoft.com/office/drawing/2014/main" id="{A9E07F53-5493-D745-9EB3-56AA82429EB9}"/>
              </a:ext>
            </a:extLst>
          </p:cNvPr>
          <p:cNvSpPr/>
          <p:nvPr userDrawn="1"/>
        </p:nvSpPr>
        <p:spPr>
          <a:xfrm>
            <a:off x="714208" y="396917"/>
            <a:ext cx="3967825" cy="0"/>
          </a:xfrm>
          <a:custGeom>
            <a:avLst/>
            <a:gdLst/>
            <a:ahLst/>
            <a:cxnLst/>
            <a:rect l="l" t="t" r="r" b="b"/>
            <a:pathLst>
              <a:path w="7721600">
                <a:moveTo>
                  <a:pt x="0" y="0"/>
                </a:moveTo>
                <a:lnTo>
                  <a:pt x="7721600" y="0"/>
                </a:lnTo>
              </a:path>
            </a:pathLst>
          </a:custGeom>
          <a:ln w="19050">
            <a:solidFill>
              <a:schemeClr val="accent3"/>
            </a:solidFill>
          </a:ln>
        </p:spPr>
        <p:txBody>
          <a:bodyPr wrap="square" lIns="0" tIns="0" rIns="0" bIns="0" rtlCol="0"/>
          <a:lstStyle/>
          <a:p>
            <a:endParaRPr sz="1622"/>
          </a:p>
        </p:txBody>
      </p:sp>
      <p:sp>
        <p:nvSpPr>
          <p:cNvPr id="24" name="Title 23">
            <a:extLst>
              <a:ext uri="{FF2B5EF4-FFF2-40B4-BE49-F238E27FC236}">
                <a16:creationId xmlns:a16="http://schemas.microsoft.com/office/drawing/2014/main" id="{74582B84-AFBF-C14B-A4DA-884520648B28}"/>
              </a:ext>
            </a:extLst>
          </p:cNvPr>
          <p:cNvSpPr>
            <a:spLocks noGrp="1"/>
          </p:cNvSpPr>
          <p:nvPr>
            <p:ph type="title" hasCustomPrompt="1"/>
          </p:nvPr>
        </p:nvSpPr>
        <p:spPr>
          <a:xfrm>
            <a:off x="714210" y="476303"/>
            <a:ext cx="11903474" cy="555682"/>
          </a:xfrm>
          <a:prstGeom prst="rect">
            <a:avLst/>
          </a:prstGeom>
        </p:spPr>
        <p:txBody>
          <a:bodyPr vert="horz" wrap="square" lIns="0" tIns="0" rIns="0" bIns="0" rtlCol="0">
            <a:noAutofit/>
          </a:bodyPr>
          <a:lstStyle>
            <a:lvl1pPr>
              <a:defRPr lang="en-US" sz="2205" spc="-54" dirty="0">
                <a:solidFill>
                  <a:srgbClr val="575756"/>
                </a:solidFill>
                <a:latin typeface="EYInterstate Light" panose="02000506000000020004" pitchFamily="2" charset="0"/>
                <a:ea typeface="+mn-ea"/>
                <a:cs typeface="EYInterstate Light" panose="02000506000000020004" pitchFamily="2" charset="0"/>
              </a:defRPr>
            </a:lvl1pPr>
          </a:lstStyle>
          <a:p>
            <a:pPr marL="12355" lvl="0" defTabSz="889571">
              <a:lnSpc>
                <a:spcPct val="100000"/>
              </a:lnSpc>
            </a:pPr>
            <a:r>
              <a:rPr lang="en-US"/>
              <a:t>CLICK TO EDIT MASTER TITLE STYLE</a:t>
            </a:r>
          </a:p>
        </p:txBody>
      </p:sp>
    </p:spTree>
    <p:extLst>
      <p:ext uri="{BB962C8B-B14F-4D97-AF65-F5344CB8AC3E}">
        <p14:creationId xmlns:p14="http://schemas.microsoft.com/office/powerpoint/2010/main" val="3247468009"/>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userDrawn="1">
  <p:cSld name="1_Final legal text">
    <p:spTree>
      <p:nvGrpSpPr>
        <p:cNvPr id="1" name=""/>
        <p:cNvGrpSpPr/>
        <p:nvPr/>
      </p:nvGrpSpPr>
      <p:grpSpPr>
        <a:xfrm>
          <a:off x="0" y="0"/>
          <a:ext cx="0" cy="0"/>
          <a:chOff x="0" y="0"/>
          <a:chExt cx="0" cy="0"/>
        </a:xfrm>
      </p:grpSpPr>
      <p:pic>
        <p:nvPicPr>
          <p:cNvPr id="5" name="Content Placeholder 3">
            <a:extLst>
              <a:ext uri="{FF2B5EF4-FFF2-40B4-BE49-F238E27FC236}">
                <a16:creationId xmlns:a16="http://schemas.microsoft.com/office/drawing/2014/main" id="{501A2F11-32A0-4526-A5F7-F4382DA5B47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530" y="0"/>
            <a:ext cx="13435952" cy="7561263"/>
          </a:xfrm>
          <a:prstGeom prst="rect">
            <a:avLst/>
          </a:prstGeom>
        </p:spPr>
      </p:pic>
      <p:sp>
        <p:nvSpPr>
          <p:cNvPr id="8" name="Content Placeholder 2"/>
          <p:cNvSpPr>
            <a:spLocks noGrp="1"/>
          </p:cNvSpPr>
          <p:nvPr>
            <p:ph idx="1"/>
          </p:nvPr>
        </p:nvSpPr>
        <p:spPr>
          <a:xfrm>
            <a:off x="669813" y="792884"/>
            <a:ext cx="5154895" cy="5744335"/>
          </a:xfrm>
        </p:spPr>
        <p:txBody>
          <a:bodyPr/>
          <a:lstStyle>
            <a:lvl1pPr marL="0" indent="0" algn="l" defTabSz="1096890" rtl="0" fontAlgn="base">
              <a:lnSpc>
                <a:spcPct val="100000"/>
              </a:lnSpc>
              <a:spcBef>
                <a:spcPct val="70000"/>
              </a:spcBef>
              <a:spcAft>
                <a:spcPct val="0"/>
              </a:spcAft>
              <a:buSzPct val="100000"/>
              <a:buNone/>
              <a:defRPr lang="en-US" sz="1322" kern="1200" noProof="0" dirty="0" smtClean="0">
                <a:solidFill>
                  <a:schemeClr val="bg1"/>
                </a:solidFill>
                <a:latin typeface="EYInterstate Light" panose="02000506000000020004" pitchFamily="2" charset="0"/>
                <a:ea typeface="+mn-ea"/>
                <a:cs typeface="Arial" pitchFamily="34" charset="0"/>
              </a:defRPr>
            </a:lvl1pPr>
            <a:lvl2pPr marL="0" indent="0" algn="l" defTabSz="1096890" rtl="0" fontAlgn="base">
              <a:lnSpc>
                <a:spcPct val="100000"/>
              </a:lnSpc>
              <a:spcBef>
                <a:spcPct val="0"/>
              </a:spcBef>
              <a:spcAft>
                <a:spcPct val="0"/>
              </a:spcAft>
              <a:buSzPct val="100000"/>
              <a:buNone/>
              <a:defRPr lang="en-US" sz="992" b="1" kern="1200" noProof="0" dirty="0" smtClean="0">
                <a:solidFill>
                  <a:schemeClr val="bg1"/>
                </a:solidFill>
                <a:latin typeface="EYInterstate Light" panose="02000506000000020004" pitchFamily="2" charset="0"/>
                <a:ea typeface="+mn-ea"/>
                <a:cs typeface="Arial" pitchFamily="34" charset="0"/>
              </a:defRPr>
            </a:lvl2pPr>
            <a:lvl3pPr marL="194187" indent="-194187" algn="l" defTabSz="1096890" rtl="0" fontAlgn="base">
              <a:lnSpc>
                <a:spcPct val="100000"/>
              </a:lnSpc>
              <a:spcBef>
                <a:spcPct val="0"/>
              </a:spcBef>
              <a:spcAft>
                <a:spcPct val="0"/>
              </a:spcAft>
              <a:buClr>
                <a:schemeClr val="tx2"/>
              </a:buClr>
              <a:buSzPct val="70000"/>
              <a:buFont typeface="Arial" pitchFamily="34" charset="0"/>
              <a:buChar char="►"/>
              <a:defRPr lang="en-US" sz="992" b="1" kern="1200" noProof="0" dirty="0" smtClean="0">
                <a:solidFill>
                  <a:schemeClr val="bg1"/>
                </a:solidFill>
                <a:latin typeface="EYInterstate Light" panose="02000506000000020004" pitchFamily="2" charset="0"/>
                <a:ea typeface="+mn-ea"/>
                <a:cs typeface="Arial" pitchFamily="34" charset="0"/>
              </a:defRPr>
            </a:lvl3pPr>
            <a:lvl4pPr marL="0" indent="0" algn="l" defTabSz="1096890" rtl="0" fontAlgn="base">
              <a:lnSpc>
                <a:spcPct val="100000"/>
              </a:lnSpc>
              <a:spcBef>
                <a:spcPct val="0"/>
              </a:spcBef>
              <a:spcAft>
                <a:spcPct val="0"/>
              </a:spcAft>
              <a:buSzPct val="100000"/>
              <a:buNone/>
              <a:defRPr lang="en-US" sz="882" kern="1200" noProof="0" dirty="0" smtClean="0">
                <a:solidFill>
                  <a:schemeClr val="bg1"/>
                </a:solidFill>
                <a:latin typeface="EYInterstate Light" panose="02000506000000020004" pitchFamily="2" charset="0"/>
                <a:ea typeface="+mn-ea"/>
                <a:cs typeface="Arial" pitchFamily="34" charset="0"/>
              </a:defRPr>
            </a:lvl4pPr>
            <a:lvl5pPr marL="208182" indent="-208182" algn="l" defTabSz="1096890" rtl="0" fontAlgn="base">
              <a:lnSpc>
                <a:spcPct val="100000"/>
              </a:lnSpc>
              <a:spcBef>
                <a:spcPct val="0"/>
              </a:spcBef>
              <a:spcAft>
                <a:spcPct val="0"/>
              </a:spcAft>
              <a:buClr>
                <a:schemeClr val="tx2"/>
              </a:buClr>
              <a:buSzPct val="70000"/>
              <a:buFont typeface="Arial" pitchFamily="34" charset="0"/>
              <a:buChar char="►"/>
              <a:defRPr lang="en-US" sz="882" kern="1200" noProof="0" dirty="0">
                <a:solidFill>
                  <a:schemeClr val="bg1"/>
                </a:solidFill>
                <a:latin typeface="EYInterstate Light" panose="02000506000000020004" pitchFamily="2" charset="0"/>
                <a:ea typeface="+mn-ea"/>
                <a:cs typeface="Arial"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782491284"/>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userDrawn="1">
  <p:cSld name="Standard slide_no bullets">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9"/>
          <a:ext cx="1588" cy="1587"/>
        </p:xfrm>
        <a:graphic>
          <a:graphicData uri="http://schemas.openxmlformats.org/presentationml/2006/ole">
            <mc:AlternateContent xmlns:mc="http://schemas.openxmlformats.org/markup-compatibility/2006">
              <mc:Choice xmlns:v="urn:schemas-microsoft-com:vml" Requires="v">
                <p:oleObj spid="_x0000_s38914" name="think-cell Slide" r:id="rId5" imgW="493" imgH="493" progId="TCLayout.ActiveDocument.1">
                  <p:embed/>
                </p:oleObj>
              </mc:Choice>
              <mc:Fallback>
                <p:oleObj name="think-cell Slide" r:id="rId5" imgW="493" imgH="493" progId="TCLayout.ActiveDocument.1">
                  <p:embed/>
                  <p:pic>
                    <p:nvPicPr>
                      <p:cNvPr id="4" name="Object 3" hidden="1"/>
                      <p:cNvPicPr/>
                      <p:nvPr/>
                    </p:nvPicPr>
                    <p:blipFill>
                      <a:blip r:embed="rId6"/>
                      <a:stretch>
                        <a:fillRect/>
                      </a:stretch>
                    </p:blipFill>
                    <p:spPr>
                      <a:xfrm>
                        <a:off x="1588" y="1589"/>
                        <a:ext cx="1588" cy="158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0BB8C480-31F7-4AF2-94A8-D031DC713528}"/>
              </a:ext>
            </a:extLst>
          </p:cNvPr>
          <p:cNvSpPr/>
          <p:nvPr userDrawn="1">
            <p:custDataLst>
              <p:tags r:id="rId3"/>
            </p:custDataLst>
          </p:nvPr>
        </p:nvSpPr>
        <p:spPr>
          <a:xfrm>
            <a:off x="0" y="0"/>
            <a:ext cx="158750" cy="1587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5000"/>
              </a:lnSpc>
              <a:spcBef>
                <a:spcPct val="0"/>
              </a:spcBef>
              <a:spcAft>
                <a:spcPct val="0"/>
              </a:spcAft>
            </a:pPr>
            <a:endParaRPr lang="en-US" sz="2800" b="1" i="0" baseline="0">
              <a:solidFill>
                <a:schemeClr val="tx1"/>
              </a:solidFill>
              <a:latin typeface="EYInterstate" panose="02000503020000020004" pitchFamily="2" charset="0"/>
              <a:ea typeface="+mj-ea"/>
              <a:cs typeface="Arial" panose="020B0604020202020204" pitchFamily="34" charset="0"/>
              <a:sym typeface="EYInterstate" panose="02000503020000020004" pitchFamily="2" charset="0"/>
            </a:endParaRPr>
          </a:p>
        </p:txBody>
      </p:sp>
      <p:sp>
        <p:nvSpPr>
          <p:cNvPr id="2" name="Title 1"/>
          <p:cNvSpPr>
            <a:spLocks noGrp="1"/>
          </p:cNvSpPr>
          <p:nvPr>
            <p:ph type="title" hasCustomPrompt="1"/>
          </p:nvPr>
        </p:nvSpPr>
        <p:spPr/>
        <p:txBody>
          <a:bodyPr/>
          <a:lstStyle/>
          <a:p>
            <a:r>
              <a:rPr lang="en-US"/>
              <a:t>CLICK TO EDIT MASTER TITLE STYLE</a:t>
            </a:r>
          </a:p>
        </p:txBody>
      </p:sp>
      <p:sp>
        <p:nvSpPr>
          <p:cNvPr id="5" name="Text Placeholder 2"/>
          <p:cNvSpPr>
            <a:spLocks noGrp="1"/>
          </p:cNvSpPr>
          <p:nvPr>
            <p:ph type="body" sz="quarter" idx="10" hasCustomPrompt="1"/>
          </p:nvPr>
        </p:nvSpPr>
        <p:spPr>
          <a:xfrm>
            <a:off x="672148" y="6521829"/>
            <a:ext cx="12100810" cy="357326"/>
          </a:xfrm>
        </p:spPr>
        <p:txBody>
          <a:bodyPr anchor="b"/>
          <a:lstStyle>
            <a:lvl1pPr marL="0" marR="0" indent="0" algn="l" defTabSz="862048" rtl="0" eaLnBrk="1" fontAlgn="auto" latinLnBrk="0" hangingPunct="1">
              <a:lnSpc>
                <a:spcPct val="100000"/>
              </a:lnSpc>
              <a:spcBef>
                <a:spcPts val="0"/>
              </a:spcBef>
              <a:spcAft>
                <a:spcPts val="0"/>
              </a:spcAft>
              <a:buClr>
                <a:schemeClr val="accent2"/>
              </a:buClr>
              <a:buSzPct val="70000"/>
              <a:buFont typeface="Arial" pitchFamily="34" charset="0"/>
              <a:buNone/>
              <a:tabLst/>
              <a:defRPr sz="754" baseline="0">
                <a:solidFill>
                  <a:schemeClr val="bg1"/>
                </a:solidFill>
                <a:latin typeface="EYInterstate" panose="02000503020000020004" pitchFamily="2" charset="0"/>
                <a:cs typeface="Arial" panose="020B0604020202020204" pitchFamily="34" charset="0"/>
                <a:sym typeface="EYInterstate"/>
              </a:defRPr>
            </a:lvl1pPr>
          </a:lstStyle>
          <a:p>
            <a:pPr marL="0" marR="0" lvl="0" indent="0" algn="l" defTabSz="862048" rtl="0" eaLnBrk="1" fontAlgn="auto" latinLnBrk="0" hangingPunct="1">
              <a:lnSpc>
                <a:spcPct val="100000"/>
              </a:lnSpc>
              <a:spcBef>
                <a:spcPct val="20000"/>
              </a:spcBef>
              <a:spcAft>
                <a:spcPts val="0"/>
              </a:spcAft>
              <a:buClr>
                <a:schemeClr val="accent2"/>
              </a:buClr>
              <a:buSzPct val="70000"/>
              <a:buFont typeface="Arial" pitchFamily="34" charset="0"/>
              <a:buNone/>
              <a:tabLst/>
              <a:defRPr/>
            </a:pPr>
            <a:r>
              <a:rPr lang="en-US"/>
              <a:t>Notes and sources:</a:t>
            </a:r>
          </a:p>
        </p:txBody>
      </p:sp>
    </p:spTree>
    <p:extLst>
      <p:ext uri="{BB962C8B-B14F-4D97-AF65-F5344CB8AC3E}">
        <p14:creationId xmlns:p14="http://schemas.microsoft.com/office/powerpoint/2010/main" val="323054128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userDrawn="1">
  <p:cSld name="1_Final legal text">
    <p:spTree>
      <p:nvGrpSpPr>
        <p:cNvPr id="1" name=""/>
        <p:cNvGrpSpPr/>
        <p:nvPr/>
      </p:nvGrpSpPr>
      <p:grpSpPr>
        <a:xfrm>
          <a:off x="0" y="0"/>
          <a:ext cx="0" cy="0"/>
          <a:chOff x="0" y="0"/>
          <a:chExt cx="0" cy="0"/>
        </a:xfrm>
      </p:grpSpPr>
      <p:pic>
        <p:nvPicPr>
          <p:cNvPr id="5" name="Content Placeholder 3">
            <a:extLst>
              <a:ext uri="{FF2B5EF4-FFF2-40B4-BE49-F238E27FC236}">
                <a16:creationId xmlns:a16="http://schemas.microsoft.com/office/drawing/2014/main" id="{501A2F11-32A0-4526-A5F7-F4382DA5B47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530" y="0"/>
            <a:ext cx="13435952" cy="7561263"/>
          </a:xfrm>
          <a:prstGeom prst="rect">
            <a:avLst/>
          </a:prstGeom>
        </p:spPr>
      </p:pic>
      <p:sp>
        <p:nvSpPr>
          <p:cNvPr id="8" name="Content Placeholder 2"/>
          <p:cNvSpPr>
            <a:spLocks noGrp="1"/>
          </p:cNvSpPr>
          <p:nvPr>
            <p:ph idx="1"/>
          </p:nvPr>
        </p:nvSpPr>
        <p:spPr>
          <a:xfrm>
            <a:off x="669813" y="792884"/>
            <a:ext cx="5154895" cy="5744335"/>
          </a:xfrm>
        </p:spPr>
        <p:txBody>
          <a:bodyPr/>
          <a:lstStyle>
            <a:lvl1pPr marL="0" indent="0" algn="l" defTabSz="1096890" rtl="0" fontAlgn="base">
              <a:lnSpc>
                <a:spcPct val="100000"/>
              </a:lnSpc>
              <a:spcBef>
                <a:spcPct val="70000"/>
              </a:spcBef>
              <a:spcAft>
                <a:spcPct val="0"/>
              </a:spcAft>
              <a:buSzPct val="100000"/>
              <a:buNone/>
              <a:defRPr lang="en-US" sz="1322" kern="1200" noProof="0" dirty="0" smtClean="0">
                <a:solidFill>
                  <a:schemeClr val="bg1"/>
                </a:solidFill>
                <a:latin typeface="EYInterstate Light" panose="02000506000000020004" pitchFamily="2" charset="0"/>
                <a:ea typeface="+mn-ea"/>
                <a:cs typeface="Arial" pitchFamily="34" charset="0"/>
              </a:defRPr>
            </a:lvl1pPr>
            <a:lvl2pPr marL="0" indent="0" algn="l" defTabSz="1096890" rtl="0" fontAlgn="base">
              <a:lnSpc>
                <a:spcPct val="100000"/>
              </a:lnSpc>
              <a:spcBef>
                <a:spcPct val="0"/>
              </a:spcBef>
              <a:spcAft>
                <a:spcPct val="0"/>
              </a:spcAft>
              <a:buSzPct val="100000"/>
              <a:buNone/>
              <a:defRPr lang="en-US" sz="992" b="1" kern="1200" noProof="0" dirty="0" smtClean="0">
                <a:solidFill>
                  <a:schemeClr val="bg1"/>
                </a:solidFill>
                <a:latin typeface="EYInterstate Light" panose="02000506000000020004" pitchFamily="2" charset="0"/>
                <a:ea typeface="+mn-ea"/>
                <a:cs typeface="Arial" pitchFamily="34" charset="0"/>
              </a:defRPr>
            </a:lvl2pPr>
            <a:lvl3pPr marL="194187" indent="-194187" algn="l" defTabSz="1096890" rtl="0" fontAlgn="base">
              <a:lnSpc>
                <a:spcPct val="100000"/>
              </a:lnSpc>
              <a:spcBef>
                <a:spcPct val="0"/>
              </a:spcBef>
              <a:spcAft>
                <a:spcPct val="0"/>
              </a:spcAft>
              <a:buClr>
                <a:schemeClr val="tx2"/>
              </a:buClr>
              <a:buSzPct val="70000"/>
              <a:buFont typeface="Arial" pitchFamily="34" charset="0"/>
              <a:buChar char="►"/>
              <a:defRPr lang="en-US" sz="992" b="1" kern="1200" noProof="0" dirty="0" smtClean="0">
                <a:solidFill>
                  <a:schemeClr val="bg1"/>
                </a:solidFill>
                <a:latin typeface="EYInterstate Light" panose="02000506000000020004" pitchFamily="2" charset="0"/>
                <a:ea typeface="+mn-ea"/>
                <a:cs typeface="Arial" pitchFamily="34" charset="0"/>
              </a:defRPr>
            </a:lvl3pPr>
            <a:lvl4pPr marL="0" indent="0" algn="l" defTabSz="1096890" rtl="0" fontAlgn="base">
              <a:lnSpc>
                <a:spcPct val="100000"/>
              </a:lnSpc>
              <a:spcBef>
                <a:spcPct val="0"/>
              </a:spcBef>
              <a:spcAft>
                <a:spcPct val="0"/>
              </a:spcAft>
              <a:buSzPct val="100000"/>
              <a:buNone/>
              <a:defRPr lang="en-US" sz="882" kern="1200" noProof="0" dirty="0" smtClean="0">
                <a:solidFill>
                  <a:schemeClr val="bg1"/>
                </a:solidFill>
                <a:latin typeface="EYInterstate Light" panose="02000506000000020004" pitchFamily="2" charset="0"/>
                <a:ea typeface="+mn-ea"/>
                <a:cs typeface="Arial" pitchFamily="34" charset="0"/>
              </a:defRPr>
            </a:lvl4pPr>
            <a:lvl5pPr marL="208182" indent="-208182" algn="l" defTabSz="1096890" rtl="0" fontAlgn="base">
              <a:lnSpc>
                <a:spcPct val="100000"/>
              </a:lnSpc>
              <a:spcBef>
                <a:spcPct val="0"/>
              </a:spcBef>
              <a:spcAft>
                <a:spcPct val="0"/>
              </a:spcAft>
              <a:buClr>
                <a:schemeClr val="tx2"/>
              </a:buClr>
              <a:buSzPct val="70000"/>
              <a:buFont typeface="Arial" pitchFamily="34" charset="0"/>
              <a:buChar char="►"/>
              <a:defRPr lang="en-US" sz="882" kern="1200" noProof="0" dirty="0">
                <a:solidFill>
                  <a:schemeClr val="bg1"/>
                </a:solidFill>
                <a:latin typeface="EYInterstate Light" panose="02000506000000020004" pitchFamily="2" charset="0"/>
                <a:ea typeface="+mn-ea"/>
                <a:cs typeface="Arial"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37639646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Standard slide_no bullets">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9"/>
          <a:ext cx="1588" cy="1587"/>
        </p:xfrm>
        <a:graphic>
          <a:graphicData uri="http://schemas.openxmlformats.org/presentationml/2006/ole">
            <mc:AlternateContent xmlns:mc="http://schemas.openxmlformats.org/markup-compatibility/2006">
              <mc:Choice xmlns:v="urn:schemas-microsoft-com:vml" Requires="v">
                <p:oleObj spid="_x0000_s7170" name="think-cell Slide" r:id="rId5" imgW="493" imgH="493" progId="TCLayout.ActiveDocument.1">
                  <p:embed/>
                </p:oleObj>
              </mc:Choice>
              <mc:Fallback>
                <p:oleObj name="think-cell Slide" r:id="rId5" imgW="493" imgH="493" progId="TCLayout.ActiveDocument.1">
                  <p:embed/>
                  <p:pic>
                    <p:nvPicPr>
                      <p:cNvPr id="4" name="Object 3" hidden="1"/>
                      <p:cNvPicPr/>
                      <p:nvPr/>
                    </p:nvPicPr>
                    <p:blipFill>
                      <a:blip r:embed="rId6"/>
                      <a:stretch>
                        <a:fillRect/>
                      </a:stretch>
                    </p:blipFill>
                    <p:spPr>
                      <a:xfrm>
                        <a:off x="1588" y="1589"/>
                        <a:ext cx="1588" cy="158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0BB8C480-31F7-4AF2-94A8-D031DC713528}"/>
              </a:ext>
            </a:extLst>
          </p:cNvPr>
          <p:cNvSpPr/>
          <p:nvPr userDrawn="1">
            <p:custDataLst>
              <p:tags r:id="rId3"/>
            </p:custDataLst>
          </p:nvPr>
        </p:nvSpPr>
        <p:spPr>
          <a:xfrm>
            <a:off x="0" y="0"/>
            <a:ext cx="158750" cy="1587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5000"/>
              </a:lnSpc>
              <a:spcBef>
                <a:spcPct val="0"/>
              </a:spcBef>
              <a:spcAft>
                <a:spcPct val="0"/>
              </a:spcAft>
            </a:pPr>
            <a:endParaRPr lang="en-US" sz="2800" b="1" i="0" baseline="0">
              <a:solidFill>
                <a:schemeClr val="tx1"/>
              </a:solidFill>
              <a:latin typeface="EYInterstate" panose="02000503020000020004" pitchFamily="2" charset="0"/>
              <a:ea typeface="+mj-ea"/>
              <a:cs typeface="Arial" panose="020B0604020202020204" pitchFamily="34" charset="0"/>
              <a:sym typeface="EYInterstate" panose="02000503020000020004" pitchFamily="2" charset="0"/>
            </a:endParaRPr>
          </a:p>
        </p:txBody>
      </p:sp>
      <p:sp>
        <p:nvSpPr>
          <p:cNvPr id="2" name="Title 1"/>
          <p:cNvSpPr>
            <a:spLocks noGrp="1"/>
          </p:cNvSpPr>
          <p:nvPr>
            <p:ph type="title" hasCustomPrompt="1"/>
          </p:nvPr>
        </p:nvSpPr>
        <p:spPr/>
        <p:txBody>
          <a:bodyPr/>
          <a:lstStyle/>
          <a:p>
            <a:r>
              <a:rPr lang="en-US"/>
              <a:t>CLICK TO EDIT MASTER TITLE STYLE</a:t>
            </a:r>
          </a:p>
        </p:txBody>
      </p:sp>
      <p:sp>
        <p:nvSpPr>
          <p:cNvPr id="5" name="Text Placeholder 2"/>
          <p:cNvSpPr>
            <a:spLocks noGrp="1"/>
          </p:cNvSpPr>
          <p:nvPr>
            <p:ph type="body" sz="quarter" idx="10" hasCustomPrompt="1"/>
          </p:nvPr>
        </p:nvSpPr>
        <p:spPr>
          <a:xfrm>
            <a:off x="672148" y="6521829"/>
            <a:ext cx="12100810" cy="357326"/>
          </a:xfrm>
        </p:spPr>
        <p:txBody>
          <a:bodyPr anchor="b"/>
          <a:lstStyle>
            <a:lvl1pPr marL="0" marR="0" indent="0" algn="l" defTabSz="862048" rtl="0" eaLnBrk="1" fontAlgn="auto" latinLnBrk="0" hangingPunct="1">
              <a:lnSpc>
                <a:spcPct val="100000"/>
              </a:lnSpc>
              <a:spcBef>
                <a:spcPts val="0"/>
              </a:spcBef>
              <a:spcAft>
                <a:spcPts val="0"/>
              </a:spcAft>
              <a:buClr>
                <a:schemeClr val="accent2"/>
              </a:buClr>
              <a:buSzPct val="70000"/>
              <a:buFont typeface="Arial" pitchFamily="34" charset="0"/>
              <a:buNone/>
              <a:tabLst/>
              <a:defRPr sz="754" baseline="0">
                <a:solidFill>
                  <a:schemeClr val="bg1"/>
                </a:solidFill>
                <a:latin typeface="EYInterstate" panose="02000503020000020004" pitchFamily="2" charset="0"/>
                <a:cs typeface="Arial" panose="020B0604020202020204" pitchFamily="34" charset="0"/>
                <a:sym typeface="EYInterstate"/>
              </a:defRPr>
            </a:lvl1pPr>
          </a:lstStyle>
          <a:p>
            <a:pPr marL="0" marR="0" lvl="0" indent="0" algn="l" defTabSz="862048" rtl="0" eaLnBrk="1" fontAlgn="auto" latinLnBrk="0" hangingPunct="1">
              <a:lnSpc>
                <a:spcPct val="100000"/>
              </a:lnSpc>
              <a:spcBef>
                <a:spcPct val="20000"/>
              </a:spcBef>
              <a:spcAft>
                <a:spcPts val="0"/>
              </a:spcAft>
              <a:buClr>
                <a:schemeClr val="accent2"/>
              </a:buClr>
              <a:buSzPct val="70000"/>
              <a:buFont typeface="Arial" pitchFamily="34" charset="0"/>
              <a:buNone/>
              <a:tabLst/>
              <a:defRPr/>
            </a:pPr>
            <a:r>
              <a:rPr lang="en-US"/>
              <a:t>Notes and sources:</a:t>
            </a:r>
          </a:p>
        </p:txBody>
      </p:sp>
    </p:spTree>
    <p:extLst>
      <p:ext uri="{BB962C8B-B14F-4D97-AF65-F5344CB8AC3E}">
        <p14:creationId xmlns:p14="http://schemas.microsoft.com/office/powerpoint/2010/main" val="135253168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892755" y="343580"/>
            <a:ext cx="10959676" cy="663612"/>
          </a:xfrm>
          <a:prstGeom prst="rect">
            <a:avLst/>
          </a:prstGeom>
        </p:spPr>
        <p:txBody>
          <a:bodyPr lIns="0" tIns="0" rIns="0" bIns="0"/>
          <a:lstStyle>
            <a:lvl1pPr>
              <a:defRPr sz="3078">
                <a:solidFill>
                  <a:schemeClr val="tx2"/>
                </a:solidFill>
              </a:defRPr>
            </a:lvl1pPr>
          </a:lstStyle>
          <a:p>
            <a:r>
              <a:rPr lang="en-US"/>
              <a:t>Click to edit Master title style</a:t>
            </a:r>
          </a:p>
        </p:txBody>
      </p:sp>
      <p:pic>
        <p:nvPicPr>
          <p:cNvPr id="4" name="Picture 2" descr="photo of outer space">
            <a:extLst>
              <a:ext uri="{FF2B5EF4-FFF2-40B4-BE49-F238E27FC236}">
                <a16:creationId xmlns:a16="http://schemas.microsoft.com/office/drawing/2014/main" id="{1AA7B56B-A652-45BD-924B-CC3E8DA5F7B7}"/>
              </a:ext>
            </a:extLst>
          </p:cNvPr>
          <p:cNvPicPr>
            <a:picLocks noChangeAspect="1" noChangeArrowheads="1"/>
          </p:cNvPicPr>
          <p:nvPr userDrawn="1"/>
        </p:nvPicPr>
        <p:blipFill rotWithShape="1">
          <a:blip r:embed="rId2" cstate="email">
            <a:extLst>
              <a:ext uri="{28A0092B-C50C-407E-A947-70E740481C1C}">
                <a14:useLocalDpi xmlns:a14="http://schemas.microsoft.com/office/drawing/2010/main"/>
              </a:ext>
            </a:extLst>
          </a:blip>
          <a:srcRect/>
          <a:stretch/>
        </p:blipFill>
        <p:spPr bwMode="auto">
          <a:xfrm rot="10800000">
            <a:off x="0" y="0"/>
            <a:ext cx="13442950" cy="4017481"/>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a:extLst>
              <a:ext uri="{FF2B5EF4-FFF2-40B4-BE49-F238E27FC236}">
                <a16:creationId xmlns:a16="http://schemas.microsoft.com/office/drawing/2014/main" id="{49F53CC6-4792-4F98-8D1C-D17FCBB2FCBA}"/>
              </a:ext>
            </a:extLst>
          </p:cNvPr>
          <p:cNvSpPr/>
          <p:nvPr userDrawn="1"/>
        </p:nvSpPr>
        <p:spPr>
          <a:xfrm>
            <a:off x="0" y="4017482"/>
            <a:ext cx="13442950" cy="3543781"/>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323">
              <a:solidFill>
                <a:schemeClr val="tx1"/>
              </a:solidFill>
            </a:endParaRPr>
          </a:p>
        </p:txBody>
      </p:sp>
      <p:sp>
        <p:nvSpPr>
          <p:cNvPr id="6" name="Rectangle 5">
            <a:extLst>
              <a:ext uri="{FF2B5EF4-FFF2-40B4-BE49-F238E27FC236}">
                <a16:creationId xmlns:a16="http://schemas.microsoft.com/office/drawing/2014/main" id="{DD1FF9CE-C062-47C6-B259-23D10C777292}"/>
              </a:ext>
            </a:extLst>
          </p:cNvPr>
          <p:cNvSpPr/>
          <p:nvPr userDrawn="1"/>
        </p:nvSpPr>
        <p:spPr>
          <a:xfrm>
            <a:off x="0" y="0"/>
            <a:ext cx="13442950" cy="7561263"/>
          </a:xfrm>
          <a:prstGeom prst="rect">
            <a:avLst/>
          </a:prstGeom>
          <a:solidFill>
            <a:schemeClr val="bg1">
              <a:lumMod val="75000"/>
              <a:alpha val="21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323">
              <a:solidFill>
                <a:schemeClr val="tx1"/>
              </a:solidFill>
            </a:endParaRPr>
          </a:p>
        </p:txBody>
      </p:sp>
      <p:sp>
        <p:nvSpPr>
          <p:cNvPr id="8" name="TextBox 7">
            <a:extLst>
              <a:ext uri="{FF2B5EF4-FFF2-40B4-BE49-F238E27FC236}">
                <a16:creationId xmlns:a16="http://schemas.microsoft.com/office/drawing/2014/main" id="{868913A1-54E3-4339-8983-BD7091C4C536}"/>
              </a:ext>
            </a:extLst>
          </p:cNvPr>
          <p:cNvSpPr txBox="1"/>
          <p:nvPr userDrawn="1"/>
        </p:nvSpPr>
        <p:spPr>
          <a:xfrm>
            <a:off x="12881423" y="7011444"/>
            <a:ext cx="195524" cy="170122"/>
          </a:xfrm>
          <a:prstGeom prst="rect">
            <a:avLst/>
          </a:prstGeom>
          <a:noFill/>
        </p:spPr>
        <p:txBody>
          <a:bodyPr wrap="square" lIns="0" tIns="40207" rIns="0" bIns="0" rtlCol="0">
            <a:spAutoFit/>
          </a:bodyPr>
          <a:lstStyle/>
          <a:p>
            <a:pPr marL="0" indent="0" algn="ctr">
              <a:lnSpc>
                <a:spcPct val="85000"/>
              </a:lnSpc>
              <a:spcAft>
                <a:spcPts val="660"/>
              </a:spcAft>
              <a:buClr>
                <a:schemeClr val="accent2"/>
              </a:buClr>
              <a:buSzPct val="70000"/>
              <a:buFont typeface="Arial" pitchFamily="34" charset="0"/>
              <a:buNone/>
            </a:pPr>
            <a:fld id="{76945EB4-FEC5-42E9-A015-7F9892B7BD8F}" type="slidenum">
              <a:rPr lang="en-US" sz="990" smtClean="0">
                <a:solidFill>
                  <a:schemeClr val="bg1"/>
                </a:solidFill>
                <a:latin typeface="EYInterstate" panose="02000503020000020004" pitchFamily="2" charset="0"/>
              </a:rPr>
              <a:pPr marL="0" indent="0" algn="ctr">
                <a:lnSpc>
                  <a:spcPct val="85000"/>
                </a:lnSpc>
                <a:spcAft>
                  <a:spcPts val="660"/>
                </a:spcAft>
                <a:buClr>
                  <a:schemeClr val="accent2"/>
                </a:buClr>
                <a:buSzPct val="70000"/>
                <a:buFont typeface="Arial" pitchFamily="34" charset="0"/>
                <a:buNone/>
              </a:pPr>
              <a:t>‹#›</a:t>
            </a:fld>
            <a:endParaRPr lang="en-US" sz="1319">
              <a:solidFill>
                <a:schemeClr val="bg1"/>
              </a:solidFill>
              <a:latin typeface="EYInterstate" panose="02000503020000020004" pitchFamily="2" charset="0"/>
            </a:endParaRPr>
          </a:p>
        </p:txBody>
      </p:sp>
    </p:spTree>
    <p:extLst>
      <p:ext uri="{BB962C8B-B14F-4D97-AF65-F5344CB8AC3E}">
        <p14:creationId xmlns:p14="http://schemas.microsoft.com/office/powerpoint/2010/main" val="345056529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892755" y="343580"/>
            <a:ext cx="10959676" cy="663612"/>
          </a:xfrm>
          <a:prstGeom prst="rect">
            <a:avLst/>
          </a:prstGeom>
        </p:spPr>
        <p:txBody>
          <a:bodyPr lIns="0" tIns="0" rIns="0" bIns="0" anchor="b"/>
          <a:lstStyle>
            <a:lvl1pPr>
              <a:defRPr sz="3078">
                <a:solidFill>
                  <a:schemeClr val="tx2"/>
                </a:solidFill>
                <a:latin typeface="EYInterstate Bold" panose="02000803030000020004" pitchFamily="2" charset="0"/>
              </a:defRPr>
            </a:lvl1pPr>
          </a:lstStyle>
          <a:p>
            <a:r>
              <a:rPr lang="en-US"/>
              <a:t>Click to edit Master title style</a:t>
            </a:r>
          </a:p>
        </p:txBody>
      </p:sp>
      <p:sp>
        <p:nvSpPr>
          <p:cNvPr id="3" name="Rectangle 2">
            <a:extLst>
              <a:ext uri="{FF2B5EF4-FFF2-40B4-BE49-F238E27FC236}">
                <a16:creationId xmlns:a16="http://schemas.microsoft.com/office/drawing/2014/main" id="{8234F02D-75B2-4B05-918E-8628B17F5F6E}"/>
              </a:ext>
            </a:extLst>
          </p:cNvPr>
          <p:cNvSpPr/>
          <p:nvPr userDrawn="1"/>
        </p:nvSpPr>
        <p:spPr>
          <a:xfrm>
            <a:off x="339400" y="336056"/>
            <a:ext cx="215838" cy="6931158"/>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319">
              <a:solidFill>
                <a:schemeClr val="tx1"/>
              </a:solidFill>
              <a:latin typeface="EYInterstate Light" panose="02000506000000020004" pitchFamily="2" charset="0"/>
            </a:endParaRPr>
          </a:p>
        </p:txBody>
      </p:sp>
    </p:spTree>
    <p:extLst>
      <p:ext uri="{BB962C8B-B14F-4D97-AF65-F5344CB8AC3E}">
        <p14:creationId xmlns:p14="http://schemas.microsoft.com/office/powerpoint/2010/main" val="276419160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892755" y="343580"/>
            <a:ext cx="10959676" cy="663612"/>
          </a:xfrm>
          <a:prstGeom prst="rect">
            <a:avLst/>
          </a:prstGeom>
        </p:spPr>
        <p:txBody>
          <a:bodyPr lIns="0" tIns="0" rIns="0" bIns="0"/>
          <a:lstStyle>
            <a:lvl1pPr>
              <a:defRPr sz="3078">
                <a:solidFill>
                  <a:schemeClr val="tx2"/>
                </a:solidFill>
              </a:defRPr>
            </a:lvl1pPr>
          </a:lstStyle>
          <a:p>
            <a:r>
              <a:rPr lang="en-US"/>
              <a:t>Click to edit Master title style</a:t>
            </a:r>
          </a:p>
        </p:txBody>
      </p:sp>
    </p:spTree>
    <p:extLst>
      <p:ext uri="{BB962C8B-B14F-4D97-AF65-F5344CB8AC3E}">
        <p14:creationId xmlns:p14="http://schemas.microsoft.com/office/powerpoint/2010/main" val="163053022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type="obj">
  <p:cSld name="POV_Bullets">
    <p:spTree>
      <p:nvGrpSpPr>
        <p:cNvPr id="1" name=""/>
        <p:cNvGrpSpPr/>
        <p:nvPr/>
      </p:nvGrpSpPr>
      <p:grpSpPr>
        <a:xfrm>
          <a:off x="0" y="0"/>
          <a:ext cx="0" cy="0"/>
          <a:chOff x="0" y="0"/>
          <a:chExt cx="0" cy="0"/>
        </a:xfrm>
      </p:grpSpPr>
      <p:sp>
        <p:nvSpPr>
          <p:cNvPr id="2" name="Title 1"/>
          <p:cNvSpPr>
            <a:spLocks noGrp="1"/>
          </p:cNvSpPr>
          <p:nvPr>
            <p:ph type="title"/>
          </p:nvPr>
        </p:nvSpPr>
        <p:spPr>
          <a:xfrm>
            <a:off x="540974" y="336056"/>
            <a:ext cx="12604565" cy="834848"/>
          </a:xfrm>
          <a:prstGeom prst="rect">
            <a:avLst/>
          </a:prstGeom>
        </p:spPr>
        <p:txBody>
          <a:bodyPr lIns="0" tIns="0" rIns="0" bIns="0"/>
          <a:lstStyle>
            <a:lvl1pPr>
              <a:lnSpc>
                <a:spcPct val="85000"/>
              </a:lnSpc>
              <a:defRPr sz="2419" b="1">
                <a:solidFill>
                  <a:schemeClr val="tx2"/>
                </a:solidFill>
                <a:latin typeface="EYInterstate" panose="02000503020000020004" pitchFamily="2" charset="0"/>
              </a:defRPr>
            </a:lvl1pPr>
          </a:lstStyle>
          <a:p>
            <a:r>
              <a:rPr lang="en-US"/>
              <a:t>Click to edit Master title style</a:t>
            </a:r>
            <a:endParaRPr lang="en-GB"/>
          </a:p>
        </p:txBody>
      </p:sp>
      <p:sp>
        <p:nvSpPr>
          <p:cNvPr id="3" name="Content Placeholder 2"/>
          <p:cNvSpPr>
            <a:spLocks noGrp="1"/>
          </p:cNvSpPr>
          <p:nvPr>
            <p:ph idx="1"/>
          </p:nvPr>
        </p:nvSpPr>
        <p:spPr>
          <a:xfrm>
            <a:off x="540974" y="1571790"/>
            <a:ext cx="12604565" cy="5695424"/>
          </a:xfrm>
          <a:prstGeom prst="rect">
            <a:avLst/>
          </a:prstGeom>
        </p:spPr>
        <p:txBody>
          <a:bodyPr lIns="0" tIns="0" rIns="0" bIns="0"/>
          <a:lstStyle>
            <a:lvl1pPr marL="251276" indent="-251276">
              <a:spcBef>
                <a:spcPts val="660"/>
              </a:spcBef>
              <a:buFont typeface="Wingdings 3" panose="05040102010807070707" pitchFamily="18" charset="2"/>
              <a:buChar char="u"/>
              <a:defRPr>
                <a:solidFill>
                  <a:schemeClr val="tx2"/>
                </a:solidFill>
                <a:latin typeface="EYInterstate Light" panose="02000506000000020004" pitchFamily="2" charset="0"/>
              </a:defRPr>
            </a:lvl1pPr>
            <a:lvl2pPr marL="506042" indent="-251276">
              <a:spcBef>
                <a:spcPts val="660"/>
              </a:spcBef>
              <a:buFont typeface="Wingdings 3" panose="05040102010807070707" pitchFamily="18" charset="2"/>
              <a:buChar char="u"/>
              <a:defRPr>
                <a:solidFill>
                  <a:schemeClr val="tx2"/>
                </a:solidFill>
                <a:latin typeface="EYInterstate Light" panose="02000506000000020004" pitchFamily="2" charset="0"/>
              </a:defRPr>
            </a:lvl2pPr>
            <a:lvl3pPr marL="752083" indent="-251276">
              <a:spcBef>
                <a:spcPts val="330"/>
              </a:spcBef>
              <a:buFont typeface="Wingdings 3" panose="05040102010807070707" pitchFamily="18" charset="2"/>
              <a:buChar char="u"/>
              <a:defRPr>
                <a:solidFill>
                  <a:schemeClr val="tx2"/>
                </a:solidFill>
                <a:latin typeface="EYInterstate Light" panose="02000506000000020004" pitchFamily="2" charset="0"/>
              </a:defRPr>
            </a:lvl3pPr>
            <a:lvl4pPr marL="1005102" indent="-251276">
              <a:spcBef>
                <a:spcPts val="330"/>
              </a:spcBef>
              <a:buFont typeface="Wingdings 3" panose="05040102010807070707" pitchFamily="18" charset="2"/>
              <a:buChar char="u"/>
              <a:defRPr>
                <a:solidFill>
                  <a:schemeClr val="tx2"/>
                </a:solidFill>
                <a:latin typeface="EYInterstate Light" panose="02000506000000020004" pitchFamily="2" charset="0"/>
              </a:defRPr>
            </a:lvl4pPr>
            <a:lvl5pPr marL="1258123" indent="-251276">
              <a:spcBef>
                <a:spcPts val="165"/>
              </a:spcBef>
              <a:buFont typeface="Wingdings 3" panose="05040102010807070707" pitchFamily="18" charset="2"/>
              <a:buChar char="u"/>
              <a:defRPr>
                <a:solidFill>
                  <a:schemeClr val="tx2"/>
                </a:solidFill>
                <a:latin typeface="EYInterstate Light" panose="02000506000000020004"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Rectangle 3">
            <a:extLst>
              <a:ext uri="{FF2B5EF4-FFF2-40B4-BE49-F238E27FC236}">
                <a16:creationId xmlns:a16="http://schemas.microsoft.com/office/drawing/2014/main" id="{8028232D-B89B-4B51-B88F-67D1CF116163}"/>
              </a:ext>
            </a:extLst>
          </p:cNvPr>
          <p:cNvSpPr/>
          <p:nvPr userDrawn="1"/>
        </p:nvSpPr>
        <p:spPr>
          <a:xfrm>
            <a:off x="339400" y="336056"/>
            <a:ext cx="215838" cy="6931158"/>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319">
              <a:solidFill>
                <a:schemeClr val="tx1"/>
              </a:solidFill>
              <a:latin typeface="EYInterstate Light" panose="02000506000000020004" pitchFamily="2" charset="0"/>
            </a:endParaRPr>
          </a:p>
        </p:txBody>
      </p:sp>
    </p:spTree>
    <p:extLst>
      <p:ext uri="{BB962C8B-B14F-4D97-AF65-F5344CB8AC3E}">
        <p14:creationId xmlns:p14="http://schemas.microsoft.com/office/powerpoint/2010/main" val="47857091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Appendix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94593" y="336056"/>
            <a:ext cx="12389298" cy="834848"/>
          </a:xfrm>
          <a:prstGeom prst="rect">
            <a:avLst/>
          </a:prstGeom>
        </p:spPr>
        <p:txBody>
          <a:bodyPr lIns="0" tIns="0" rIns="0" bIns="0"/>
          <a:lstStyle>
            <a:lvl1pPr>
              <a:lnSpc>
                <a:spcPct val="85000"/>
              </a:lnSpc>
              <a:defRPr sz="2419" b="1">
                <a:solidFill>
                  <a:schemeClr val="tx2"/>
                </a:solidFill>
                <a:latin typeface="EYInterstate" panose="02000503020000020004" pitchFamily="2" charset="0"/>
              </a:defRPr>
            </a:lvl1pPr>
          </a:lstStyle>
          <a:p>
            <a:r>
              <a:rPr lang="en-US"/>
              <a:t>Click to edit Master title style</a:t>
            </a:r>
            <a:endParaRPr lang="en-GB"/>
          </a:p>
        </p:txBody>
      </p:sp>
      <p:sp>
        <p:nvSpPr>
          <p:cNvPr id="3" name="Rectangle 2">
            <a:extLst>
              <a:ext uri="{FF2B5EF4-FFF2-40B4-BE49-F238E27FC236}">
                <a16:creationId xmlns:a16="http://schemas.microsoft.com/office/drawing/2014/main" id="{E16CE159-5D1A-449D-A7EE-11B2BE53B47C}"/>
              </a:ext>
            </a:extLst>
          </p:cNvPr>
          <p:cNvSpPr/>
          <p:nvPr userDrawn="1"/>
        </p:nvSpPr>
        <p:spPr>
          <a:xfrm>
            <a:off x="339400" y="336056"/>
            <a:ext cx="215838" cy="6931158"/>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319">
              <a:solidFill>
                <a:schemeClr val="tx1"/>
              </a:solidFill>
              <a:latin typeface="EYInterstate Light" panose="02000506000000020004" pitchFamily="2" charset="0"/>
            </a:endParaRPr>
          </a:p>
        </p:txBody>
      </p:sp>
    </p:spTree>
    <p:extLst>
      <p:ext uri="{BB962C8B-B14F-4D97-AF65-F5344CB8AC3E}">
        <p14:creationId xmlns:p14="http://schemas.microsoft.com/office/powerpoint/2010/main" val="397608472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Empty">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lvl1pPr>
              <a:defRPr>
                <a:latin typeface="EYInterstate Light" panose="02000506000000020004" pitchFamily="2" charset="0"/>
              </a:defRPr>
            </a:lvl1pPr>
          </a:lstStyle>
          <a:p>
            <a:endParaRPr lang="en-US">
              <a:solidFill>
                <a:srgbClr val="646464"/>
              </a:solidFill>
            </a:endParaRPr>
          </a:p>
        </p:txBody>
      </p:sp>
      <p:sp>
        <p:nvSpPr>
          <p:cNvPr id="5" name="Footer Placeholder 4"/>
          <p:cNvSpPr>
            <a:spLocks noGrp="1"/>
          </p:cNvSpPr>
          <p:nvPr>
            <p:ph type="ftr" sz="quarter" idx="11"/>
          </p:nvPr>
        </p:nvSpPr>
        <p:spPr/>
        <p:txBody>
          <a:bodyPr/>
          <a:lstStyle>
            <a:lvl1pPr>
              <a:defRPr>
                <a:latin typeface="EYInterstate Light" panose="02000506000000020004" pitchFamily="2" charset="0"/>
              </a:defRPr>
            </a:lvl1pPr>
          </a:lstStyle>
          <a:p>
            <a:endParaRPr lang="en-GB">
              <a:solidFill>
                <a:srgbClr val="646464"/>
              </a:solidFill>
            </a:endParaRPr>
          </a:p>
        </p:txBody>
      </p:sp>
      <p:sp>
        <p:nvSpPr>
          <p:cNvPr id="6" name="Rectangle 5">
            <a:extLst>
              <a:ext uri="{FF2B5EF4-FFF2-40B4-BE49-F238E27FC236}">
                <a16:creationId xmlns:a16="http://schemas.microsoft.com/office/drawing/2014/main" id="{F07EC183-C1AF-43DD-95EB-5E5EA145FD0D}"/>
              </a:ext>
            </a:extLst>
          </p:cNvPr>
          <p:cNvSpPr/>
          <p:nvPr userDrawn="1"/>
        </p:nvSpPr>
        <p:spPr>
          <a:xfrm>
            <a:off x="339400" y="336056"/>
            <a:ext cx="215838" cy="6931158"/>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319">
              <a:solidFill>
                <a:schemeClr val="tx1"/>
              </a:solidFill>
              <a:latin typeface="EYInterstate Light" panose="02000506000000020004" pitchFamily="2" charset="0"/>
            </a:endParaRPr>
          </a:p>
        </p:txBody>
      </p:sp>
    </p:spTree>
    <p:extLst>
      <p:ext uri="{BB962C8B-B14F-4D97-AF65-F5344CB8AC3E}">
        <p14:creationId xmlns:p14="http://schemas.microsoft.com/office/powerpoint/2010/main" val="157931097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Quals_Title only">
    <p:spTree>
      <p:nvGrpSpPr>
        <p:cNvPr id="1" name=""/>
        <p:cNvGrpSpPr/>
        <p:nvPr/>
      </p:nvGrpSpPr>
      <p:grpSpPr>
        <a:xfrm>
          <a:off x="0" y="0"/>
          <a:ext cx="0" cy="0"/>
          <a:chOff x="0" y="0"/>
          <a:chExt cx="0" cy="0"/>
        </a:xfrm>
      </p:grpSpPr>
      <p:sp>
        <p:nvSpPr>
          <p:cNvPr id="3" name="Rectangle 2"/>
          <p:cNvSpPr/>
          <p:nvPr userDrawn="1"/>
        </p:nvSpPr>
        <p:spPr>
          <a:xfrm>
            <a:off x="10174935" y="336056"/>
            <a:ext cx="2970606" cy="6931158"/>
          </a:xfrm>
          <a:prstGeom prst="rect">
            <a:avLst/>
          </a:prstGeom>
          <a:solidFill>
            <a:schemeClr val="tx1">
              <a:alpha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319">
              <a:solidFill>
                <a:schemeClr val="tx1"/>
              </a:solidFill>
              <a:latin typeface="EYInterstate Light" panose="02000506000000020004" pitchFamily="2" charset="0"/>
            </a:endParaRPr>
          </a:p>
        </p:txBody>
      </p:sp>
      <p:sp>
        <p:nvSpPr>
          <p:cNvPr id="2" name="Title 1"/>
          <p:cNvSpPr>
            <a:spLocks noGrp="1"/>
          </p:cNvSpPr>
          <p:nvPr>
            <p:ph type="title"/>
          </p:nvPr>
        </p:nvSpPr>
        <p:spPr>
          <a:xfrm>
            <a:off x="885237" y="336056"/>
            <a:ext cx="9154992" cy="834848"/>
          </a:xfrm>
          <a:prstGeom prst="rect">
            <a:avLst/>
          </a:prstGeom>
        </p:spPr>
        <p:txBody>
          <a:bodyPr lIns="0" tIns="0" rIns="0" bIns="0"/>
          <a:lstStyle>
            <a:lvl1pPr>
              <a:lnSpc>
                <a:spcPct val="85000"/>
              </a:lnSpc>
              <a:defRPr sz="2419" b="1">
                <a:solidFill>
                  <a:schemeClr val="tx2"/>
                </a:solidFill>
                <a:latin typeface="EYInterstate" panose="02000503020000020004" pitchFamily="2" charset="0"/>
              </a:defRPr>
            </a:lvl1pPr>
          </a:lstStyle>
          <a:p>
            <a:r>
              <a:rPr lang="en-US"/>
              <a:t>Click to edit Master title style</a:t>
            </a:r>
            <a:endParaRPr lang="en-GB"/>
          </a:p>
        </p:txBody>
      </p:sp>
      <p:sp>
        <p:nvSpPr>
          <p:cNvPr id="5" name="Pentagon 4"/>
          <p:cNvSpPr/>
          <p:nvPr userDrawn="1"/>
        </p:nvSpPr>
        <p:spPr>
          <a:xfrm>
            <a:off x="885236" y="1352626"/>
            <a:ext cx="1242826" cy="1865112"/>
          </a:xfrm>
          <a:prstGeom prst="homePlate">
            <a:avLst>
              <a:gd name="adj" fmla="val 20270"/>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150773" rIns="0" rtlCol="0" anchor="ctr" anchorCtr="0"/>
          <a:lstStyle/>
          <a:p>
            <a:r>
              <a:rPr lang="en-US" sz="1539" b="1">
                <a:solidFill>
                  <a:schemeClr val="tx1"/>
                </a:solidFill>
                <a:latin typeface="EYInterstate" panose="02000503020000020004" pitchFamily="2" charset="0"/>
              </a:rPr>
              <a:t>Situation</a:t>
            </a:r>
          </a:p>
        </p:txBody>
      </p:sp>
      <p:sp>
        <p:nvSpPr>
          <p:cNvPr id="6" name="Pentagon 5"/>
          <p:cNvSpPr/>
          <p:nvPr userDrawn="1"/>
        </p:nvSpPr>
        <p:spPr>
          <a:xfrm>
            <a:off x="885236" y="3363362"/>
            <a:ext cx="1242826" cy="1865112"/>
          </a:xfrm>
          <a:prstGeom prst="homePlate">
            <a:avLst>
              <a:gd name="adj" fmla="val 20270"/>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150773" rIns="0" rtlCol="0" anchor="ctr" anchorCtr="0"/>
          <a:lstStyle/>
          <a:p>
            <a:r>
              <a:rPr lang="en-US" sz="1539" b="1">
                <a:solidFill>
                  <a:schemeClr val="tx1"/>
                </a:solidFill>
                <a:latin typeface="EYInterstate" panose="02000503020000020004" pitchFamily="2" charset="0"/>
              </a:rPr>
              <a:t>Our role</a:t>
            </a:r>
          </a:p>
        </p:txBody>
      </p:sp>
      <p:sp>
        <p:nvSpPr>
          <p:cNvPr id="8" name="Pentagon 7"/>
          <p:cNvSpPr/>
          <p:nvPr userDrawn="1"/>
        </p:nvSpPr>
        <p:spPr>
          <a:xfrm>
            <a:off x="885236" y="5374097"/>
            <a:ext cx="1242826" cy="1865112"/>
          </a:xfrm>
          <a:prstGeom prst="homePlate">
            <a:avLst>
              <a:gd name="adj" fmla="val 20270"/>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150773" rIns="0" rtlCol="0" anchor="ctr" anchorCtr="0"/>
          <a:lstStyle/>
          <a:p>
            <a:r>
              <a:rPr lang="en-US" sz="1539" b="1">
                <a:solidFill>
                  <a:schemeClr val="tx1"/>
                </a:solidFill>
                <a:latin typeface="EYInterstate" panose="02000503020000020004" pitchFamily="2" charset="0"/>
              </a:rPr>
              <a:t>Value</a:t>
            </a:r>
            <a:br>
              <a:rPr lang="en-US" sz="1539" b="1">
                <a:solidFill>
                  <a:schemeClr val="tx1"/>
                </a:solidFill>
                <a:latin typeface="EYInterstate" panose="02000503020000020004" pitchFamily="2" charset="0"/>
              </a:rPr>
            </a:br>
            <a:r>
              <a:rPr lang="en-US" sz="1539" b="1">
                <a:solidFill>
                  <a:schemeClr val="tx1"/>
                </a:solidFill>
                <a:latin typeface="EYInterstate" panose="02000503020000020004" pitchFamily="2" charset="0"/>
              </a:rPr>
              <a:t>delivered</a:t>
            </a:r>
          </a:p>
        </p:txBody>
      </p:sp>
      <p:sp>
        <p:nvSpPr>
          <p:cNvPr id="9" name="Content Placeholder 2"/>
          <p:cNvSpPr>
            <a:spLocks noGrp="1"/>
          </p:cNvSpPr>
          <p:nvPr>
            <p:ph idx="1"/>
          </p:nvPr>
        </p:nvSpPr>
        <p:spPr>
          <a:xfrm>
            <a:off x="2216934" y="1381358"/>
            <a:ext cx="7823295" cy="1865112"/>
          </a:xfrm>
          <a:prstGeom prst="rect">
            <a:avLst/>
          </a:prstGeom>
        </p:spPr>
        <p:txBody>
          <a:bodyPr lIns="0" tIns="0" rIns="0" bIns="0" anchor="ctr"/>
          <a:lstStyle>
            <a:lvl1pPr marL="0" indent="0">
              <a:spcBef>
                <a:spcPts val="330"/>
              </a:spcBef>
              <a:buFont typeface="Wingdings 3" panose="05040102010807070707" pitchFamily="18" charset="2"/>
              <a:buNone/>
              <a:defRPr sz="1263">
                <a:solidFill>
                  <a:schemeClr val="tx2"/>
                </a:solidFill>
                <a:latin typeface="EYInterstate Light" panose="02000506000000020004" pitchFamily="2" charset="0"/>
              </a:defRPr>
            </a:lvl1pPr>
            <a:lvl2pPr marL="254766" indent="-251276">
              <a:spcBef>
                <a:spcPts val="221"/>
              </a:spcBef>
              <a:buFont typeface="Wingdings 3" panose="05040102010807070707" pitchFamily="18" charset="2"/>
              <a:buChar char="u"/>
              <a:defRPr sz="1263">
                <a:solidFill>
                  <a:schemeClr val="tx2"/>
                </a:solidFill>
                <a:latin typeface="EYInterstate Light" panose="02000506000000020004" pitchFamily="2" charset="0"/>
              </a:defRPr>
            </a:lvl2pPr>
            <a:lvl3pPr marL="509531" indent="-251276">
              <a:spcBef>
                <a:spcPts val="221"/>
              </a:spcBef>
              <a:buFont typeface="Wingdings 3" panose="05040102010807070707" pitchFamily="18" charset="2"/>
              <a:buChar char="u"/>
              <a:defRPr sz="1263">
                <a:solidFill>
                  <a:schemeClr val="tx2"/>
                </a:solidFill>
                <a:latin typeface="EYInterstate Light" panose="02000506000000020004" pitchFamily="2" charset="0"/>
              </a:defRPr>
            </a:lvl3pPr>
            <a:lvl4pPr marL="753826" indent="-251276">
              <a:spcBef>
                <a:spcPts val="221"/>
              </a:spcBef>
              <a:buFont typeface="Wingdings 3" panose="05040102010807070707" pitchFamily="18" charset="2"/>
              <a:buChar char="u"/>
              <a:defRPr sz="1263">
                <a:solidFill>
                  <a:schemeClr val="tx2"/>
                </a:solidFill>
                <a:latin typeface="EYInterstate Light" panose="02000506000000020004" pitchFamily="2" charset="0"/>
              </a:defRPr>
            </a:lvl4pPr>
            <a:lvl5pPr marL="1005102" indent="-251276">
              <a:spcBef>
                <a:spcPts val="221"/>
              </a:spcBef>
              <a:buFont typeface="Wingdings 3" panose="05040102010807070707" pitchFamily="18" charset="2"/>
              <a:buChar char="u"/>
              <a:defRPr sz="1263">
                <a:solidFill>
                  <a:schemeClr val="tx2"/>
                </a:solidFill>
                <a:latin typeface="EYInterstate Light" panose="02000506000000020004"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Rectangle 3"/>
          <p:cNvSpPr/>
          <p:nvPr userDrawn="1"/>
        </p:nvSpPr>
        <p:spPr>
          <a:xfrm>
            <a:off x="1780266" y="3187492"/>
            <a:ext cx="8259963" cy="30245"/>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319">
              <a:solidFill>
                <a:schemeClr val="tx1"/>
              </a:solidFill>
              <a:latin typeface="EYInterstate Light" panose="02000506000000020004" pitchFamily="2" charset="0"/>
            </a:endParaRPr>
          </a:p>
        </p:txBody>
      </p:sp>
      <p:sp>
        <p:nvSpPr>
          <p:cNvPr id="10" name="Content Placeholder 2"/>
          <p:cNvSpPr>
            <a:spLocks noGrp="1"/>
          </p:cNvSpPr>
          <p:nvPr>
            <p:ph idx="10"/>
          </p:nvPr>
        </p:nvSpPr>
        <p:spPr>
          <a:xfrm>
            <a:off x="2216934" y="3363362"/>
            <a:ext cx="7823295" cy="1865112"/>
          </a:xfrm>
          <a:prstGeom prst="rect">
            <a:avLst/>
          </a:prstGeom>
        </p:spPr>
        <p:txBody>
          <a:bodyPr lIns="0" tIns="0" rIns="0" bIns="0" anchor="ctr"/>
          <a:lstStyle>
            <a:lvl1pPr marL="0" indent="0">
              <a:spcBef>
                <a:spcPts val="330"/>
              </a:spcBef>
              <a:buFont typeface="Wingdings 3" panose="05040102010807070707" pitchFamily="18" charset="2"/>
              <a:buNone/>
              <a:defRPr sz="1263">
                <a:solidFill>
                  <a:schemeClr val="tx2"/>
                </a:solidFill>
                <a:latin typeface="EYInterstate Light" panose="02000506000000020004" pitchFamily="2" charset="0"/>
              </a:defRPr>
            </a:lvl1pPr>
            <a:lvl2pPr marL="254766" indent="-251276">
              <a:spcBef>
                <a:spcPts val="221"/>
              </a:spcBef>
              <a:buFont typeface="Wingdings 3" panose="05040102010807070707" pitchFamily="18" charset="2"/>
              <a:buChar char="u"/>
              <a:defRPr sz="1263">
                <a:solidFill>
                  <a:schemeClr val="tx2"/>
                </a:solidFill>
                <a:latin typeface="EYInterstate Light" panose="02000506000000020004" pitchFamily="2" charset="0"/>
              </a:defRPr>
            </a:lvl2pPr>
            <a:lvl3pPr marL="509531" indent="-251276">
              <a:spcBef>
                <a:spcPts val="221"/>
              </a:spcBef>
              <a:buFont typeface="Wingdings 3" panose="05040102010807070707" pitchFamily="18" charset="2"/>
              <a:buChar char="u"/>
              <a:defRPr sz="1263">
                <a:solidFill>
                  <a:schemeClr val="tx2"/>
                </a:solidFill>
                <a:latin typeface="EYInterstate Light" panose="02000506000000020004" pitchFamily="2" charset="0"/>
              </a:defRPr>
            </a:lvl3pPr>
            <a:lvl4pPr marL="753826" indent="-251276">
              <a:spcBef>
                <a:spcPts val="221"/>
              </a:spcBef>
              <a:buFont typeface="Wingdings 3" panose="05040102010807070707" pitchFamily="18" charset="2"/>
              <a:buChar char="u"/>
              <a:defRPr sz="1263">
                <a:solidFill>
                  <a:schemeClr val="tx2"/>
                </a:solidFill>
                <a:latin typeface="EYInterstate Light" panose="02000506000000020004" pitchFamily="2" charset="0"/>
              </a:defRPr>
            </a:lvl4pPr>
            <a:lvl5pPr marL="1005102" indent="-251276">
              <a:spcBef>
                <a:spcPts val="221"/>
              </a:spcBef>
              <a:buFont typeface="Wingdings 3" panose="05040102010807070707" pitchFamily="18" charset="2"/>
              <a:buChar char="u"/>
              <a:defRPr sz="1263">
                <a:solidFill>
                  <a:schemeClr val="tx2"/>
                </a:solidFill>
                <a:latin typeface="EYInterstate Light" panose="02000506000000020004"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Rectangle 10"/>
          <p:cNvSpPr/>
          <p:nvPr userDrawn="1"/>
        </p:nvSpPr>
        <p:spPr>
          <a:xfrm>
            <a:off x="1780266" y="5198228"/>
            <a:ext cx="8259963" cy="30245"/>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319">
              <a:solidFill>
                <a:schemeClr val="tx1"/>
              </a:solidFill>
              <a:latin typeface="EYInterstate Light" panose="02000506000000020004" pitchFamily="2" charset="0"/>
            </a:endParaRPr>
          </a:p>
        </p:txBody>
      </p:sp>
      <p:sp>
        <p:nvSpPr>
          <p:cNvPr id="12" name="Content Placeholder 2"/>
          <p:cNvSpPr>
            <a:spLocks noGrp="1"/>
          </p:cNvSpPr>
          <p:nvPr>
            <p:ph idx="11"/>
          </p:nvPr>
        </p:nvSpPr>
        <p:spPr>
          <a:xfrm>
            <a:off x="2216934" y="5374097"/>
            <a:ext cx="7823295" cy="1865112"/>
          </a:xfrm>
          <a:prstGeom prst="rect">
            <a:avLst/>
          </a:prstGeom>
        </p:spPr>
        <p:txBody>
          <a:bodyPr lIns="0" tIns="0" rIns="0" bIns="0" anchor="ctr"/>
          <a:lstStyle>
            <a:lvl1pPr marL="0" indent="0">
              <a:spcBef>
                <a:spcPts val="330"/>
              </a:spcBef>
              <a:buFont typeface="Wingdings 3" panose="05040102010807070707" pitchFamily="18" charset="2"/>
              <a:buNone/>
              <a:defRPr sz="1263">
                <a:solidFill>
                  <a:schemeClr val="tx2"/>
                </a:solidFill>
                <a:latin typeface="EYInterstate Light" panose="02000506000000020004" pitchFamily="2" charset="0"/>
              </a:defRPr>
            </a:lvl1pPr>
            <a:lvl2pPr marL="254766" indent="-251276">
              <a:spcBef>
                <a:spcPts val="221"/>
              </a:spcBef>
              <a:buFont typeface="Wingdings 3" panose="05040102010807070707" pitchFamily="18" charset="2"/>
              <a:buChar char="u"/>
              <a:defRPr sz="1263">
                <a:solidFill>
                  <a:schemeClr val="tx2"/>
                </a:solidFill>
                <a:latin typeface="EYInterstate Light" panose="02000506000000020004" pitchFamily="2" charset="0"/>
              </a:defRPr>
            </a:lvl2pPr>
            <a:lvl3pPr marL="509531" indent="-251276">
              <a:spcBef>
                <a:spcPts val="221"/>
              </a:spcBef>
              <a:buFont typeface="Wingdings 3" panose="05040102010807070707" pitchFamily="18" charset="2"/>
              <a:buChar char="u"/>
              <a:defRPr sz="1263">
                <a:solidFill>
                  <a:schemeClr val="tx2"/>
                </a:solidFill>
                <a:latin typeface="EYInterstate Light" panose="02000506000000020004" pitchFamily="2" charset="0"/>
              </a:defRPr>
            </a:lvl3pPr>
            <a:lvl4pPr marL="753826" indent="-251276">
              <a:spcBef>
                <a:spcPts val="221"/>
              </a:spcBef>
              <a:buFont typeface="Wingdings 3" panose="05040102010807070707" pitchFamily="18" charset="2"/>
              <a:buChar char="u"/>
              <a:defRPr sz="1263">
                <a:solidFill>
                  <a:schemeClr val="tx2"/>
                </a:solidFill>
                <a:latin typeface="EYInterstate Light" panose="02000506000000020004" pitchFamily="2" charset="0"/>
              </a:defRPr>
            </a:lvl4pPr>
            <a:lvl5pPr marL="1005102" indent="-251276">
              <a:spcBef>
                <a:spcPts val="221"/>
              </a:spcBef>
              <a:buFont typeface="Wingdings 3" panose="05040102010807070707" pitchFamily="18" charset="2"/>
              <a:buChar char="u"/>
              <a:defRPr sz="1263">
                <a:solidFill>
                  <a:schemeClr val="tx2"/>
                </a:solidFill>
                <a:latin typeface="EYInterstate Light" panose="02000506000000020004"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Rectangle 12"/>
          <p:cNvSpPr/>
          <p:nvPr userDrawn="1"/>
        </p:nvSpPr>
        <p:spPr>
          <a:xfrm>
            <a:off x="1780266" y="7208964"/>
            <a:ext cx="8259963" cy="30245"/>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319">
              <a:solidFill>
                <a:schemeClr val="tx1"/>
              </a:solidFill>
              <a:latin typeface="EYInterstate Light" panose="02000506000000020004" pitchFamily="2" charset="0"/>
            </a:endParaRPr>
          </a:p>
        </p:txBody>
      </p:sp>
      <p:sp>
        <p:nvSpPr>
          <p:cNvPr id="14" name="Rectangle 13">
            <a:extLst>
              <a:ext uri="{FF2B5EF4-FFF2-40B4-BE49-F238E27FC236}">
                <a16:creationId xmlns:a16="http://schemas.microsoft.com/office/drawing/2014/main" id="{65C49DF0-CD4D-42DE-9BE1-33E37C7DB369}"/>
              </a:ext>
            </a:extLst>
          </p:cNvPr>
          <p:cNvSpPr/>
          <p:nvPr userDrawn="1"/>
        </p:nvSpPr>
        <p:spPr>
          <a:xfrm>
            <a:off x="339400" y="336056"/>
            <a:ext cx="215838" cy="6931158"/>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319">
              <a:solidFill>
                <a:schemeClr val="tx1"/>
              </a:solidFill>
              <a:latin typeface="EYInterstate Light" panose="02000506000000020004" pitchFamily="2" charset="0"/>
            </a:endParaRPr>
          </a:p>
        </p:txBody>
      </p:sp>
    </p:spTree>
    <p:extLst>
      <p:ext uri="{BB962C8B-B14F-4D97-AF65-F5344CB8AC3E}">
        <p14:creationId xmlns:p14="http://schemas.microsoft.com/office/powerpoint/2010/main" val="196707282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tandard slide_no bullets_no headers">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018574897"/>
              </p:ext>
            </p:extLst>
          </p:nvPr>
        </p:nvGraphicFramePr>
        <p:xfrm>
          <a:off x="1588" y="1589"/>
          <a:ext cx="1588" cy="1587"/>
        </p:xfrm>
        <a:graphic>
          <a:graphicData uri="http://schemas.openxmlformats.org/presentationml/2006/ole">
            <mc:AlternateContent xmlns:mc="http://schemas.openxmlformats.org/markup-compatibility/2006">
              <mc:Choice xmlns:v="urn:schemas-microsoft-com:vml" Requires="v">
                <p:oleObj spid="_x0000_s3074" name="think-cell Slide" r:id="rId4" imgW="493" imgH="493" progId="TCLayout.ActiveDocument.1">
                  <p:embed/>
                </p:oleObj>
              </mc:Choice>
              <mc:Fallback>
                <p:oleObj name="think-cell Slide" r:id="rId4" imgW="493" imgH="493" progId="TCLayout.ActiveDocument.1">
                  <p:embed/>
                  <p:pic>
                    <p:nvPicPr>
                      <p:cNvPr id="4" name="Object 3" hidden="1"/>
                      <p:cNvPicPr/>
                      <p:nvPr/>
                    </p:nvPicPr>
                    <p:blipFill>
                      <a:blip r:embed="rId5"/>
                      <a:stretch>
                        <a:fillRect/>
                      </a:stretch>
                    </p:blipFill>
                    <p:spPr>
                      <a:xfrm>
                        <a:off x="1588" y="1589"/>
                        <a:ext cx="1588" cy="1587"/>
                      </a:xfrm>
                      <a:prstGeom prst="rect">
                        <a:avLst/>
                      </a:prstGeom>
                    </p:spPr>
                  </p:pic>
                </p:oleObj>
              </mc:Fallback>
            </mc:AlternateContent>
          </a:graphicData>
        </a:graphic>
      </p:graphicFrame>
      <p:sp>
        <p:nvSpPr>
          <p:cNvPr id="2" name="Title 1"/>
          <p:cNvSpPr>
            <a:spLocks noGrp="1"/>
          </p:cNvSpPr>
          <p:nvPr>
            <p:ph type="title" hasCustomPrompt="1"/>
          </p:nvPr>
        </p:nvSpPr>
        <p:spPr>
          <a:xfrm>
            <a:off x="943200" y="608400"/>
            <a:ext cx="11700000" cy="741600"/>
          </a:xfrm>
          <a:prstGeom prst="rect">
            <a:avLst/>
          </a:prstGeom>
        </p:spPr>
        <p:txBody>
          <a:bodyPr/>
          <a:lstStyle>
            <a:lvl1pPr>
              <a:defRPr sz="2400"/>
            </a:lvl1pPr>
          </a:lstStyle>
          <a:p>
            <a:r>
              <a:rPr lang="en-US"/>
              <a:t>CLICK TO EDIT MASTER TITLE STYLE</a:t>
            </a:r>
            <a:endParaRPr lang="en-GB"/>
          </a:p>
        </p:txBody>
      </p:sp>
    </p:spTree>
    <p:extLst>
      <p:ext uri="{BB962C8B-B14F-4D97-AF65-F5344CB8AC3E}">
        <p14:creationId xmlns:p14="http://schemas.microsoft.com/office/powerpoint/2010/main" val="249299095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userDrawn="1">
  <p:cSld name="3_Approved question tall">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Rectangle 1"/>
          <p:cNvSpPr/>
          <p:nvPr userDrawn="1"/>
        </p:nvSpPr>
        <p:spPr>
          <a:xfrm>
            <a:off x="8499260" y="6065114"/>
            <a:ext cx="4943693" cy="1496163"/>
          </a:xfrm>
          <a:prstGeom prst="rect">
            <a:avLst/>
          </a:prstGeom>
          <a:gradFill flip="none" rotWithShape="1">
            <a:gsLst>
              <a:gs pos="0">
                <a:schemeClr val="tx1">
                  <a:alpha val="0"/>
                </a:schemeClr>
              </a:gs>
              <a:gs pos="100000">
                <a:schemeClr val="tx1">
                  <a:alpha val="49000"/>
                </a:schemeClr>
              </a:gs>
            </a:gsLst>
            <a:lin ang="27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93948" tIns="46975" rIns="93948" bIns="46975" rtlCol="0" anchor="t" anchorCtr="0"/>
          <a:lstStyle/>
          <a:p>
            <a:pPr algn="ctr"/>
            <a:endParaRPr lang="en-US" sz="1184">
              <a:solidFill>
                <a:srgbClr val="000000"/>
              </a:solidFill>
              <a:latin typeface="EYInterstate Light" panose="02000506000000020004" pitchFamily="2" charset="0"/>
            </a:endParaRPr>
          </a:p>
        </p:txBody>
      </p:sp>
      <p:grpSp>
        <p:nvGrpSpPr>
          <p:cNvPr id="14" name="Group 13"/>
          <p:cNvGrpSpPr>
            <a:grpSpLocks noChangeAspect="1"/>
          </p:cNvGrpSpPr>
          <p:nvPr userDrawn="1"/>
        </p:nvGrpSpPr>
        <p:grpSpPr>
          <a:xfrm>
            <a:off x="11658482" y="5887704"/>
            <a:ext cx="1088879" cy="1275937"/>
            <a:chOff x="838200" y="634939"/>
            <a:chExt cx="1266639" cy="1484312"/>
          </a:xfrm>
        </p:grpSpPr>
        <p:sp>
          <p:nvSpPr>
            <p:cNvPr id="15" name="Freeform 7"/>
            <p:cNvSpPr>
              <a:spLocks/>
            </p:cNvSpPr>
            <p:nvPr/>
          </p:nvSpPr>
          <p:spPr bwMode="auto">
            <a:xfrm>
              <a:off x="838200" y="634939"/>
              <a:ext cx="1014493" cy="370339"/>
            </a:xfrm>
            <a:custGeom>
              <a:avLst/>
              <a:gdLst>
                <a:gd name="T0" fmla="*/ 3090 w 3090"/>
                <a:gd name="T1" fmla="*/ 0 h 1128"/>
                <a:gd name="T2" fmla="*/ 0 w 3090"/>
                <a:gd name="T3" fmla="*/ 1128 h 1128"/>
                <a:gd name="T4" fmla="*/ 3090 w 3090"/>
                <a:gd name="T5" fmla="*/ 582 h 1128"/>
                <a:gd name="T6" fmla="*/ 3090 w 3090"/>
                <a:gd name="T7" fmla="*/ 0 h 1128"/>
              </a:gdLst>
              <a:ahLst/>
              <a:cxnLst>
                <a:cxn ang="0">
                  <a:pos x="T0" y="T1"/>
                </a:cxn>
                <a:cxn ang="0">
                  <a:pos x="T2" y="T3"/>
                </a:cxn>
                <a:cxn ang="0">
                  <a:pos x="T4" y="T5"/>
                </a:cxn>
                <a:cxn ang="0">
                  <a:pos x="T6" y="T7"/>
                </a:cxn>
              </a:cxnLst>
              <a:rect l="0" t="0" r="r" b="b"/>
              <a:pathLst>
                <a:path w="3090" h="1128">
                  <a:moveTo>
                    <a:pt x="3090" y="0"/>
                  </a:moveTo>
                  <a:lnTo>
                    <a:pt x="0" y="1128"/>
                  </a:lnTo>
                  <a:lnTo>
                    <a:pt x="3090" y="582"/>
                  </a:lnTo>
                  <a:lnTo>
                    <a:pt x="3090" y="0"/>
                  </a:lnTo>
                  <a:close/>
                </a:path>
              </a:pathLst>
            </a:custGeom>
            <a:solidFill>
              <a:srgbClr val="FFE600"/>
            </a:solidFill>
            <a:ln>
              <a:noFill/>
            </a:ln>
          </p:spPr>
          <p:txBody>
            <a:bodyPr vert="horz" wrap="square" lIns="91440" tIns="45720" rIns="91440" bIns="45720" numCol="1" anchor="t" anchorCtr="0" compatLnSpc="1">
              <a:prstTxWarp prst="textNoShape">
                <a:avLst/>
              </a:prstTxWarp>
            </a:bodyPr>
            <a:lstStyle/>
            <a:p>
              <a:endParaRPr lang="en-US" sz="1979">
                <a:latin typeface="EYInterstate Light" panose="02000506000000020004" pitchFamily="2" charset="0"/>
              </a:endParaRPr>
            </a:p>
          </p:txBody>
        </p:sp>
        <p:sp>
          <p:nvSpPr>
            <p:cNvPr id="16" name="Freeform 8"/>
            <p:cNvSpPr>
              <a:spLocks noEditPoints="1"/>
            </p:cNvSpPr>
            <p:nvPr/>
          </p:nvSpPr>
          <p:spPr bwMode="auto">
            <a:xfrm>
              <a:off x="838200" y="1158930"/>
              <a:ext cx="1266639" cy="960321"/>
            </a:xfrm>
            <a:custGeom>
              <a:avLst/>
              <a:gdLst>
                <a:gd name="T0" fmla="*/ 291 w 3858"/>
                <a:gd name="T1" fmla="*/ 1985 h 2924"/>
                <a:gd name="T2" fmla="*/ 316 w 3858"/>
                <a:gd name="T3" fmla="*/ 2244 h 2924"/>
                <a:gd name="T4" fmla="*/ 189 w 3858"/>
                <a:gd name="T5" fmla="*/ 2262 h 2924"/>
                <a:gd name="T6" fmla="*/ 438 w 3858"/>
                <a:gd name="T7" fmla="*/ 2201 h 2924"/>
                <a:gd name="T8" fmla="*/ 520 w 3858"/>
                <a:gd name="T9" fmla="*/ 2321 h 2924"/>
                <a:gd name="T10" fmla="*/ 1424 w 3858"/>
                <a:gd name="T11" fmla="*/ 2065 h 2924"/>
                <a:gd name="T12" fmla="*/ 1519 w 3858"/>
                <a:gd name="T13" fmla="*/ 2172 h 2924"/>
                <a:gd name="T14" fmla="*/ 870 w 3858"/>
                <a:gd name="T15" fmla="*/ 1932 h 2924"/>
                <a:gd name="T16" fmla="*/ 922 w 3858"/>
                <a:gd name="T17" fmla="*/ 2138 h 2924"/>
                <a:gd name="T18" fmla="*/ 1074 w 3858"/>
                <a:gd name="T19" fmla="*/ 2317 h 2924"/>
                <a:gd name="T20" fmla="*/ 1040 w 3858"/>
                <a:gd name="T21" fmla="*/ 2105 h 2924"/>
                <a:gd name="T22" fmla="*/ 2525 w 3858"/>
                <a:gd name="T23" fmla="*/ 2325 h 2924"/>
                <a:gd name="T24" fmla="*/ 2696 w 3858"/>
                <a:gd name="T25" fmla="*/ 2183 h 2924"/>
                <a:gd name="T26" fmla="*/ 2624 w 3858"/>
                <a:gd name="T27" fmla="*/ 2163 h 2924"/>
                <a:gd name="T28" fmla="*/ 2573 w 3858"/>
                <a:gd name="T29" fmla="*/ 2105 h 2924"/>
                <a:gd name="T30" fmla="*/ 1635 w 3858"/>
                <a:gd name="T31" fmla="*/ 2168 h 2924"/>
                <a:gd name="T32" fmla="*/ 1805 w 3858"/>
                <a:gd name="T33" fmla="*/ 2305 h 2924"/>
                <a:gd name="T34" fmla="*/ 1841 w 3858"/>
                <a:gd name="T35" fmla="*/ 2404 h 2924"/>
                <a:gd name="T36" fmla="*/ 1710 w 3858"/>
                <a:gd name="T37" fmla="*/ 2226 h 2924"/>
                <a:gd name="T38" fmla="*/ 2158 w 3858"/>
                <a:gd name="T39" fmla="*/ 2096 h 2924"/>
                <a:gd name="T40" fmla="*/ 2039 w 3858"/>
                <a:gd name="T41" fmla="*/ 2222 h 2924"/>
                <a:gd name="T42" fmla="*/ 2276 w 3858"/>
                <a:gd name="T43" fmla="*/ 2138 h 2924"/>
                <a:gd name="T44" fmla="*/ 2107 w 3858"/>
                <a:gd name="T45" fmla="*/ 2233 h 2924"/>
                <a:gd name="T46" fmla="*/ 2134 w 3858"/>
                <a:gd name="T47" fmla="*/ 2272 h 2924"/>
                <a:gd name="T48" fmla="*/ 2799 w 3858"/>
                <a:gd name="T49" fmla="*/ 2208 h 2924"/>
                <a:gd name="T50" fmla="*/ 2783 w 3858"/>
                <a:gd name="T51" fmla="*/ 2066 h 2924"/>
                <a:gd name="T52" fmla="*/ 2861 w 3858"/>
                <a:gd name="T53" fmla="*/ 2332 h 2924"/>
                <a:gd name="T54" fmla="*/ 2900 w 3858"/>
                <a:gd name="T55" fmla="*/ 2136 h 2924"/>
                <a:gd name="T56" fmla="*/ 3633 w 3858"/>
                <a:gd name="T57" fmla="*/ 2188 h 2924"/>
                <a:gd name="T58" fmla="*/ 3411 w 3858"/>
                <a:gd name="T59" fmla="*/ 2103 h 2924"/>
                <a:gd name="T60" fmla="*/ 3563 w 3858"/>
                <a:gd name="T61" fmla="*/ 2325 h 2924"/>
                <a:gd name="T62" fmla="*/ 3297 w 3858"/>
                <a:gd name="T63" fmla="*/ 2229 h 2924"/>
                <a:gd name="T64" fmla="*/ 3254 w 3858"/>
                <a:gd name="T65" fmla="*/ 2316 h 2924"/>
                <a:gd name="T66" fmla="*/ 3079 w 3858"/>
                <a:gd name="T67" fmla="*/ 2327 h 2924"/>
                <a:gd name="T68" fmla="*/ 3118 w 3858"/>
                <a:gd name="T69" fmla="*/ 2265 h 2924"/>
                <a:gd name="T70" fmla="*/ 3745 w 3858"/>
                <a:gd name="T71" fmla="*/ 2048 h 2924"/>
                <a:gd name="T72" fmla="*/ 1218 w 3858"/>
                <a:gd name="T73" fmla="*/ 2325 h 2924"/>
                <a:gd name="T74" fmla="*/ 3018 w 3858"/>
                <a:gd name="T75" fmla="*/ 2586 h 2924"/>
                <a:gd name="T76" fmla="*/ 3135 w 3858"/>
                <a:gd name="T77" fmla="*/ 2814 h 2924"/>
                <a:gd name="T78" fmla="*/ 3105 w 3858"/>
                <a:gd name="T79" fmla="*/ 2593 h 2924"/>
                <a:gd name="T80" fmla="*/ 783 w 3858"/>
                <a:gd name="T81" fmla="*/ 2597 h 2924"/>
                <a:gd name="T82" fmla="*/ 840 w 3858"/>
                <a:gd name="T83" fmla="*/ 2611 h 2924"/>
                <a:gd name="T84" fmla="*/ 252 w 3858"/>
                <a:gd name="T85" fmla="*/ 2669 h 2924"/>
                <a:gd name="T86" fmla="*/ 387 w 3858"/>
                <a:gd name="T87" fmla="*/ 2717 h 2924"/>
                <a:gd name="T88" fmla="*/ 629 w 3858"/>
                <a:gd name="T89" fmla="*/ 2717 h 2924"/>
                <a:gd name="T90" fmla="*/ 467 w 3858"/>
                <a:gd name="T91" fmla="*/ 2731 h 2924"/>
                <a:gd name="T92" fmla="*/ 549 w 3858"/>
                <a:gd name="T93" fmla="*/ 2731 h 2924"/>
                <a:gd name="T94" fmla="*/ 2745 w 3858"/>
                <a:gd name="T95" fmla="*/ 2550 h 2924"/>
                <a:gd name="T96" fmla="*/ 1995 w 3858"/>
                <a:gd name="T97" fmla="*/ 2534 h 2924"/>
                <a:gd name="T98" fmla="*/ 2420 w 3858"/>
                <a:gd name="T99" fmla="*/ 2559 h 2924"/>
                <a:gd name="T100" fmla="*/ 2501 w 3858"/>
                <a:gd name="T101" fmla="*/ 2818 h 2924"/>
                <a:gd name="T102" fmla="*/ 2574 w 3858"/>
                <a:gd name="T103" fmla="*/ 2552 h 2924"/>
                <a:gd name="T104" fmla="*/ 2501 w 3858"/>
                <a:gd name="T105" fmla="*/ 2592 h 2924"/>
                <a:gd name="T106" fmla="*/ 958 w 3858"/>
                <a:gd name="T107" fmla="*/ 2418 h 2924"/>
                <a:gd name="T108" fmla="*/ 1502 w 3858"/>
                <a:gd name="T109" fmla="*/ 2546 h 2924"/>
                <a:gd name="T110" fmla="*/ 1384 w 3858"/>
                <a:gd name="T111" fmla="*/ 2608 h 2924"/>
                <a:gd name="T112" fmla="*/ 1599 w 3858"/>
                <a:gd name="T113" fmla="*/ 2597 h 2924"/>
                <a:gd name="T114" fmla="*/ 1730 w 3858"/>
                <a:gd name="T115" fmla="*/ 2811 h 2924"/>
                <a:gd name="T116" fmla="*/ 1753 w 3858"/>
                <a:gd name="T117" fmla="*/ 2916 h 2924"/>
                <a:gd name="T118" fmla="*/ 1692 w 3858"/>
                <a:gd name="T119" fmla="*/ 2750 h 2924"/>
                <a:gd name="T120" fmla="*/ 1241 w 3858"/>
                <a:gd name="T121" fmla="*/ 2656 h 2924"/>
                <a:gd name="T122" fmla="*/ 496 w 3858"/>
                <a:gd name="T123" fmla="*/ 1204 h 29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858" h="2924">
                  <a:moveTo>
                    <a:pt x="321" y="2204"/>
                  </a:moveTo>
                  <a:lnTo>
                    <a:pt x="321" y="2204"/>
                  </a:lnTo>
                  <a:lnTo>
                    <a:pt x="321" y="2194"/>
                  </a:lnTo>
                  <a:lnTo>
                    <a:pt x="320" y="2186"/>
                  </a:lnTo>
                  <a:lnTo>
                    <a:pt x="316" y="2170"/>
                  </a:lnTo>
                  <a:lnTo>
                    <a:pt x="309" y="2156"/>
                  </a:lnTo>
                  <a:lnTo>
                    <a:pt x="301" y="2145"/>
                  </a:lnTo>
                  <a:lnTo>
                    <a:pt x="291" y="2136"/>
                  </a:lnTo>
                  <a:lnTo>
                    <a:pt x="281" y="2130"/>
                  </a:lnTo>
                  <a:lnTo>
                    <a:pt x="273" y="2124"/>
                  </a:lnTo>
                  <a:lnTo>
                    <a:pt x="265" y="2120"/>
                  </a:lnTo>
                  <a:lnTo>
                    <a:pt x="265" y="2120"/>
                  </a:lnTo>
                  <a:lnTo>
                    <a:pt x="274" y="2113"/>
                  </a:lnTo>
                  <a:lnTo>
                    <a:pt x="283" y="2106"/>
                  </a:lnTo>
                  <a:lnTo>
                    <a:pt x="290" y="2098"/>
                  </a:lnTo>
                  <a:lnTo>
                    <a:pt x="296" y="2088"/>
                  </a:lnTo>
                  <a:lnTo>
                    <a:pt x="302" y="2079"/>
                  </a:lnTo>
                  <a:lnTo>
                    <a:pt x="305" y="2068"/>
                  </a:lnTo>
                  <a:lnTo>
                    <a:pt x="307" y="2056"/>
                  </a:lnTo>
                  <a:lnTo>
                    <a:pt x="307" y="2044"/>
                  </a:lnTo>
                  <a:lnTo>
                    <a:pt x="307" y="2044"/>
                  </a:lnTo>
                  <a:lnTo>
                    <a:pt x="307" y="2033"/>
                  </a:lnTo>
                  <a:lnTo>
                    <a:pt x="306" y="2022"/>
                  </a:lnTo>
                  <a:lnTo>
                    <a:pt x="303" y="2012"/>
                  </a:lnTo>
                  <a:lnTo>
                    <a:pt x="301" y="2003"/>
                  </a:lnTo>
                  <a:lnTo>
                    <a:pt x="296" y="1993"/>
                  </a:lnTo>
                  <a:lnTo>
                    <a:pt x="291" y="1985"/>
                  </a:lnTo>
                  <a:lnTo>
                    <a:pt x="284" y="1978"/>
                  </a:lnTo>
                  <a:lnTo>
                    <a:pt x="277" y="1971"/>
                  </a:lnTo>
                  <a:lnTo>
                    <a:pt x="269" y="1965"/>
                  </a:lnTo>
                  <a:lnTo>
                    <a:pt x="261" y="1960"/>
                  </a:lnTo>
                  <a:lnTo>
                    <a:pt x="251" y="1956"/>
                  </a:lnTo>
                  <a:lnTo>
                    <a:pt x="240" y="1952"/>
                  </a:lnTo>
                  <a:lnTo>
                    <a:pt x="229" y="1949"/>
                  </a:lnTo>
                  <a:lnTo>
                    <a:pt x="216" y="1946"/>
                  </a:lnTo>
                  <a:lnTo>
                    <a:pt x="204" y="1946"/>
                  </a:lnTo>
                  <a:lnTo>
                    <a:pt x="190" y="1945"/>
                  </a:lnTo>
                  <a:lnTo>
                    <a:pt x="28" y="1945"/>
                  </a:lnTo>
                  <a:lnTo>
                    <a:pt x="28" y="2325"/>
                  </a:lnTo>
                  <a:lnTo>
                    <a:pt x="189" y="2325"/>
                  </a:lnTo>
                  <a:lnTo>
                    <a:pt x="189" y="2325"/>
                  </a:lnTo>
                  <a:lnTo>
                    <a:pt x="204" y="2325"/>
                  </a:lnTo>
                  <a:lnTo>
                    <a:pt x="218" y="2324"/>
                  </a:lnTo>
                  <a:lnTo>
                    <a:pt x="232" y="2321"/>
                  </a:lnTo>
                  <a:lnTo>
                    <a:pt x="244" y="2317"/>
                  </a:lnTo>
                  <a:lnTo>
                    <a:pt x="256" y="2313"/>
                  </a:lnTo>
                  <a:lnTo>
                    <a:pt x="267" y="2308"/>
                  </a:lnTo>
                  <a:lnTo>
                    <a:pt x="277" y="2301"/>
                  </a:lnTo>
                  <a:lnTo>
                    <a:pt x="285" y="2294"/>
                  </a:lnTo>
                  <a:lnTo>
                    <a:pt x="294" y="2285"/>
                  </a:lnTo>
                  <a:lnTo>
                    <a:pt x="301" y="2276"/>
                  </a:lnTo>
                  <a:lnTo>
                    <a:pt x="307" y="2266"/>
                  </a:lnTo>
                  <a:lnTo>
                    <a:pt x="312" y="2255"/>
                  </a:lnTo>
                  <a:lnTo>
                    <a:pt x="316" y="2244"/>
                  </a:lnTo>
                  <a:lnTo>
                    <a:pt x="319" y="2232"/>
                  </a:lnTo>
                  <a:lnTo>
                    <a:pt x="320" y="2218"/>
                  </a:lnTo>
                  <a:lnTo>
                    <a:pt x="321" y="2204"/>
                  </a:lnTo>
                  <a:lnTo>
                    <a:pt x="321" y="2204"/>
                  </a:lnTo>
                  <a:close/>
                  <a:moveTo>
                    <a:pt x="189" y="2262"/>
                  </a:moveTo>
                  <a:lnTo>
                    <a:pt x="98" y="2262"/>
                  </a:lnTo>
                  <a:lnTo>
                    <a:pt x="98" y="2153"/>
                  </a:lnTo>
                  <a:lnTo>
                    <a:pt x="189" y="2153"/>
                  </a:lnTo>
                  <a:lnTo>
                    <a:pt x="189" y="2153"/>
                  </a:lnTo>
                  <a:lnTo>
                    <a:pt x="203" y="2154"/>
                  </a:lnTo>
                  <a:lnTo>
                    <a:pt x="214" y="2156"/>
                  </a:lnTo>
                  <a:lnTo>
                    <a:pt x="223" y="2160"/>
                  </a:lnTo>
                  <a:lnTo>
                    <a:pt x="232" y="2167"/>
                  </a:lnTo>
                  <a:lnTo>
                    <a:pt x="239" y="2174"/>
                  </a:lnTo>
                  <a:lnTo>
                    <a:pt x="243" y="2183"/>
                  </a:lnTo>
                  <a:lnTo>
                    <a:pt x="245" y="2194"/>
                  </a:lnTo>
                  <a:lnTo>
                    <a:pt x="247" y="2207"/>
                  </a:lnTo>
                  <a:lnTo>
                    <a:pt x="247" y="2207"/>
                  </a:lnTo>
                  <a:lnTo>
                    <a:pt x="245" y="2219"/>
                  </a:lnTo>
                  <a:lnTo>
                    <a:pt x="243" y="2230"/>
                  </a:lnTo>
                  <a:lnTo>
                    <a:pt x="237" y="2240"/>
                  </a:lnTo>
                  <a:lnTo>
                    <a:pt x="232" y="2247"/>
                  </a:lnTo>
                  <a:lnTo>
                    <a:pt x="223" y="2254"/>
                  </a:lnTo>
                  <a:lnTo>
                    <a:pt x="214" y="2258"/>
                  </a:lnTo>
                  <a:lnTo>
                    <a:pt x="201" y="2261"/>
                  </a:lnTo>
                  <a:lnTo>
                    <a:pt x="189" y="2262"/>
                  </a:lnTo>
                  <a:lnTo>
                    <a:pt x="189" y="2262"/>
                  </a:lnTo>
                  <a:close/>
                  <a:moveTo>
                    <a:pt x="188" y="2091"/>
                  </a:moveTo>
                  <a:lnTo>
                    <a:pt x="98" y="2091"/>
                  </a:lnTo>
                  <a:lnTo>
                    <a:pt x="98" y="2010"/>
                  </a:lnTo>
                  <a:lnTo>
                    <a:pt x="185" y="2010"/>
                  </a:lnTo>
                  <a:lnTo>
                    <a:pt x="185" y="2010"/>
                  </a:lnTo>
                  <a:lnTo>
                    <a:pt x="196" y="2011"/>
                  </a:lnTo>
                  <a:lnTo>
                    <a:pt x="207" y="2012"/>
                  </a:lnTo>
                  <a:lnTo>
                    <a:pt x="215" y="2015"/>
                  </a:lnTo>
                  <a:lnTo>
                    <a:pt x="222" y="2019"/>
                  </a:lnTo>
                  <a:lnTo>
                    <a:pt x="228" y="2026"/>
                  </a:lnTo>
                  <a:lnTo>
                    <a:pt x="232" y="2033"/>
                  </a:lnTo>
                  <a:lnTo>
                    <a:pt x="233" y="2041"/>
                  </a:lnTo>
                  <a:lnTo>
                    <a:pt x="234" y="2051"/>
                  </a:lnTo>
                  <a:lnTo>
                    <a:pt x="234" y="2051"/>
                  </a:lnTo>
                  <a:lnTo>
                    <a:pt x="234" y="2058"/>
                  </a:lnTo>
                  <a:lnTo>
                    <a:pt x="233" y="2065"/>
                  </a:lnTo>
                  <a:lnTo>
                    <a:pt x="230" y="2072"/>
                  </a:lnTo>
                  <a:lnTo>
                    <a:pt x="226" y="2077"/>
                  </a:lnTo>
                  <a:lnTo>
                    <a:pt x="219" y="2083"/>
                  </a:lnTo>
                  <a:lnTo>
                    <a:pt x="211" y="2087"/>
                  </a:lnTo>
                  <a:lnTo>
                    <a:pt x="201" y="2090"/>
                  </a:lnTo>
                  <a:lnTo>
                    <a:pt x="188" y="2091"/>
                  </a:lnTo>
                  <a:lnTo>
                    <a:pt x="188" y="2091"/>
                  </a:lnTo>
                  <a:close/>
                  <a:moveTo>
                    <a:pt x="370" y="2205"/>
                  </a:moveTo>
                  <a:lnTo>
                    <a:pt x="370" y="2048"/>
                  </a:lnTo>
                  <a:lnTo>
                    <a:pt x="438" y="2048"/>
                  </a:lnTo>
                  <a:lnTo>
                    <a:pt x="438" y="2201"/>
                  </a:lnTo>
                  <a:lnTo>
                    <a:pt x="438" y="2201"/>
                  </a:lnTo>
                  <a:lnTo>
                    <a:pt x="438" y="2216"/>
                  </a:lnTo>
                  <a:lnTo>
                    <a:pt x="441" y="2232"/>
                  </a:lnTo>
                  <a:lnTo>
                    <a:pt x="445" y="2243"/>
                  </a:lnTo>
                  <a:lnTo>
                    <a:pt x="451" y="2252"/>
                  </a:lnTo>
                  <a:lnTo>
                    <a:pt x="458" y="2259"/>
                  </a:lnTo>
                  <a:lnTo>
                    <a:pt x="466" y="2265"/>
                  </a:lnTo>
                  <a:lnTo>
                    <a:pt x="477" y="2268"/>
                  </a:lnTo>
                  <a:lnTo>
                    <a:pt x="489" y="2269"/>
                  </a:lnTo>
                  <a:lnTo>
                    <a:pt x="489" y="2269"/>
                  </a:lnTo>
                  <a:lnTo>
                    <a:pt x="502" y="2268"/>
                  </a:lnTo>
                  <a:lnTo>
                    <a:pt x="512" y="2265"/>
                  </a:lnTo>
                  <a:lnTo>
                    <a:pt x="521" y="2259"/>
                  </a:lnTo>
                  <a:lnTo>
                    <a:pt x="528" y="2252"/>
                  </a:lnTo>
                  <a:lnTo>
                    <a:pt x="534" y="2243"/>
                  </a:lnTo>
                  <a:lnTo>
                    <a:pt x="538" y="2230"/>
                  </a:lnTo>
                  <a:lnTo>
                    <a:pt x="541" y="2216"/>
                  </a:lnTo>
                  <a:lnTo>
                    <a:pt x="541" y="2201"/>
                  </a:lnTo>
                  <a:lnTo>
                    <a:pt x="541" y="2048"/>
                  </a:lnTo>
                  <a:lnTo>
                    <a:pt x="609" y="2048"/>
                  </a:lnTo>
                  <a:lnTo>
                    <a:pt x="609" y="2325"/>
                  </a:lnTo>
                  <a:lnTo>
                    <a:pt x="541" y="2325"/>
                  </a:lnTo>
                  <a:lnTo>
                    <a:pt x="541" y="2303"/>
                  </a:lnTo>
                  <a:lnTo>
                    <a:pt x="541" y="2303"/>
                  </a:lnTo>
                  <a:lnTo>
                    <a:pt x="535" y="2310"/>
                  </a:lnTo>
                  <a:lnTo>
                    <a:pt x="527" y="2316"/>
                  </a:lnTo>
                  <a:lnTo>
                    <a:pt x="520" y="2321"/>
                  </a:lnTo>
                  <a:lnTo>
                    <a:pt x="512" y="2324"/>
                  </a:lnTo>
                  <a:lnTo>
                    <a:pt x="503" y="2328"/>
                  </a:lnTo>
                  <a:lnTo>
                    <a:pt x="494" y="2330"/>
                  </a:lnTo>
                  <a:lnTo>
                    <a:pt x="484" y="2331"/>
                  </a:lnTo>
                  <a:lnTo>
                    <a:pt x="474" y="2332"/>
                  </a:lnTo>
                  <a:lnTo>
                    <a:pt x="474" y="2332"/>
                  </a:lnTo>
                  <a:lnTo>
                    <a:pt x="458" y="2331"/>
                  </a:lnTo>
                  <a:lnTo>
                    <a:pt x="444" y="2328"/>
                  </a:lnTo>
                  <a:lnTo>
                    <a:pt x="432" y="2324"/>
                  </a:lnTo>
                  <a:lnTo>
                    <a:pt x="419" y="2319"/>
                  </a:lnTo>
                  <a:lnTo>
                    <a:pt x="410" y="2312"/>
                  </a:lnTo>
                  <a:lnTo>
                    <a:pt x="401" y="2305"/>
                  </a:lnTo>
                  <a:lnTo>
                    <a:pt x="394" y="2295"/>
                  </a:lnTo>
                  <a:lnTo>
                    <a:pt x="387" y="2285"/>
                  </a:lnTo>
                  <a:lnTo>
                    <a:pt x="383" y="2276"/>
                  </a:lnTo>
                  <a:lnTo>
                    <a:pt x="379" y="2266"/>
                  </a:lnTo>
                  <a:lnTo>
                    <a:pt x="374" y="2244"/>
                  </a:lnTo>
                  <a:lnTo>
                    <a:pt x="371" y="2223"/>
                  </a:lnTo>
                  <a:lnTo>
                    <a:pt x="370" y="2205"/>
                  </a:lnTo>
                  <a:lnTo>
                    <a:pt x="370" y="2205"/>
                  </a:lnTo>
                  <a:close/>
                  <a:moveTo>
                    <a:pt x="1417" y="2325"/>
                  </a:moveTo>
                  <a:lnTo>
                    <a:pt x="1349" y="2325"/>
                  </a:lnTo>
                  <a:lnTo>
                    <a:pt x="1349" y="2048"/>
                  </a:lnTo>
                  <a:lnTo>
                    <a:pt x="1417" y="2048"/>
                  </a:lnTo>
                  <a:lnTo>
                    <a:pt x="1417" y="2072"/>
                  </a:lnTo>
                  <a:lnTo>
                    <a:pt x="1417" y="2072"/>
                  </a:lnTo>
                  <a:lnTo>
                    <a:pt x="1424" y="2065"/>
                  </a:lnTo>
                  <a:lnTo>
                    <a:pt x="1431" y="2058"/>
                  </a:lnTo>
                  <a:lnTo>
                    <a:pt x="1440" y="2054"/>
                  </a:lnTo>
                  <a:lnTo>
                    <a:pt x="1448" y="2050"/>
                  </a:lnTo>
                  <a:lnTo>
                    <a:pt x="1457" y="2045"/>
                  </a:lnTo>
                  <a:lnTo>
                    <a:pt x="1466" y="2044"/>
                  </a:lnTo>
                  <a:lnTo>
                    <a:pt x="1477" y="2043"/>
                  </a:lnTo>
                  <a:lnTo>
                    <a:pt x="1486" y="2041"/>
                  </a:lnTo>
                  <a:lnTo>
                    <a:pt x="1486" y="2041"/>
                  </a:lnTo>
                  <a:lnTo>
                    <a:pt x="1499" y="2043"/>
                  </a:lnTo>
                  <a:lnTo>
                    <a:pt x="1510" y="2044"/>
                  </a:lnTo>
                  <a:lnTo>
                    <a:pt x="1521" y="2047"/>
                  </a:lnTo>
                  <a:lnTo>
                    <a:pt x="1531" y="2050"/>
                  </a:lnTo>
                  <a:lnTo>
                    <a:pt x="1540" y="2054"/>
                  </a:lnTo>
                  <a:lnTo>
                    <a:pt x="1548" y="2061"/>
                  </a:lnTo>
                  <a:lnTo>
                    <a:pt x="1555" y="2066"/>
                  </a:lnTo>
                  <a:lnTo>
                    <a:pt x="1562" y="2074"/>
                  </a:lnTo>
                  <a:lnTo>
                    <a:pt x="1569" y="2083"/>
                  </a:lnTo>
                  <a:lnTo>
                    <a:pt x="1573" y="2092"/>
                  </a:lnTo>
                  <a:lnTo>
                    <a:pt x="1579" y="2102"/>
                  </a:lnTo>
                  <a:lnTo>
                    <a:pt x="1582" y="2113"/>
                  </a:lnTo>
                  <a:lnTo>
                    <a:pt x="1584" y="2125"/>
                  </a:lnTo>
                  <a:lnTo>
                    <a:pt x="1587" y="2139"/>
                  </a:lnTo>
                  <a:lnTo>
                    <a:pt x="1588" y="2153"/>
                  </a:lnTo>
                  <a:lnTo>
                    <a:pt x="1588" y="2168"/>
                  </a:lnTo>
                  <a:lnTo>
                    <a:pt x="1588" y="2325"/>
                  </a:lnTo>
                  <a:lnTo>
                    <a:pt x="1519" y="2325"/>
                  </a:lnTo>
                  <a:lnTo>
                    <a:pt x="1519" y="2172"/>
                  </a:lnTo>
                  <a:lnTo>
                    <a:pt x="1519" y="2172"/>
                  </a:lnTo>
                  <a:lnTo>
                    <a:pt x="1519" y="2156"/>
                  </a:lnTo>
                  <a:lnTo>
                    <a:pt x="1517" y="2142"/>
                  </a:lnTo>
                  <a:lnTo>
                    <a:pt x="1513" y="2131"/>
                  </a:lnTo>
                  <a:lnTo>
                    <a:pt x="1507" y="2121"/>
                  </a:lnTo>
                  <a:lnTo>
                    <a:pt x="1500" y="2114"/>
                  </a:lnTo>
                  <a:lnTo>
                    <a:pt x="1492" y="2109"/>
                  </a:lnTo>
                  <a:lnTo>
                    <a:pt x="1482" y="2106"/>
                  </a:lnTo>
                  <a:lnTo>
                    <a:pt x="1470" y="2105"/>
                  </a:lnTo>
                  <a:lnTo>
                    <a:pt x="1470" y="2105"/>
                  </a:lnTo>
                  <a:lnTo>
                    <a:pt x="1457" y="2106"/>
                  </a:lnTo>
                  <a:lnTo>
                    <a:pt x="1446" y="2109"/>
                  </a:lnTo>
                  <a:lnTo>
                    <a:pt x="1438" y="2114"/>
                  </a:lnTo>
                  <a:lnTo>
                    <a:pt x="1431" y="2121"/>
                  </a:lnTo>
                  <a:lnTo>
                    <a:pt x="1424" y="2131"/>
                  </a:lnTo>
                  <a:lnTo>
                    <a:pt x="1420" y="2143"/>
                  </a:lnTo>
                  <a:lnTo>
                    <a:pt x="1417" y="2157"/>
                  </a:lnTo>
                  <a:lnTo>
                    <a:pt x="1417" y="2172"/>
                  </a:lnTo>
                  <a:lnTo>
                    <a:pt x="1417" y="2325"/>
                  </a:lnTo>
                  <a:close/>
                  <a:moveTo>
                    <a:pt x="740" y="2186"/>
                  </a:moveTo>
                  <a:lnTo>
                    <a:pt x="740" y="2325"/>
                  </a:lnTo>
                  <a:lnTo>
                    <a:pt x="671" y="2325"/>
                  </a:lnTo>
                  <a:lnTo>
                    <a:pt x="671" y="2048"/>
                  </a:lnTo>
                  <a:lnTo>
                    <a:pt x="740" y="2048"/>
                  </a:lnTo>
                  <a:lnTo>
                    <a:pt x="740" y="2186"/>
                  </a:lnTo>
                  <a:close/>
                  <a:moveTo>
                    <a:pt x="801" y="1967"/>
                  </a:moveTo>
                  <a:lnTo>
                    <a:pt x="870" y="1932"/>
                  </a:lnTo>
                  <a:lnTo>
                    <a:pt x="870" y="2183"/>
                  </a:lnTo>
                  <a:lnTo>
                    <a:pt x="870" y="2325"/>
                  </a:lnTo>
                  <a:lnTo>
                    <a:pt x="801" y="2325"/>
                  </a:lnTo>
                  <a:lnTo>
                    <a:pt x="801" y="1967"/>
                  </a:lnTo>
                  <a:close/>
                  <a:moveTo>
                    <a:pt x="1088" y="2068"/>
                  </a:moveTo>
                  <a:lnTo>
                    <a:pt x="1088" y="2068"/>
                  </a:lnTo>
                  <a:lnTo>
                    <a:pt x="1082" y="2061"/>
                  </a:lnTo>
                  <a:lnTo>
                    <a:pt x="1075" y="2056"/>
                  </a:lnTo>
                  <a:lnTo>
                    <a:pt x="1067" y="2051"/>
                  </a:lnTo>
                  <a:lnTo>
                    <a:pt x="1060" y="2048"/>
                  </a:lnTo>
                  <a:lnTo>
                    <a:pt x="1052" y="2045"/>
                  </a:lnTo>
                  <a:lnTo>
                    <a:pt x="1044" y="2043"/>
                  </a:lnTo>
                  <a:lnTo>
                    <a:pt x="1027" y="2041"/>
                  </a:lnTo>
                  <a:lnTo>
                    <a:pt x="1027" y="2041"/>
                  </a:lnTo>
                  <a:lnTo>
                    <a:pt x="1015" y="2043"/>
                  </a:lnTo>
                  <a:lnTo>
                    <a:pt x="1002" y="2044"/>
                  </a:lnTo>
                  <a:lnTo>
                    <a:pt x="991" y="2047"/>
                  </a:lnTo>
                  <a:lnTo>
                    <a:pt x="982" y="2051"/>
                  </a:lnTo>
                  <a:lnTo>
                    <a:pt x="972" y="2056"/>
                  </a:lnTo>
                  <a:lnTo>
                    <a:pt x="962" y="2063"/>
                  </a:lnTo>
                  <a:lnTo>
                    <a:pt x="954" y="2072"/>
                  </a:lnTo>
                  <a:lnTo>
                    <a:pt x="947" y="2080"/>
                  </a:lnTo>
                  <a:lnTo>
                    <a:pt x="940" y="2090"/>
                  </a:lnTo>
                  <a:lnTo>
                    <a:pt x="935" y="2101"/>
                  </a:lnTo>
                  <a:lnTo>
                    <a:pt x="929" y="2112"/>
                  </a:lnTo>
                  <a:lnTo>
                    <a:pt x="925" y="2124"/>
                  </a:lnTo>
                  <a:lnTo>
                    <a:pt x="922" y="2138"/>
                  </a:lnTo>
                  <a:lnTo>
                    <a:pt x="920" y="2153"/>
                  </a:lnTo>
                  <a:lnTo>
                    <a:pt x="918" y="2168"/>
                  </a:lnTo>
                  <a:lnTo>
                    <a:pt x="918" y="2183"/>
                  </a:lnTo>
                  <a:lnTo>
                    <a:pt x="918" y="2183"/>
                  </a:lnTo>
                  <a:lnTo>
                    <a:pt x="918" y="2201"/>
                  </a:lnTo>
                  <a:lnTo>
                    <a:pt x="920" y="2216"/>
                  </a:lnTo>
                  <a:lnTo>
                    <a:pt x="922" y="2232"/>
                  </a:lnTo>
                  <a:lnTo>
                    <a:pt x="925" y="2245"/>
                  </a:lnTo>
                  <a:lnTo>
                    <a:pt x="929" y="2259"/>
                  </a:lnTo>
                  <a:lnTo>
                    <a:pt x="933" y="2272"/>
                  </a:lnTo>
                  <a:lnTo>
                    <a:pt x="939" y="2283"/>
                  </a:lnTo>
                  <a:lnTo>
                    <a:pt x="946" y="2292"/>
                  </a:lnTo>
                  <a:lnTo>
                    <a:pt x="954" y="2302"/>
                  </a:lnTo>
                  <a:lnTo>
                    <a:pt x="961" y="2309"/>
                  </a:lnTo>
                  <a:lnTo>
                    <a:pt x="971" y="2316"/>
                  </a:lnTo>
                  <a:lnTo>
                    <a:pt x="980" y="2321"/>
                  </a:lnTo>
                  <a:lnTo>
                    <a:pt x="990" y="2325"/>
                  </a:lnTo>
                  <a:lnTo>
                    <a:pt x="1001" y="2330"/>
                  </a:lnTo>
                  <a:lnTo>
                    <a:pt x="1013" y="2331"/>
                  </a:lnTo>
                  <a:lnTo>
                    <a:pt x="1026" y="2332"/>
                  </a:lnTo>
                  <a:lnTo>
                    <a:pt x="1026" y="2332"/>
                  </a:lnTo>
                  <a:lnTo>
                    <a:pt x="1034" y="2331"/>
                  </a:lnTo>
                  <a:lnTo>
                    <a:pt x="1042" y="2330"/>
                  </a:lnTo>
                  <a:lnTo>
                    <a:pt x="1051" y="2328"/>
                  </a:lnTo>
                  <a:lnTo>
                    <a:pt x="1059" y="2325"/>
                  </a:lnTo>
                  <a:lnTo>
                    <a:pt x="1066" y="2321"/>
                  </a:lnTo>
                  <a:lnTo>
                    <a:pt x="1074" y="2317"/>
                  </a:lnTo>
                  <a:lnTo>
                    <a:pt x="1081" y="2312"/>
                  </a:lnTo>
                  <a:lnTo>
                    <a:pt x="1088" y="2305"/>
                  </a:lnTo>
                  <a:lnTo>
                    <a:pt x="1088" y="2325"/>
                  </a:lnTo>
                  <a:lnTo>
                    <a:pt x="1157" y="2325"/>
                  </a:lnTo>
                  <a:lnTo>
                    <a:pt x="1157" y="1932"/>
                  </a:lnTo>
                  <a:lnTo>
                    <a:pt x="1088" y="1967"/>
                  </a:lnTo>
                  <a:lnTo>
                    <a:pt x="1088" y="2068"/>
                  </a:lnTo>
                  <a:close/>
                  <a:moveTo>
                    <a:pt x="1040" y="2269"/>
                  </a:moveTo>
                  <a:lnTo>
                    <a:pt x="1040" y="2269"/>
                  </a:lnTo>
                  <a:lnTo>
                    <a:pt x="1031" y="2268"/>
                  </a:lnTo>
                  <a:lnTo>
                    <a:pt x="1022" y="2265"/>
                  </a:lnTo>
                  <a:lnTo>
                    <a:pt x="1013" y="2261"/>
                  </a:lnTo>
                  <a:lnTo>
                    <a:pt x="1005" y="2252"/>
                  </a:lnTo>
                  <a:lnTo>
                    <a:pt x="998" y="2241"/>
                  </a:lnTo>
                  <a:lnTo>
                    <a:pt x="993" y="2226"/>
                  </a:lnTo>
                  <a:lnTo>
                    <a:pt x="989" y="2207"/>
                  </a:lnTo>
                  <a:lnTo>
                    <a:pt x="987" y="2182"/>
                  </a:lnTo>
                  <a:lnTo>
                    <a:pt x="987" y="2182"/>
                  </a:lnTo>
                  <a:lnTo>
                    <a:pt x="989" y="2160"/>
                  </a:lnTo>
                  <a:lnTo>
                    <a:pt x="993" y="2143"/>
                  </a:lnTo>
                  <a:lnTo>
                    <a:pt x="998" y="2130"/>
                  </a:lnTo>
                  <a:lnTo>
                    <a:pt x="1005" y="2120"/>
                  </a:lnTo>
                  <a:lnTo>
                    <a:pt x="1012" y="2112"/>
                  </a:lnTo>
                  <a:lnTo>
                    <a:pt x="1022" y="2108"/>
                  </a:lnTo>
                  <a:lnTo>
                    <a:pt x="1030" y="2105"/>
                  </a:lnTo>
                  <a:lnTo>
                    <a:pt x="1040" y="2105"/>
                  </a:lnTo>
                  <a:lnTo>
                    <a:pt x="1040" y="2105"/>
                  </a:lnTo>
                  <a:lnTo>
                    <a:pt x="1048" y="2105"/>
                  </a:lnTo>
                  <a:lnTo>
                    <a:pt x="1056" y="2108"/>
                  </a:lnTo>
                  <a:lnTo>
                    <a:pt x="1064" y="2110"/>
                  </a:lnTo>
                  <a:lnTo>
                    <a:pt x="1070" y="2114"/>
                  </a:lnTo>
                  <a:lnTo>
                    <a:pt x="1075" y="2119"/>
                  </a:lnTo>
                  <a:lnTo>
                    <a:pt x="1081" y="2123"/>
                  </a:lnTo>
                  <a:lnTo>
                    <a:pt x="1088" y="2132"/>
                  </a:lnTo>
                  <a:lnTo>
                    <a:pt x="1088" y="2241"/>
                  </a:lnTo>
                  <a:lnTo>
                    <a:pt x="1088" y="2241"/>
                  </a:lnTo>
                  <a:lnTo>
                    <a:pt x="1080" y="2251"/>
                  </a:lnTo>
                  <a:lnTo>
                    <a:pt x="1070" y="2259"/>
                  </a:lnTo>
                  <a:lnTo>
                    <a:pt x="1064" y="2263"/>
                  </a:lnTo>
                  <a:lnTo>
                    <a:pt x="1056" y="2266"/>
                  </a:lnTo>
                  <a:lnTo>
                    <a:pt x="1049" y="2268"/>
                  </a:lnTo>
                  <a:lnTo>
                    <a:pt x="1040" y="2269"/>
                  </a:lnTo>
                  <a:lnTo>
                    <a:pt x="1040" y="2269"/>
                  </a:lnTo>
                  <a:close/>
                  <a:moveTo>
                    <a:pt x="2585" y="2041"/>
                  </a:moveTo>
                  <a:lnTo>
                    <a:pt x="2585" y="2041"/>
                  </a:lnTo>
                  <a:lnTo>
                    <a:pt x="2578" y="2043"/>
                  </a:lnTo>
                  <a:lnTo>
                    <a:pt x="2570" y="2044"/>
                  </a:lnTo>
                  <a:lnTo>
                    <a:pt x="2554" y="2048"/>
                  </a:lnTo>
                  <a:lnTo>
                    <a:pt x="2538" y="2056"/>
                  </a:lnTo>
                  <a:lnTo>
                    <a:pt x="2525" y="2068"/>
                  </a:lnTo>
                  <a:lnTo>
                    <a:pt x="2525" y="1939"/>
                  </a:lnTo>
                  <a:lnTo>
                    <a:pt x="2456" y="1974"/>
                  </a:lnTo>
                  <a:lnTo>
                    <a:pt x="2456" y="2325"/>
                  </a:lnTo>
                  <a:lnTo>
                    <a:pt x="2525" y="2325"/>
                  </a:lnTo>
                  <a:lnTo>
                    <a:pt x="2525" y="2305"/>
                  </a:lnTo>
                  <a:lnTo>
                    <a:pt x="2525" y="2305"/>
                  </a:lnTo>
                  <a:lnTo>
                    <a:pt x="2530" y="2312"/>
                  </a:lnTo>
                  <a:lnTo>
                    <a:pt x="2538" y="2317"/>
                  </a:lnTo>
                  <a:lnTo>
                    <a:pt x="2545" y="2321"/>
                  </a:lnTo>
                  <a:lnTo>
                    <a:pt x="2554" y="2325"/>
                  </a:lnTo>
                  <a:lnTo>
                    <a:pt x="2561" y="2328"/>
                  </a:lnTo>
                  <a:lnTo>
                    <a:pt x="2570" y="2330"/>
                  </a:lnTo>
                  <a:lnTo>
                    <a:pt x="2578" y="2331"/>
                  </a:lnTo>
                  <a:lnTo>
                    <a:pt x="2587" y="2332"/>
                  </a:lnTo>
                  <a:lnTo>
                    <a:pt x="2587" y="2332"/>
                  </a:lnTo>
                  <a:lnTo>
                    <a:pt x="2599" y="2331"/>
                  </a:lnTo>
                  <a:lnTo>
                    <a:pt x="2612" y="2330"/>
                  </a:lnTo>
                  <a:lnTo>
                    <a:pt x="2623" y="2327"/>
                  </a:lnTo>
                  <a:lnTo>
                    <a:pt x="2634" y="2321"/>
                  </a:lnTo>
                  <a:lnTo>
                    <a:pt x="2643" y="2316"/>
                  </a:lnTo>
                  <a:lnTo>
                    <a:pt x="2652" y="2310"/>
                  </a:lnTo>
                  <a:lnTo>
                    <a:pt x="2660" y="2302"/>
                  </a:lnTo>
                  <a:lnTo>
                    <a:pt x="2667" y="2294"/>
                  </a:lnTo>
                  <a:lnTo>
                    <a:pt x="2674" y="2283"/>
                  </a:lnTo>
                  <a:lnTo>
                    <a:pt x="2679" y="2272"/>
                  </a:lnTo>
                  <a:lnTo>
                    <a:pt x="2683" y="2259"/>
                  </a:lnTo>
                  <a:lnTo>
                    <a:pt x="2687" y="2247"/>
                  </a:lnTo>
                  <a:lnTo>
                    <a:pt x="2691" y="2233"/>
                  </a:lnTo>
                  <a:lnTo>
                    <a:pt x="2693" y="2218"/>
                  </a:lnTo>
                  <a:lnTo>
                    <a:pt x="2694" y="2201"/>
                  </a:lnTo>
                  <a:lnTo>
                    <a:pt x="2696" y="2183"/>
                  </a:lnTo>
                  <a:lnTo>
                    <a:pt x="2696" y="2183"/>
                  </a:lnTo>
                  <a:lnTo>
                    <a:pt x="2694" y="2168"/>
                  </a:lnTo>
                  <a:lnTo>
                    <a:pt x="2693" y="2153"/>
                  </a:lnTo>
                  <a:lnTo>
                    <a:pt x="2690" y="2138"/>
                  </a:lnTo>
                  <a:lnTo>
                    <a:pt x="2687" y="2124"/>
                  </a:lnTo>
                  <a:lnTo>
                    <a:pt x="2683" y="2112"/>
                  </a:lnTo>
                  <a:lnTo>
                    <a:pt x="2678" y="2101"/>
                  </a:lnTo>
                  <a:lnTo>
                    <a:pt x="2672" y="2090"/>
                  </a:lnTo>
                  <a:lnTo>
                    <a:pt x="2665" y="2080"/>
                  </a:lnTo>
                  <a:lnTo>
                    <a:pt x="2658" y="2072"/>
                  </a:lnTo>
                  <a:lnTo>
                    <a:pt x="2650" y="2063"/>
                  </a:lnTo>
                  <a:lnTo>
                    <a:pt x="2640" y="2056"/>
                  </a:lnTo>
                  <a:lnTo>
                    <a:pt x="2631" y="2051"/>
                  </a:lnTo>
                  <a:lnTo>
                    <a:pt x="2621" y="2047"/>
                  </a:lnTo>
                  <a:lnTo>
                    <a:pt x="2610" y="2044"/>
                  </a:lnTo>
                  <a:lnTo>
                    <a:pt x="2598" y="2043"/>
                  </a:lnTo>
                  <a:lnTo>
                    <a:pt x="2585" y="2041"/>
                  </a:lnTo>
                  <a:lnTo>
                    <a:pt x="2585" y="2041"/>
                  </a:lnTo>
                  <a:close/>
                  <a:moveTo>
                    <a:pt x="2573" y="2105"/>
                  </a:moveTo>
                  <a:lnTo>
                    <a:pt x="2573" y="2105"/>
                  </a:lnTo>
                  <a:lnTo>
                    <a:pt x="2583" y="2106"/>
                  </a:lnTo>
                  <a:lnTo>
                    <a:pt x="2592" y="2109"/>
                  </a:lnTo>
                  <a:lnTo>
                    <a:pt x="2600" y="2114"/>
                  </a:lnTo>
                  <a:lnTo>
                    <a:pt x="2609" y="2123"/>
                  </a:lnTo>
                  <a:lnTo>
                    <a:pt x="2616" y="2132"/>
                  </a:lnTo>
                  <a:lnTo>
                    <a:pt x="2620" y="2146"/>
                  </a:lnTo>
                  <a:lnTo>
                    <a:pt x="2624" y="2163"/>
                  </a:lnTo>
                  <a:lnTo>
                    <a:pt x="2625" y="2182"/>
                  </a:lnTo>
                  <a:lnTo>
                    <a:pt x="2625" y="2182"/>
                  </a:lnTo>
                  <a:lnTo>
                    <a:pt x="2624" y="2203"/>
                  </a:lnTo>
                  <a:lnTo>
                    <a:pt x="2621" y="2221"/>
                  </a:lnTo>
                  <a:lnTo>
                    <a:pt x="2618" y="2234"/>
                  </a:lnTo>
                  <a:lnTo>
                    <a:pt x="2613" y="2247"/>
                  </a:lnTo>
                  <a:lnTo>
                    <a:pt x="2605" y="2256"/>
                  </a:lnTo>
                  <a:lnTo>
                    <a:pt x="2596" y="2263"/>
                  </a:lnTo>
                  <a:lnTo>
                    <a:pt x="2587" y="2268"/>
                  </a:lnTo>
                  <a:lnTo>
                    <a:pt x="2574" y="2269"/>
                  </a:lnTo>
                  <a:lnTo>
                    <a:pt x="2574" y="2269"/>
                  </a:lnTo>
                  <a:lnTo>
                    <a:pt x="2565" y="2268"/>
                  </a:lnTo>
                  <a:lnTo>
                    <a:pt x="2556" y="2266"/>
                  </a:lnTo>
                  <a:lnTo>
                    <a:pt x="2549" y="2262"/>
                  </a:lnTo>
                  <a:lnTo>
                    <a:pt x="2543" y="2259"/>
                  </a:lnTo>
                  <a:lnTo>
                    <a:pt x="2532" y="2250"/>
                  </a:lnTo>
                  <a:lnTo>
                    <a:pt x="2525" y="2243"/>
                  </a:lnTo>
                  <a:lnTo>
                    <a:pt x="2525" y="2132"/>
                  </a:lnTo>
                  <a:lnTo>
                    <a:pt x="2525" y="2132"/>
                  </a:lnTo>
                  <a:lnTo>
                    <a:pt x="2529" y="2127"/>
                  </a:lnTo>
                  <a:lnTo>
                    <a:pt x="2534" y="2121"/>
                  </a:lnTo>
                  <a:lnTo>
                    <a:pt x="2540" y="2116"/>
                  </a:lnTo>
                  <a:lnTo>
                    <a:pt x="2545" y="2112"/>
                  </a:lnTo>
                  <a:lnTo>
                    <a:pt x="2552" y="2109"/>
                  </a:lnTo>
                  <a:lnTo>
                    <a:pt x="2559" y="2106"/>
                  </a:lnTo>
                  <a:lnTo>
                    <a:pt x="2566" y="2105"/>
                  </a:lnTo>
                  <a:lnTo>
                    <a:pt x="2573" y="2105"/>
                  </a:lnTo>
                  <a:lnTo>
                    <a:pt x="2573" y="2105"/>
                  </a:lnTo>
                  <a:close/>
                  <a:moveTo>
                    <a:pt x="1805" y="2068"/>
                  </a:moveTo>
                  <a:lnTo>
                    <a:pt x="1805" y="2068"/>
                  </a:lnTo>
                  <a:lnTo>
                    <a:pt x="1799" y="2062"/>
                  </a:lnTo>
                  <a:lnTo>
                    <a:pt x="1792" y="2056"/>
                  </a:lnTo>
                  <a:lnTo>
                    <a:pt x="1784" y="2052"/>
                  </a:lnTo>
                  <a:lnTo>
                    <a:pt x="1777" y="2048"/>
                  </a:lnTo>
                  <a:lnTo>
                    <a:pt x="1769" y="2045"/>
                  </a:lnTo>
                  <a:lnTo>
                    <a:pt x="1761" y="2043"/>
                  </a:lnTo>
                  <a:lnTo>
                    <a:pt x="1753" y="2043"/>
                  </a:lnTo>
                  <a:lnTo>
                    <a:pt x="1744" y="2041"/>
                  </a:lnTo>
                  <a:lnTo>
                    <a:pt x="1744" y="2041"/>
                  </a:lnTo>
                  <a:lnTo>
                    <a:pt x="1732" y="2043"/>
                  </a:lnTo>
                  <a:lnTo>
                    <a:pt x="1719" y="2044"/>
                  </a:lnTo>
                  <a:lnTo>
                    <a:pt x="1708" y="2047"/>
                  </a:lnTo>
                  <a:lnTo>
                    <a:pt x="1699" y="2051"/>
                  </a:lnTo>
                  <a:lnTo>
                    <a:pt x="1689" y="2056"/>
                  </a:lnTo>
                  <a:lnTo>
                    <a:pt x="1679" y="2063"/>
                  </a:lnTo>
                  <a:lnTo>
                    <a:pt x="1671" y="2072"/>
                  </a:lnTo>
                  <a:lnTo>
                    <a:pt x="1664" y="2080"/>
                  </a:lnTo>
                  <a:lnTo>
                    <a:pt x="1657" y="2090"/>
                  </a:lnTo>
                  <a:lnTo>
                    <a:pt x="1652" y="2101"/>
                  </a:lnTo>
                  <a:lnTo>
                    <a:pt x="1646" y="2112"/>
                  </a:lnTo>
                  <a:lnTo>
                    <a:pt x="1642" y="2124"/>
                  </a:lnTo>
                  <a:lnTo>
                    <a:pt x="1639" y="2138"/>
                  </a:lnTo>
                  <a:lnTo>
                    <a:pt x="1637" y="2153"/>
                  </a:lnTo>
                  <a:lnTo>
                    <a:pt x="1635" y="2168"/>
                  </a:lnTo>
                  <a:lnTo>
                    <a:pt x="1635" y="2183"/>
                  </a:lnTo>
                  <a:lnTo>
                    <a:pt x="1635" y="2183"/>
                  </a:lnTo>
                  <a:lnTo>
                    <a:pt x="1635" y="2201"/>
                  </a:lnTo>
                  <a:lnTo>
                    <a:pt x="1637" y="2216"/>
                  </a:lnTo>
                  <a:lnTo>
                    <a:pt x="1639" y="2232"/>
                  </a:lnTo>
                  <a:lnTo>
                    <a:pt x="1642" y="2245"/>
                  </a:lnTo>
                  <a:lnTo>
                    <a:pt x="1646" y="2259"/>
                  </a:lnTo>
                  <a:lnTo>
                    <a:pt x="1650" y="2272"/>
                  </a:lnTo>
                  <a:lnTo>
                    <a:pt x="1657" y="2283"/>
                  </a:lnTo>
                  <a:lnTo>
                    <a:pt x="1663" y="2292"/>
                  </a:lnTo>
                  <a:lnTo>
                    <a:pt x="1671" y="2302"/>
                  </a:lnTo>
                  <a:lnTo>
                    <a:pt x="1678" y="2309"/>
                  </a:lnTo>
                  <a:lnTo>
                    <a:pt x="1688" y="2316"/>
                  </a:lnTo>
                  <a:lnTo>
                    <a:pt x="1697" y="2321"/>
                  </a:lnTo>
                  <a:lnTo>
                    <a:pt x="1707" y="2325"/>
                  </a:lnTo>
                  <a:lnTo>
                    <a:pt x="1718" y="2330"/>
                  </a:lnTo>
                  <a:lnTo>
                    <a:pt x="1730" y="2331"/>
                  </a:lnTo>
                  <a:lnTo>
                    <a:pt x="1743" y="2331"/>
                  </a:lnTo>
                  <a:lnTo>
                    <a:pt x="1743" y="2331"/>
                  </a:lnTo>
                  <a:lnTo>
                    <a:pt x="1751" y="2331"/>
                  </a:lnTo>
                  <a:lnTo>
                    <a:pt x="1759" y="2330"/>
                  </a:lnTo>
                  <a:lnTo>
                    <a:pt x="1768" y="2328"/>
                  </a:lnTo>
                  <a:lnTo>
                    <a:pt x="1776" y="2325"/>
                  </a:lnTo>
                  <a:lnTo>
                    <a:pt x="1784" y="2321"/>
                  </a:lnTo>
                  <a:lnTo>
                    <a:pt x="1791" y="2316"/>
                  </a:lnTo>
                  <a:lnTo>
                    <a:pt x="1798" y="2312"/>
                  </a:lnTo>
                  <a:lnTo>
                    <a:pt x="1805" y="2305"/>
                  </a:lnTo>
                  <a:lnTo>
                    <a:pt x="1805" y="2312"/>
                  </a:lnTo>
                  <a:lnTo>
                    <a:pt x="1805" y="2312"/>
                  </a:lnTo>
                  <a:lnTo>
                    <a:pt x="1805" y="2323"/>
                  </a:lnTo>
                  <a:lnTo>
                    <a:pt x="1804" y="2335"/>
                  </a:lnTo>
                  <a:lnTo>
                    <a:pt x="1801" y="2347"/>
                  </a:lnTo>
                  <a:lnTo>
                    <a:pt x="1798" y="2353"/>
                  </a:lnTo>
                  <a:lnTo>
                    <a:pt x="1794" y="2359"/>
                  </a:lnTo>
                  <a:lnTo>
                    <a:pt x="1790" y="2364"/>
                  </a:lnTo>
                  <a:lnTo>
                    <a:pt x="1784" y="2370"/>
                  </a:lnTo>
                  <a:lnTo>
                    <a:pt x="1776" y="2374"/>
                  </a:lnTo>
                  <a:lnTo>
                    <a:pt x="1768" y="2376"/>
                  </a:lnTo>
                  <a:lnTo>
                    <a:pt x="1758" y="2381"/>
                  </a:lnTo>
                  <a:lnTo>
                    <a:pt x="1746" y="2382"/>
                  </a:lnTo>
                  <a:lnTo>
                    <a:pt x="1732" y="2385"/>
                  </a:lnTo>
                  <a:lnTo>
                    <a:pt x="1717" y="2385"/>
                  </a:lnTo>
                  <a:lnTo>
                    <a:pt x="1714" y="2385"/>
                  </a:lnTo>
                  <a:lnTo>
                    <a:pt x="1737" y="2439"/>
                  </a:lnTo>
                  <a:lnTo>
                    <a:pt x="1739" y="2439"/>
                  </a:lnTo>
                  <a:lnTo>
                    <a:pt x="1739" y="2439"/>
                  </a:lnTo>
                  <a:lnTo>
                    <a:pt x="1755" y="2439"/>
                  </a:lnTo>
                  <a:lnTo>
                    <a:pt x="1770" y="2436"/>
                  </a:lnTo>
                  <a:lnTo>
                    <a:pt x="1786" y="2433"/>
                  </a:lnTo>
                  <a:lnTo>
                    <a:pt x="1798" y="2429"/>
                  </a:lnTo>
                  <a:lnTo>
                    <a:pt x="1810" y="2425"/>
                  </a:lnTo>
                  <a:lnTo>
                    <a:pt x="1821" y="2419"/>
                  </a:lnTo>
                  <a:lnTo>
                    <a:pt x="1831" y="2411"/>
                  </a:lnTo>
                  <a:lnTo>
                    <a:pt x="1841" y="2404"/>
                  </a:lnTo>
                  <a:lnTo>
                    <a:pt x="1849" y="2394"/>
                  </a:lnTo>
                  <a:lnTo>
                    <a:pt x="1855" y="2383"/>
                  </a:lnTo>
                  <a:lnTo>
                    <a:pt x="1861" y="2372"/>
                  </a:lnTo>
                  <a:lnTo>
                    <a:pt x="1866" y="2360"/>
                  </a:lnTo>
                  <a:lnTo>
                    <a:pt x="1870" y="2346"/>
                  </a:lnTo>
                  <a:lnTo>
                    <a:pt x="1872" y="2332"/>
                  </a:lnTo>
                  <a:lnTo>
                    <a:pt x="1874" y="2317"/>
                  </a:lnTo>
                  <a:lnTo>
                    <a:pt x="1874" y="2299"/>
                  </a:lnTo>
                  <a:lnTo>
                    <a:pt x="1874" y="2048"/>
                  </a:lnTo>
                  <a:lnTo>
                    <a:pt x="1805" y="2048"/>
                  </a:lnTo>
                  <a:lnTo>
                    <a:pt x="1805" y="2068"/>
                  </a:lnTo>
                  <a:close/>
                  <a:moveTo>
                    <a:pt x="1805" y="2132"/>
                  </a:moveTo>
                  <a:lnTo>
                    <a:pt x="1805" y="2241"/>
                  </a:lnTo>
                  <a:lnTo>
                    <a:pt x="1805" y="2241"/>
                  </a:lnTo>
                  <a:lnTo>
                    <a:pt x="1797" y="2251"/>
                  </a:lnTo>
                  <a:lnTo>
                    <a:pt x="1786" y="2261"/>
                  </a:lnTo>
                  <a:lnTo>
                    <a:pt x="1780" y="2263"/>
                  </a:lnTo>
                  <a:lnTo>
                    <a:pt x="1773" y="2266"/>
                  </a:lnTo>
                  <a:lnTo>
                    <a:pt x="1765" y="2268"/>
                  </a:lnTo>
                  <a:lnTo>
                    <a:pt x="1757" y="2269"/>
                  </a:lnTo>
                  <a:lnTo>
                    <a:pt x="1757" y="2269"/>
                  </a:lnTo>
                  <a:lnTo>
                    <a:pt x="1747" y="2268"/>
                  </a:lnTo>
                  <a:lnTo>
                    <a:pt x="1739" y="2265"/>
                  </a:lnTo>
                  <a:lnTo>
                    <a:pt x="1729" y="2259"/>
                  </a:lnTo>
                  <a:lnTo>
                    <a:pt x="1722" y="2252"/>
                  </a:lnTo>
                  <a:lnTo>
                    <a:pt x="1715" y="2241"/>
                  </a:lnTo>
                  <a:lnTo>
                    <a:pt x="1710" y="2226"/>
                  </a:lnTo>
                  <a:lnTo>
                    <a:pt x="1706" y="2207"/>
                  </a:lnTo>
                  <a:lnTo>
                    <a:pt x="1704" y="2182"/>
                  </a:lnTo>
                  <a:lnTo>
                    <a:pt x="1704" y="2182"/>
                  </a:lnTo>
                  <a:lnTo>
                    <a:pt x="1706" y="2160"/>
                  </a:lnTo>
                  <a:lnTo>
                    <a:pt x="1710" y="2143"/>
                  </a:lnTo>
                  <a:lnTo>
                    <a:pt x="1715" y="2130"/>
                  </a:lnTo>
                  <a:lnTo>
                    <a:pt x="1722" y="2120"/>
                  </a:lnTo>
                  <a:lnTo>
                    <a:pt x="1729" y="2112"/>
                  </a:lnTo>
                  <a:lnTo>
                    <a:pt x="1739" y="2108"/>
                  </a:lnTo>
                  <a:lnTo>
                    <a:pt x="1747" y="2105"/>
                  </a:lnTo>
                  <a:lnTo>
                    <a:pt x="1757" y="2105"/>
                  </a:lnTo>
                  <a:lnTo>
                    <a:pt x="1757" y="2105"/>
                  </a:lnTo>
                  <a:lnTo>
                    <a:pt x="1765" y="2105"/>
                  </a:lnTo>
                  <a:lnTo>
                    <a:pt x="1773" y="2108"/>
                  </a:lnTo>
                  <a:lnTo>
                    <a:pt x="1781" y="2110"/>
                  </a:lnTo>
                  <a:lnTo>
                    <a:pt x="1787" y="2113"/>
                  </a:lnTo>
                  <a:lnTo>
                    <a:pt x="1792" y="2119"/>
                  </a:lnTo>
                  <a:lnTo>
                    <a:pt x="1798" y="2123"/>
                  </a:lnTo>
                  <a:lnTo>
                    <a:pt x="1805" y="2132"/>
                  </a:lnTo>
                  <a:lnTo>
                    <a:pt x="1805" y="2132"/>
                  </a:lnTo>
                  <a:close/>
                  <a:moveTo>
                    <a:pt x="2088" y="2116"/>
                  </a:moveTo>
                  <a:lnTo>
                    <a:pt x="2088" y="2116"/>
                  </a:lnTo>
                  <a:lnTo>
                    <a:pt x="2104" y="2108"/>
                  </a:lnTo>
                  <a:lnTo>
                    <a:pt x="2121" y="2102"/>
                  </a:lnTo>
                  <a:lnTo>
                    <a:pt x="2139" y="2098"/>
                  </a:lnTo>
                  <a:lnTo>
                    <a:pt x="2158" y="2096"/>
                  </a:lnTo>
                  <a:lnTo>
                    <a:pt x="2158" y="2096"/>
                  </a:lnTo>
                  <a:lnTo>
                    <a:pt x="2170" y="2098"/>
                  </a:lnTo>
                  <a:lnTo>
                    <a:pt x="2180" y="2099"/>
                  </a:lnTo>
                  <a:lnTo>
                    <a:pt x="2188" y="2102"/>
                  </a:lnTo>
                  <a:lnTo>
                    <a:pt x="2195" y="2108"/>
                  </a:lnTo>
                  <a:lnTo>
                    <a:pt x="2201" y="2113"/>
                  </a:lnTo>
                  <a:lnTo>
                    <a:pt x="2205" y="2120"/>
                  </a:lnTo>
                  <a:lnTo>
                    <a:pt x="2208" y="2127"/>
                  </a:lnTo>
                  <a:lnTo>
                    <a:pt x="2208" y="2136"/>
                  </a:lnTo>
                  <a:lnTo>
                    <a:pt x="2208" y="2156"/>
                  </a:lnTo>
                  <a:lnTo>
                    <a:pt x="2208" y="2156"/>
                  </a:lnTo>
                  <a:lnTo>
                    <a:pt x="2195" y="2150"/>
                  </a:lnTo>
                  <a:lnTo>
                    <a:pt x="2180" y="2146"/>
                  </a:lnTo>
                  <a:lnTo>
                    <a:pt x="2165" y="2143"/>
                  </a:lnTo>
                  <a:lnTo>
                    <a:pt x="2148" y="2142"/>
                  </a:lnTo>
                  <a:lnTo>
                    <a:pt x="2148" y="2142"/>
                  </a:lnTo>
                  <a:lnTo>
                    <a:pt x="2129" y="2143"/>
                  </a:lnTo>
                  <a:lnTo>
                    <a:pt x="2110" y="2148"/>
                  </a:lnTo>
                  <a:lnTo>
                    <a:pt x="2092" y="2153"/>
                  </a:lnTo>
                  <a:lnTo>
                    <a:pt x="2082" y="2157"/>
                  </a:lnTo>
                  <a:lnTo>
                    <a:pt x="2074" y="2163"/>
                  </a:lnTo>
                  <a:lnTo>
                    <a:pt x="2067" y="2168"/>
                  </a:lnTo>
                  <a:lnTo>
                    <a:pt x="2060" y="2175"/>
                  </a:lnTo>
                  <a:lnTo>
                    <a:pt x="2053" y="2182"/>
                  </a:lnTo>
                  <a:lnTo>
                    <a:pt x="2048" y="2190"/>
                  </a:lnTo>
                  <a:lnTo>
                    <a:pt x="2043" y="2200"/>
                  </a:lnTo>
                  <a:lnTo>
                    <a:pt x="2041" y="2211"/>
                  </a:lnTo>
                  <a:lnTo>
                    <a:pt x="2039" y="2222"/>
                  </a:lnTo>
                  <a:lnTo>
                    <a:pt x="2038" y="2233"/>
                  </a:lnTo>
                  <a:lnTo>
                    <a:pt x="2038" y="2233"/>
                  </a:lnTo>
                  <a:lnTo>
                    <a:pt x="2039" y="2247"/>
                  </a:lnTo>
                  <a:lnTo>
                    <a:pt x="2041" y="2259"/>
                  </a:lnTo>
                  <a:lnTo>
                    <a:pt x="2043" y="2269"/>
                  </a:lnTo>
                  <a:lnTo>
                    <a:pt x="2048" y="2280"/>
                  </a:lnTo>
                  <a:lnTo>
                    <a:pt x="2052" y="2288"/>
                  </a:lnTo>
                  <a:lnTo>
                    <a:pt x="2059" y="2296"/>
                  </a:lnTo>
                  <a:lnTo>
                    <a:pt x="2064" y="2303"/>
                  </a:lnTo>
                  <a:lnTo>
                    <a:pt x="2072" y="2310"/>
                  </a:lnTo>
                  <a:lnTo>
                    <a:pt x="2079" y="2316"/>
                  </a:lnTo>
                  <a:lnTo>
                    <a:pt x="2088" y="2320"/>
                  </a:lnTo>
                  <a:lnTo>
                    <a:pt x="2105" y="2327"/>
                  </a:lnTo>
                  <a:lnTo>
                    <a:pt x="2123" y="2331"/>
                  </a:lnTo>
                  <a:lnTo>
                    <a:pt x="2141" y="2332"/>
                  </a:lnTo>
                  <a:lnTo>
                    <a:pt x="2141" y="2332"/>
                  </a:lnTo>
                  <a:lnTo>
                    <a:pt x="2157" y="2330"/>
                  </a:lnTo>
                  <a:lnTo>
                    <a:pt x="2166" y="2328"/>
                  </a:lnTo>
                  <a:lnTo>
                    <a:pt x="2174" y="2325"/>
                  </a:lnTo>
                  <a:lnTo>
                    <a:pt x="2184" y="2321"/>
                  </a:lnTo>
                  <a:lnTo>
                    <a:pt x="2192" y="2316"/>
                  </a:lnTo>
                  <a:lnTo>
                    <a:pt x="2201" y="2310"/>
                  </a:lnTo>
                  <a:lnTo>
                    <a:pt x="2208" y="2303"/>
                  </a:lnTo>
                  <a:lnTo>
                    <a:pt x="2208" y="2325"/>
                  </a:lnTo>
                  <a:lnTo>
                    <a:pt x="2276" y="2325"/>
                  </a:lnTo>
                  <a:lnTo>
                    <a:pt x="2276" y="2138"/>
                  </a:lnTo>
                  <a:lnTo>
                    <a:pt x="2276" y="2138"/>
                  </a:lnTo>
                  <a:lnTo>
                    <a:pt x="2276" y="2127"/>
                  </a:lnTo>
                  <a:lnTo>
                    <a:pt x="2275" y="2117"/>
                  </a:lnTo>
                  <a:lnTo>
                    <a:pt x="2272" y="2108"/>
                  </a:lnTo>
                  <a:lnTo>
                    <a:pt x="2270" y="2098"/>
                  </a:lnTo>
                  <a:lnTo>
                    <a:pt x="2264" y="2090"/>
                  </a:lnTo>
                  <a:lnTo>
                    <a:pt x="2260" y="2081"/>
                  </a:lnTo>
                  <a:lnTo>
                    <a:pt x="2253" y="2074"/>
                  </a:lnTo>
                  <a:lnTo>
                    <a:pt x="2246" y="2068"/>
                  </a:lnTo>
                  <a:lnTo>
                    <a:pt x="2239" y="2062"/>
                  </a:lnTo>
                  <a:lnTo>
                    <a:pt x="2231" y="2056"/>
                  </a:lnTo>
                  <a:lnTo>
                    <a:pt x="2221" y="2052"/>
                  </a:lnTo>
                  <a:lnTo>
                    <a:pt x="2212" y="2048"/>
                  </a:lnTo>
                  <a:lnTo>
                    <a:pt x="2201" y="2045"/>
                  </a:lnTo>
                  <a:lnTo>
                    <a:pt x="2190" y="2044"/>
                  </a:lnTo>
                  <a:lnTo>
                    <a:pt x="2177" y="2043"/>
                  </a:lnTo>
                  <a:lnTo>
                    <a:pt x="2165" y="2041"/>
                  </a:lnTo>
                  <a:lnTo>
                    <a:pt x="2165" y="2041"/>
                  </a:lnTo>
                  <a:lnTo>
                    <a:pt x="2150" y="2043"/>
                  </a:lnTo>
                  <a:lnTo>
                    <a:pt x="2137" y="2043"/>
                  </a:lnTo>
                  <a:lnTo>
                    <a:pt x="2123" y="2045"/>
                  </a:lnTo>
                  <a:lnTo>
                    <a:pt x="2110" y="2048"/>
                  </a:lnTo>
                  <a:lnTo>
                    <a:pt x="2097" y="2052"/>
                  </a:lnTo>
                  <a:lnTo>
                    <a:pt x="2085" y="2056"/>
                  </a:lnTo>
                  <a:lnTo>
                    <a:pt x="2072" y="2062"/>
                  </a:lnTo>
                  <a:lnTo>
                    <a:pt x="2060" y="2069"/>
                  </a:lnTo>
                  <a:lnTo>
                    <a:pt x="2088" y="2116"/>
                  </a:lnTo>
                  <a:close/>
                  <a:moveTo>
                    <a:pt x="2107" y="2233"/>
                  </a:moveTo>
                  <a:lnTo>
                    <a:pt x="2107" y="2233"/>
                  </a:lnTo>
                  <a:lnTo>
                    <a:pt x="2107" y="2225"/>
                  </a:lnTo>
                  <a:lnTo>
                    <a:pt x="2110" y="2216"/>
                  </a:lnTo>
                  <a:lnTo>
                    <a:pt x="2114" y="2210"/>
                  </a:lnTo>
                  <a:lnTo>
                    <a:pt x="2119" y="2204"/>
                  </a:lnTo>
                  <a:lnTo>
                    <a:pt x="2126" y="2200"/>
                  </a:lnTo>
                  <a:lnTo>
                    <a:pt x="2134" y="2197"/>
                  </a:lnTo>
                  <a:lnTo>
                    <a:pt x="2144" y="2194"/>
                  </a:lnTo>
                  <a:lnTo>
                    <a:pt x="2154" y="2194"/>
                  </a:lnTo>
                  <a:lnTo>
                    <a:pt x="2154" y="2194"/>
                  </a:lnTo>
                  <a:lnTo>
                    <a:pt x="2169" y="2194"/>
                  </a:lnTo>
                  <a:lnTo>
                    <a:pt x="2183" y="2197"/>
                  </a:lnTo>
                  <a:lnTo>
                    <a:pt x="2195" y="2201"/>
                  </a:lnTo>
                  <a:lnTo>
                    <a:pt x="2208" y="2208"/>
                  </a:lnTo>
                  <a:lnTo>
                    <a:pt x="2208" y="2245"/>
                  </a:lnTo>
                  <a:lnTo>
                    <a:pt x="2208" y="2245"/>
                  </a:lnTo>
                  <a:lnTo>
                    <a:pt x="2205" y="2251"/>
                  </a:lnTo>
                  <a:lnTo>
                    <a:pt x="2199" y="2256"/>
                  </a:lnTo>
                  <a:lnTo>
                    <a:pt x="2194" y="2262"/>
                  </a:lnTo>
                  <a:lnTo>
                    <a:pt x="2187" y="2266"/>
                  </a:lnTo>
                  <a:lnTo>
                    <a:pt x="2180" y="2270"/>
                  </a:lnTo>
                  <a:lnTo>
                    <a:pt x="2172" y="2273"/>
                  </a:lnTo>
                  <a:lnTo>
                    <a:pt x="2163" y="2274"/>
                  </a:lnTo>
                  <a:lnTo>
                    <a:pt x="2154" y="2276"/>
                  </a:lnTo>
                  <a:lnTo>
                    <a:pt x="2154" y="2276"/>
                  </a:lnTo>
                  <a:lnTo>
                    <a:pt x="2144" y="2274"/>
                  </a:lnTo>
                  <a:lnTo>
                    <a:pt x="2134" y="2272"/>
                  </a:lnTo>
                  <a:lnTo>
                    <a:pt x="2126" y="2269"/>
                  </a:lnTo>
                  <a:lnTo>
                    <a:pt x="2119" y="2263"/>
                  </a:lnTo>
                  <a:lnTo>
                    <a:pt x="2114" y="2258"/>
                  </a:lnTo>
                  <a:lnTo>
                    <a:pt x="2110" y="2251"/>
                  </a:lnTo>
                  <a:lnTo>
                    <a:pt x="2108" y="2243"/>
                  </a:lnTo>
                  <a:lnTo>
                    <a:pt x="2107" y="2233"/>
                  </a:lnTo>
                  <a:lnTo>
                    <a:pt x="2107" y="2233"/>
                  </a:lnTo>
                  <a:close/>
                  <a:moveTo>
                    <a:pt x="2915" y="2245"/>
                  </a:moveTo>
                  <a:lnTo>
                    <a:pt x="2915" y="2245"/>
                  </a:lnTo>
                  <a:lnTo>
                    <a:pt x="2905" y="2254"/>
                  </a:lnTo>
                  <a:lnTo>
                    <a:pt x="2893" y="2261"/>
                  </a:lnTo>
                  <a:lnTo>
                    <a:pt x="2886" y="2263"/>
                  </a:lnTo>
                  <a:lnTo>
                    <a:pt x="2878" y="2266"/>
                  </a:lnTo>
                  <a:lnTo>
                    <a:pt x="2869" y="2268"/>
                  </a:lnTo>
                  <a:lnTo>
                    <a:pt x="2861" y="2269"/>
                  </a:lnTo>
                  <a:lnTo>
                    <a:pt x="2861" y="2269"/>
                  </a:lnTo>
                  <a:lnTo>
                    <a:pt x="2854" y="2268"/>
                  </a:lnTo>
                  <a:lnTo>
                    <a:pt x="2846" y="2268"/>
                  </a:lnTo>
                  <a:lnTo>
                    <a:pt x="2836" y="2265"/>
                  </a:lnTo>
                  <a:lnTo>
                    <a:pt x="2825" y="2259"/>
                  </a:lnTo>
                  <a:lnTo>
                    <a:pt x="2816" y="2252"/>
                  </a:lnTo>
                  <a:lnTo>
                    <a:pt x="2811" y="2247"/>
                  </a:lnTo>
                  <a:lnTo>
                    <a:pt x="2807" y="2241"/>
                  </a:lnTo>
                  <a:lnTo>
                    <a:pt x="2805" y="2234"/>
                  </a:lnTo>
                  <a:lnTo>
                    <a:pt x="2802" y="2226"/>
                  </a:lnTo>
                  <a:lnTo>
                    <a:pt x="2800" y="2218"/>
                  </a:lnTo>
                  <a:lnTo>
                    <a:pt x="2799" y="2208"/>
                  </a:lnTo>
                  <a:lnTo>
                    <a:pt x="2969" y="2208"/>
                  </a:lnTo>
                  <a:lnTo>
                    <a:pt x="2969" y="2208"/>
                  </a:lnTo>
                  <a:lnTo>
                    <a:pt x="2970" y="2188"/>
                  </a:lnTo>
                  <a:lnTo>
                    <a:pt x="2970" y="2188"/>
                  </a:lnTo>
                  <a:lnTo>
                    <a:pt x="2970" y="2171"/>
                  </a:lnTo>
                  <a:lnTo>
                    <a:pt x="2967" y="2156"/>
                  </a:lnTo>
                  <a:lnTo>
                    <a:pt x="2966" y="2141"/>
                  </a:lnTo>
                  <a:lnTo>
                    <a:pt x="2962" y="2127"/>
                  </a:lnTo>
                  <a:lnTo>
                    <a:pt x="2958" y="2114"/>
                  </a:lnTo>
                  <a:lnTo>
                    <a:pt x="2952" y="2102"/>
                  </a:lnTo>
                  <a:lnTo>
                    <a:pt x="2945" y="2091"/>
                  </a:lnTo>
                  <a:lnTo>
                    <a:pt x="2938" y="2081"/>
                  </a:lnTo>
                  <a:lnTo>
                    <a:pt x="2930" y="2072"/>
                  </a:lnTo>
                  <a:lnTo>
                    <a:pt x="2922" y="2065"/>
                  </a:lnTo>
                  <a:lnTo>
                    <a:pt x="2912" y="2058"/>
                  </a:lnTo>
                  <a:lnTo>
                    <a:pt x="2901" y="2052"/>
                  </a:lnTo>
                  <a:lnTo>
                    <a:pt x="2890" y="2048"/>
                  </a:lnTo>
                  <a:lnTo>
                    <a:pt x="2879" y="2044"/>
                  </a:lnTo>
                  <a:lnTo>
                    <a:pt x="2867" y="2043"/>
                  </a:lnTo>
                  <a:lnTo>
                    <a:pt x="2853" y="2041"/>
                  </a:lnTo>
                  <a:lnTo>
                    <a:pt x="2853" y="2041"/>
                  </a:lnTo>
                  <a:lnTo>
                    <a:pt x="2840" y="2043"/>
                  </a:lnTo>
                  <a:lnTo>
                    <a:pt x="2828" y="2044"/>
                  </a:lnTo>
                  <a:lnTo>
                    <a:pt x="2816" y="2048"/>
                  </a:lnTo>
                  <a:lnTo>
                    <a:pt x="2803" y="2052"/>
                  </a:lnTo>
                  <a:lnTo>
                    <a:pt x="2792" y="2058"/>
                  </a:lnTo>
                  <a:lnTo>
                    <a:pt x="2783" y="2066"/>
                  </a:lnTo>
                  <a:lnTo>
                    <a:pt x="2773" y="2073"/>
                  </a:lnTo>
                  <a:lnTo>
                    <a:pt x="2765" y="2083"/>
                  </a:lnTo>
                  <a:lnTo>
                    <a:pt x="2756" y="2092"/>
                  </a:lnTo>
                  <a:lnTo>
                    <a:pt x="2749" y="2103"/>
                  </a:lnTo>
                  <a:lnTo>
                    <a:pt x="2744" y="2116"/>
                  </a:lnTo>
                  <a:lnTo>
                    <a:pt x="2738" y="2128"/>
                  </a:lnTo>
                  <a:lnTo>
                    <a:pt x="2734" y="2142"/>
                  </a:lnTo>
                  <a:lnTo>
                    <a:pt x="2731" y="2157"/>
                  </a:lnTo>
                  <a:lnTo>
                    <a:pt x="2730" y="2171"/>
                  </a:lnTo>
                  <a:lnTo>
                    <a:pt x="2729" y="2188"/>
                  </a:lnTo>
                  <a:lnTo>
                    <a:pt x="2729" y="2188"/>
                  </a:lnTo>
                  <a:lnTo>
                    <a:pt x="2730" y="2203"/>
                  </a:lnTo>
                  <a:lnTo>
                    <a:pt x="2731" y="2218"/>
                  </a:lnTo>
                  <a:lnTo>
                    <a:pt x="2734" y="2233"/>
                  </a:lnTo>
                  <a:lnTo>
                    <a:pt x="2738" y="2247"/>
                  </a:lnTo>
                  <a:lnTo>
                    <a:pt x="2744" y="2259"/>
                  </a:lnTo>
                  <a:lnTo>
                    <a:pt x="2749" y="2272"/>
                  </a:lnTo>
                  <a:lnTo>
                    <a:pt x="2756" y="2283"/>
                  </a:lnTo>
                  <a:lnTo>
                    <a:pt x="2765" y="2292"/>
                  </a:lnTo>
                  <a:lnTo>
                    <a:pt x="2774" y="2301"/>
                  </a:lnTo>
                  <a:lnTo>
                    <a:pt x="2784" y="2309"/>
                  </a:lnTo>
                  <a:lnTo>
                    <a:pt x="2795" y="2316"/>
                  </a:lnTo>
                  <a:lnTo>
                    <a:pt x="2806" y="2321"/>
                  </a:lnTo>
                  <a:lnTo>
                    <a:pt x="2818" y="2325"/>
                  </a:lnTo>
                  <a:lnTo>
                    <a:pt x="2832" y="2330"/>
                  </a:lnTo>
                  <a:lnTo>
                    <a:pt x="2846" y="2331"/>
                  </a:lnTo>
                  <a:lnTo>
                    <a:pt x="2861" y="2332"/>
                  </a:lnTo>
                  <a:lnTo>
                    <a:pt x="2861" y="2332"/>
                  </a:lnTo>
                  <a:lnTo>
                    <a:pt x="2875" y="2331"/>
                  </a:lnTo>
                  <a:lnTo>
                    <a:pt x="2887" y="2330"/>
                  </a:lnTo>
                  <a:lnTo>
                    <a:pt x="2901" y="2325"/>
                  </a:lnTo>
                  <a:lnTo>
                    <a:pt x="2913" y="2321"/>
                  </a:lnTo>
                  <a:lnTo>
                    <a:pt x="2926" y="2314"/>
                  </a:lnTo>
                  <a:lnTo>
                    <a:pt x="2937" y="2308"/>
                  </a:lnTo>
                  <a:lnTo>
                    <a:pt x="2948" y="2298"/>
                  </a:lnTo>
                  <a:lnTo>
                    <a:pt x="2959" y="2288"/>
                  </a:lnTo>
                  <a:lnTo>
                    <a:pt x="2915" y="2245"/>
                  </a:lnTo>
                  <a:close/>
                  <a:moveTo>
                    <a:pt x="2800" y="2157"/>
                  </a:moveTo>
                  <a:lnTo>
                    <a:pt x="2800" y="2157"/>
                  </a:lnTo>
                  <a:lnTo>
                    <a:pt x="2802" y="2145"/>
                  </a:lnTo>
                  <a:lnTo>
                    <a:pt x="2805" y="2134"/>
                  </a:lnTo>
                  <a:lnTo>
                    <a:pt x="2809" y="2124"/>
                  </a:lnTo>
                  <a:lnTo>
                    <a:pt x="2816" y="2116"/>
                  </a:lnTo>
                  <a:lnTo>
                    <a:pt x="2822" y="2109"/>
                  </a:lnTo>
                  <a:lnTo>
                    <a:pt x="2831" y="2105"/>
                  </a:lnTo>
                  <a:lnTo>
                    <a:pt x="2840" y="2101"/>
                  </a:lnTo>
                  <a:lnTo>
                    <a:pt x="2851" y="2101"/>
                  </a:lnTo>
                  <a:lnTo>
                    <a:pt x="2851" y="2101"/>
                  </a:lnTo>
                  <a:lnTo>
                    <a:pt x="2864" y="2102"/>
                  </a:lnTo>
                  <a:lnTo>
                    <a:pt x="2875" y="2105"/>
                  </a:lnTo>
                  <a:lnTo>
                    <a:pt x="2883" y="2110"/>
                  </a:lnTo>
                  <a:lnTo>
                    <a:pt x="2890" y="2119"/>
                  </a:lnTo>
                  <a:lnTo>
                    <a:pt x="2896" y="2127"/>
                  </a:lnTo>
                  <a:lnTo>
                    <a:pt x="2900" y="2136"/>
                  </a:lnTo>
                  <a:lnTo>
                    <a:pt x="2902" y="2148"/>
                  </a:lnTo>
                  <a:lnTo>
                    <a:pt x="2904" y="2157"/>
                  </a:lnTo>
                  <a:lnTo>
                    <a:pt x="2800" y="2157"/>
                  </a:lnTo>
                  <a:close/>
                  <a:moveTo>
                    <a:pt x="3578" y="2245"/>
                  </a:moveTo>
                  <a:lnTo>
                    <a:pt x="3578" y="2245"/>
                  </a:lnTo>
                  <a:lnTo>
                    <a:pt x="3567" y="2254"/>
                  </a:lnTo>
                  <a:lnTo>
                    <a:pt x="3556" y="2261"/>
                  </a:lnTo>
                  <a:lnTo>
                    <a:pt x="3548" y="2263"/>
                  </a:lnTo>
                  <a:lnTo>
                    <a:pt x="3541" y="2266"/>
                  </a:lnTo>
                  <a:lnTo>
                    <a:pt x="3533" y="2268"/>
                  </a:lnTo>
                  <a:lnTo>
                    <a:pt x="3523" y="2269"/>
                  </a:lnTo>
                  <a:lnTo>
                    <a:pt x="3523" y="2269"/>
                  </a:lnTo>
                  <a:lnTo>
                    <a:pt x="3516" y="2268"/>
                  </a:lnTo>
                  <a:lnTo>
                    <a:pt x="3508" y="2268"/>
                  </a:lnTo>
                  <a:lnTo>
                    <a:pt x="3498" y="2265"/>
                  </a:lnTo>
                  <a:lnTo>
                    <a:pt x="3488" y="2259"/>
                  </a:lnTo>
                  <a:lnTo>
                    <a:pt x="3479" y="2252"/>
                  </a:lnTo>
                  <a:lnTo>
                    <a:pt x="3475" y="2247"/>
                  </a:lnTo>
                  <a:lnTo>
                    <a:pt x="3471" y="2241"/>
                  </a:lnTo>
                  <a:lnTo>
                    <a:pt x="3468" y="2234"/>
                  </a:lnTo>
                  <a:lnTo>
                    <a:pt x="3465" y="2226"/>
                  </a:lnTo>
                  <a:lnTo>
                    <a:pt x="3462" y="2218"/>
                  </a:lnTo>
                  <a:lnTo>
                    <a:pt x="3461" y="2208"/>
                  </a:lnTo>
                  <a:lnTo>
                    <a:pt x="3632" y="2208"/>
                  </a:lnTo>
                  <a:lnTo>
                    <a:pt x="3632" y="2208"/>
                  </a:lnTo>
                  <a:lnTo>
                    <a:pt x="3633" y="2188"/>
                  </a:lnTo>
                  <a:lnTo>
                    <a:pt x="3633" y="2188"/>
                  </a:lnTo>
                  <a:lnTo>
                    <a:pt x="3632" y="2171"/>
                  </a:lnTo>
                  <a:lnTo>
                    <a:pt x="3630" y="2156"/>
                  </a:lnTo>
                  <a:lnTo>
                    <a:pt x="3628" y="2141"/>
                  </a:lnTo>
                  <a:lnTo>
                    <a:pt x="3625" y="2127"/>
                  </a:lnTo>
                  <a:lnTo>
                    <a:pt x="3619" y="2114"/>
                  </a:lnTo>
                  <a:lnTo>
                    <a:pt x="3614" y="2102"/>
                  </a:lnTo>
                  <a:lnTo>
                    <a:pt x="3608" y="2091"/>
                  </a:lnTo>
                  <a:lnTo>
                    <a:pt x="3602" y="2081"/>
                  </a:lnTo>
                  <a:lnTo>
                    <a:pt x="3593" y="2072"/>
                  </a:lnTo>
                  <a:lnTo>
                    <a:pt x="3584" y="2065"/>
                  </a:lnTo>
                  <a:lnTo>
                    <a:pt x="3574" y="2058"/>
                  </a:lnTo>
                  <a:lnTo>
                    <a:pt x="3564" y="2052"/>
                  </a:lnTo>
                  <a:lnTo>
                    <a:pt x="3553" y="2048"/>
                  </a:lnTo>
                  <a:lnTo>
                    <a:pt x="3541" y="2044"/>
                  </a:lnTo>
                  <a:lnTo>
                    <a:pt x="3528" y="2043"/>
                  </a:lnTo>
                  <a:lnTo>
                    <a:pt x="3516" y="2041"/>
                  </a:lnTo>
                  <a:lnTo>
                    <a:pt x="3516" y="2041"/>
                  </a:lnTo>
                  <a:lnTo>
                    <a:pt x="3502" y="2043"/>
                  </a:lnTo>
                  <a:lnTo>
                    <a:pt x="3490" y="2044"/>
                  </a:lnTo>
                  <a:lnTo>
                    <a:pt x="3477" y="2048"/>
                  </a:lnTo>
                  <a:lnTo>
                    <a:pt x="3466" y="2052"/>
                  </a:lnTo>
                  <a:lnTo>
                    <a:pt x="3455" y="2058"/>
                  </a:lnTo>
                  <a:lnTo>
                    <a:pt x="3444" y="2066"/>
                  </a:lnTo>
                  <a:lnTo>
                    <a:pt x="3436" y="2073"/>
                  </a:lnTo>
                  <a:lnTo>
                    <a:pt x="3426" y="2083"/>
                  </a:lnTo>
                  <a:lnTo>
                    <a:pt x="3418" y="2092"/>
                  </a:lnTo>
                  <a:lnTo>
                    <a:pt x="3411" y="2103"/>
                  </a:lnTo>
                  <a:lnTo>
                    <a:pt x="3406" y="2116"/>
                  </a:lnTo>
                  <a:lnTo>
                    <a:pt x="3400" y="2128"/>
                  </a:lnTo>
                  <a:lnTo>
                    <a:pt x="3397" y="2142"/>
                  </a:lnTo>
                  <a:lnTo>
                    <a:pt x="3393" y="2157"/>
                  </a:lnTo>
                  <a:lnTo>
                    <a:pt x="3392" y="2171"/>
                  </a:lnTo>
                  <a:lnTo>
                    <a:pt x="3392" y="2188"/>
                  </a:lnTo>
                  <a:lnTo>
                    <a:pt x="3392" y="2188"/>
                  </a:lnTo>
                  <a:lnTo>
                    <a:pt x="3392" y="2203"/>
                  </a:lnTo>
                  <a:lnTo>
                    <a:pt x="3393" y="2218"/>
                  </a:lnTo>
                  <a:lnTo>
                    <a:pt x="3396" y="2233"/>
                  </a:lnTo>
                  <a:lnTo>
                    <a:pt x="3400" y="2247"/>
                  </a:lnTo>
                  <a:lnTo>
                    <a:pt x="3406" y="2259"/>
                  </a:lnTo>
                  <a:lnTo>
                    <a:pt x="3413" y="2272"/>
                  </a:lnTo>
                  <a:lnTo>
                    <a:pt x="3420" y="2283"/>
                  </a:lnTo>
                  <a:lnTo>
                    <a:pt x="3428" y="2292"/>
                  </a:lnTo>
                  <a:lnTo>
                    <a:pt x="3436" y="2301"/>
                  </a:lnTo>
                  <a:lnTo>
                    <a:pt x="3446" y="2309"/>
                  </a:lnTo>
                  <a:lnTo>
                    <a:pt x="3457" y="2316"/>
                  </a:lnTo>
                  <a:lnTo>
                    <a:pt x="3469" y="2321"/>
                  </a:lnTo>
                  <a:lnTo>
                    <a:pt x="3482" y="2325"/>
                  </a:lnTo>
                  <a:lnTo>
                    <a:pt x="3494" y="2330"/>
                  </a:lnTo>
                  <a:lnTo>
                    <a:pt x="3509" y="2331"/>
                  </a:lnTo>
                  <a:lnTo>
                    <a:pt x="3523" y="2332"/>
                  </a:lnTo>
                  <a:lnTo>
                    <a:pt x="3523" y="2332"/>
                  </a:lnTo>
                  <a:lnTo>
                    <a:pt x="3537" y="2331"/>
                  </a:lnTo>
                  <a:lnTo>
                    <a:pt x="3551" y="2330"/>
                  </a:lnTo>
                  <a:lnTo>
                    <a:pt x="3563" y="2325"/>
                  </a:lnTo>
                  <a:lnTo>
                    <a:pt x="3575" y="2321"/>
                  </a:lnTo>
                  <a:lnTo>
                    <a:pt x="3588" y="2314"/>
                  </a:lnTo>
                  <a:lnTo>
                    <a:pt x="3600" y="2308"/>
                  </a:lnTo>
                  <a:lnTo>
                    <a:pt x="3611" y="2298"/>
                  </a:lnTo>
                  <a:lnTo>
                    <a:pt x="3621" y="2288"/>
                  </a:lnTo>
                  <a:lnTo>
                    <a:pt x="3578" y="2245"/>
                  </a:lnTo>
                  <a:close/>
                  <a:moveTo>
                    <a:pt x="3462" y="2157"/>
                  </a:moveTo>
                  <a:lnTo>
                    <a:pt x="3462" y="2157"/>
                  </a:lnTo>
                  <a:lnTo>
                    <a:pt x="3464" y="2145"/>
                  </a:lnTo>
                  <a:lnTo>
                    <a:pt x="3468" y="2134"/>
                  </a:lnTo>
                  <a:lnTo>
                    <a:pt x="3472" y="2124"/>
                  </a:lnTo>
                  <a:lnTo>
                    <a:pt x="3477" y="2116"/>
                  </a:lnTo>
                  <a:lnTo>
                    <a:pt x="3486" y="2109"/>
                  </a:lnTo>
                  <a:lnTo>
                    <a:pt x="3494" y="2105"/>
                  </a:lnTo>
                  <a:lnTo>
                    <a:pt x="3504" y="2101"/>
                  </a:lnTo>
                  <a:lnTo>
                    <a:pt x="3515" y="2101"/>
                  </a:lnTo>
                  <a:lnTo>
                    <a:pt x="3515" y="2101"/>
                  </a:lnTo>
                  <a:lnTo>
                    <a:pt x="3527" y="2102"/>
                  </a:lnTo>
                  <a:lnTo>
                    <a:pt x="3537" y="2105"/>
                  </a:lnTo>
                  <a:lnTo>
                    <a:pt x="3546" y="2110"/>
                  </a:lnTo>
                  <a:lnTo>
                    <a:pt x="3553" y="2119"/>
                  </a:lnTo>
                  <a:lnTo>
                    <a:pt x="3559" y="2127"/>
                  </a:lnTo>
                  <a:lnTo>
                    <a:pt x="3563" y="2136"/>
                  </a:lnTo>
                  <a:lnTo>
                    <a:pt x="3566" y="2148"/>
                  </a:lnTo>
                  <a:lnTo>
                    <a:pt x="3567" y="2157"/>
                  </a:lnTo>
                  <a:lnTo>
                    <a:pt x="3462" y="2157"/>
                  </a:lnTo>
                  <a:close/>
                  <a:moveTo>
                    <a:pt x="3297" y="2229"/>
                  </a:moveTo>
                  <a:lnTo>
                    <a:pt x="3297" y="2229"/>
                  </a:lnTo>
                  <a:lnTo>
                    <a:pt x="3297" y="2239"/>
                  </a:lnTo>
                  <a:lnTo>
                    <a:pt x="3298" y="2245"/>
                  </a:lnTo>
                  <a:lnTo>
                    <a:pt x="3301" y="2252"/>
                  </a:lnTo>
                  <a:lnTo>
                    <a:pt x="3304" y="2258"/>
                  </a:lnTo>
                  <a:lnTo>
                    <a:pt x="3308" y="2262"/>
                  </a:lnTo>
                  <a:lnTo>
                    <a:pt x="3313" y="2265"/>
                  </a:lnTo>
                  <a:lnTo>
                    <a:pt x="3319" y="2266"/>
                  </a:lnTo>
                  <a:lnTo>
                    <a:pt x="3327" y="2266"/>
                  </a:lnTo>
                  <a:lnTo>
                    <a:pt x="3327" y="2266"/>
                  </a:lnTo>
                  <a:lnTo>
                    <a:pt x="3337" y="2266"/>
                  </a:lnTo>
                  <a:lnTo>
                    <a:pt x="3348" y="2263"/>
                  </a:lnTo>
                  <a:lnTo>
                    <a:pt x="3359" y="2259"/>
                  </a:lnTo>
                  <a:lnTo>
                    <a:pt x="3369" y="2254"/>
                  </a:lnTo>
                  <a:lnTo>
                    <a:pt x="3360" y="2319"/>
                  </a:lnTo>
                  <a:lnTo>
                    <a:pt x="3360" y="2319"/>
                  </a:lnTo>
                  <a:lnTo>
                    <a:pt x="3348" y="2324"/>
                  </a:lnTo>
                  <a:lnTo>
                    <a:pt x="3333" y="2328"/>
                  </a:lnTo>
                  <a:lnTo>
                    <a:pt x="3317" y="2331"/>
                  </a:lnTo>
                  <a:lnTo>
                    <a:pt x="3302" y="2332"/>
                  </a:lnTo>
                  <a:lnTo>
                    <a:pt x="3302" y="2332"/>
                  </a:lnTo>
                  <a:lnTo>
                    <a:pt x="3293" y="2331"/>
                  </a:lnTo>
                  <a:lnTo>
                    <a:pt x="3283" y="2330"/>
                  </a:lnTo>
                  <a:lnTo>
                    <a:pt x="3275" y="2327"/>
                  </a:lnTo>
                  <a:lnTo>
                    <a:pt x="3268" y="2324"/>
                  </a:lnTo>
                  <a:lnTo>
                    <a:pt x="3261" y="2320"/>
                  </a:lnTo>
                  <a:lnTo>
                    <a:pt x="3254" y="2316"/>
                  </a:lnTo>
                  <a:lnTo>
                    <a:pt x="3250" y="2310"/>
                  </a:lnTo>
                  <a:lnTo>
                    <a:pt x="3244" y="2303"/>
                  </a:lnTo>
                  <a:lnTo>
                    <a:pt x="3238" y="2291"/>
                  </a:lnTo>
                  <a:lnTo>
                    <a:pt x="3232" y="2276"/>
                  </a:lnTo>
                  <a:lnTo>
                    <a:pt x="3229" y="2262"/>
                  </a:lnTo>
                  <a:lnTo>
                    <a:pt x="3228" y="2247"/>
                  </a:lnTo>
                  <a:lnTo>
                    <a:pt x="3228" y="2112"/>
                  </a:lnTo>
                  <a:lnTo>
                    <a:pt x="3185" y="2112"/>
                  </a:lnTo>
                  <a:lnTo>
                    <a:pt x="3185" y="2048"/>
                  </a:lnTo>
                  <a:lnTo>
                    <a:pt x="3228" y="2048"/>
                  </a:lnTo>
                  <a:lnTo>
                    <a:pt x="3228" y="1976"/>
                  </a:lnTo>
                  <a:lnTo>
                    <a:pt x="3297" y="1942"/>
                  </a:lnTo>
                  <a:lnTo>
                    <a:pt x="3297" y="2048"/>
                  </a:lnTo>
                  <a:lnTo>
                    <a:pt x="3359" y="2048"/>
                  </a:lnTo>
                  <a:lnTo>
                    <a:pt x="3359" y="2112"/>
                  </a:lnTo>
                  <a:lnTo>
                    <a:pt x="3297" y="2112"/>
                  </a:lnTo>
                  <a:lnTo>
                    <a:pt x="3297" y="2229"/>
                  </a:lnTo>
                  <a:close/>
                  <a:moveTo>
                    <a:pt x="3163" y="2319"/>
                  </a:moveTo>
                  <a:lnTo>
                    <a:pt x="3163" y="2319"/>
                  </a:lnTo>
                  <a:lnTo>
                    <a:pt x="3151" y="2324"/>
                  </a:lnTo>
                  <a:lnTo>
                    <a:pt x="3137" y="2328"/>
                  </a:lnTo>
                  <a:lnTo>
                    <a:pt x="3122" y="2331"/>
                  </a:lnTo>
                  <a:lnTo>
                    <a:pt x="3107" y="2332"/>
                  </a:lnTo>
                  <a:lnTo>
                    <a:pt x="3107" y="2332"/>
                  </a:lnTo>
                  <a:lnTo>
                    <a:pt x="3096" y="2331"/>
                  </a:lnTo>
                  <a:lnTo>
                    <a:pt x="3087" y="2330"/>
                  </a:lnTo>
                  <a:lnTo>
                    <a:pt x="3079" y="2327"/>
                  </a:lnTo>
                  <a:lnTo>
                    <a:pt x="3071" y="2324"/>
                  </a:lnTo>
                  <a:lnTo>
                    <a:pt x="3065" y="2320"/>
                  </a:lnTo>
                  <a:lnTo>
                    <a:pt x="3058" y="2316"/>
                  </a:lnTo>
                  <a:lnTo>
                    <a:pt x="3053" y="2310"/>
                  </a:lnTo>
                  <a:lnTo>
                    <a:pt x="3049" y="2303"/>
                  </a:lnTo>
                  <a:lnTo>
                    <a:pt x="3040" y="2291"/>
                  </a:lnTo>
                  <a:lnTo>
                    <a:pt x="3036" y="2276"/>
                  </a:lnTo>
                  <a:lnTo>
                    <a:pt x="3032" y="2262"/>
                  </a:lnTo>
                  <a:lnTo>
                    <a:pt x="3032" y="2247"/>
                  </a:lnTo>
                  <a:lnTo>
                    <a:pt x="3032" y="2112"/>
                  </a:lnTo>
                  <a:lnTo>
                    <a:pt x="2989" y="2112"/>
                  </a:lnTo>
                  <a:lnTo>
                    <a:pt x="2989" y="2048"/>
                  </a:lnTo>
                  <a:lnTo>
                    <a:pt x="3032" y="2048"/>
                  </a:lnTo>
                  <a:lnTo>
                    <a:pt x="3032" y="1976"/>
                  </a:lnTo>
                  <a:lnTo>
                    <a:pt x="3101" y="1942"/>
                  </a:lnTo>
                  <a:lnTo>
                    <a:pt x="3101" y="2048"/>
                  </a:lnTo>
                  <a:lnTo>
                    <a:pt x="3159" y="2048"/>
                  </a:lnTo>
                  <a:lnTo>
                    <a:pt x="3159" y="2112"/>
                  </a:lnTo>
                  <a:lnTo>
                    <a:pt x="3101" y="2112"/>
                  </a:lnTo>
                  <a:lnTo>
                    <a:pt x="3101" y="2229"/>
                  </a:lnTo>
                  <a:lnTo>
                    <a:pt x="3101" y="2229"/>
                  </a:lnTo>
                  <a:lnTo>
                    <a:pt x="3101" y="2239"/>
                  </a:lnTo>
                  <a:lnTo>
                    <a:pt x="3102" y="2245"/>
                  </a:lnTo>
                  <a:lnTo>
                    <a:pt x="3105" y="2252"/>
                  </a:lnTo>
                  <a:lnTo>
                    <a:pt x="3108" y="2258"/>
                  </a:lnTo>
                  <a:lnTo>
                    <a:pt x="3112" y="2262"/>
                  </a:lnTo>
                  <a:lnTo>
                    <a:pt x="3118" y="2265"/>
                  </a:lnTo>
                  <a:lnTo>
                    <a:pt x="3123" y="2266"/>
                  </a:lnTo>
                  <a:lnTo>
                    <a:pt x="3130" y="2266"/>
                  </a:lnTo>
                  <a:lnTo>
                    <a:pt x="3130" y="2266"/>
                  </a:lnTo>
                  <a:lnTo>
                    <a:pt x="3141" y="2266"/>
                  </a:lnTo>
                  <a:lnTo>
                    <a:pt x="3152" y="2263"/>
                  </a:lnTo>
                  <a:lnTo>
                    <a:pt x="3162" y="2259"/>
                  </a:lnTo>
                  <a:lnTo>
                    <a:pt x="3171" y="2254"/>
                  </a:lnTo>
                  <a:lnTo>
                    <a:pt x="3163" y="2319"/>
                  </a:lnTo>
                  <a:close/>
                  <a:moveTo>
                    <a:pt x="3840" y="2125"/>
                  </a:moveTo>
                  <a:lnTo>
                    <a:pt x="3840" y="2125"/>
                  </a:lnTo>
                  <a:lnTo>
                    <a:pt x="3830" y="2119"/>
                  </a:lnTo>
                  <a:lnTo>
                    <a:pt x="3819" y="2114"/>
                  </a:lnTo>
                  <a:lnTo>
                    <a:pt x="3807" y="2112"/>
                  </a:lnTo>
                  <a:lnTo>
                    <a:pt x="3795" y="2110"/>
                  </a:lnTo>
                  <a:lnTo>
                    <a:pt x="3795" y="2110"/>
                  </a:lnTo>
                  <a:lnTo>
                    <a:pt x="3784" y="2112"/>
                  </a:lnTo>
                  <a:lnTo>
                    <a:pt x="3773" y="2114"/>
                  </a:lnTo>
                  <a:lnTo>
                    <a:pt x="3764" y="2120"/>
                  </a:lnTo>
                  <a:lnTo>
                    <a:pt x="3757" y="2127"/>
                  </a:lnTo>
                  <a:lnTo>
                    <a:pt x="3752" y="2135"/>
                  </a:lnTo>
                  <a:lnTo>
                    <a:pt x="3749" y="2146"/>
                  </a:lnTo>
                  <a:lnTo>
                    <a:pt x="3746" y="2160"/>
                  </a:lnTo>
                  <a:lnTo>
                    <a:pt x="3745" y="2175"/>
                  </a:lnTo>
                  <a:lnTo>
                    <a:pt x="3745" y="2325"/>
                  </a:lnTo>
                  <a:lnTo>
                    <a:pt x="3677" y="2325"/>
                  </a:lnTo>
                  <a:lnTo>
                    <a:pt x="3677" y="2048"/>
                  </a:lnTo>
                  <a:lnTo>
                    <a:pt x="3745" y="2048"/>
                  </a:lnTo>
                  <a:lnTo>
                    <a:pt x="3745" y="2072"/>
                  </a:lnTo>
                  <a:lnTo>
                    <a:pt x="3745" y="2072"/>
                  </a:lnTo>
                  <a:lnTo>
                    <a:pt x="3752" y="2065"/>
                  </a:lnTo>
                  <a:lnTo>
                    <a:pt x="3759" y="2058"/>
                  </a:lnTo>
                  <a:lnTo>
                    <a:pt x="3766" y="2054"/>
                  </a:lnTo>
                  <a:lnTo>
                    <a:pt x="3774" y="2050"/>
                  </a:lnTo>
                  <a:lnTo>
                    <a:pt x="3781" y="2045"/>
                  </a:lnTo>
                  <a:lnTo>
                    <a:pt x="3789" y="2044"/>
                  </a:lnTo>
                  <a:lnTo>
                    <a:pt x="3797" y="2043"/>
                  </a:lnTo>
                  <a:lnTo>
                    <a:pt x="3807" y="2041"/>
                  </a:lnTo>
                  <a:lnTo>
                    <a:pt x="3807" y="2041"/>
                  </a:lnTo>
                  <a:lnTo>
                    <a:pt x="3821" y="2043"/>
                  </a:lnTo>
                  <a:lnTo>
                    <a:pt x="3835" y="2047"/>
                  </a:lnTo>
                  <a:lnTo>
                    <a:pt x="3847" y="2051"/>
                  </a:lnTo>
                  <a:lnTo>
                    <a:pt x="3858" y="2058"/>
                  </a:lnTo>
                  <a:lnTo>
                    <a:pt x="3840" y="2125"/>
                  </a:lnTo>
                  <a:close/>
                  <a:moveTo>
                    <a:pt x="740" y="1982"/>
                  </a:moveTo>
                  <a:lnTo>
                    <a:pt x="740" y="2008"/>
                  </a:lnTo>
                  <a:lnTo>
                    <a:pt x="671" y="2008"/>
                  </a:lnTo>
                  <a:lnTo>
                    <a:pt x="671" y="1939"/>
                  </a:lnTo>
                  <a:lnTo>
                    <a:pt x="740" y="1939"/>
                  </a:lnTo>
                  <a:lnTo>
                    <a:pt x="740" y="1982"/>
                  </a:lnTo>
                  <a:close/>
                  <a:moveTo>
                    <a:pt x="1218" y="2048"/>
                  </a:moveTo>
                  <a:lnTo>
                    <a:pt x="1286" y="2048"/>
                  </a:lnTo>
                  <a:lnTo>
                    <a:pt x="1286" y="2190"/>
                  </a:lnTo>
                  <a:lnTo>
                    <a:pt x="1286" y="2325"/>
                  </a:lnTo>
                  <a:lnTo>
                    <a:pt x="1218" y="2325"/>
                  </a:lnTo>
                  <a:lnTo>
                    <a:pt x="1218" y="2048"/>
                  </a:lnTo>
                  <a:close/>
                  <a:moveTo>
                    <a:pt x="1286" y="1974"/>
                  </a:moveTo>
                  <a:lnTo>
                    <a:pt x="1286" y="2008"/>
                  </a:lnTo>
                  <a:lnTo>
                    <a:pt x="1218" y="2008"/>
                  </a:lnTo>
                  <a:lnTo>
                    <a:pt x="1218" y="1939"/>
                  </a:lnTo>
                  <a:lnTo>
                    <a:pt x="1286" y="1939"/>
                  </a:lnTo>
                  <a:lnTo>
                    <a:pt x="1286" y="1974"/>
                  </a:lnTo>
                  <a:close/>
                  <a:moveTo>
                    <a:pt x="3173" y="2553"/>
                  </a:moveTo>
                  <a:lnTo>
                    <a:pt x="3173" y="2553"/>
                  </a:lnTo>
                  <a:lnTo>
                    <a:pt x="3166" y="2547"/>
                  </a:lnTo>
                  <a:lnTo>
                    <a:pt x="3159" y="2542"/>
                  </a:lnTo>
                  <a:lnTo>
                    <a:pt x="3152" y="2538"/>
                  </a:lnTo>
                  <a:lnTo>
                    <a:pt x="3144" y="2534"/>
                  </a:lnTo>
                  <a:lnTo>
                    <a:pt x="3137" y="2531"/>
                  </a:lnTo>
                  <a:lnTo>
                    <a:pt x="3129" y="2530"/>
                  </a:lnTo>
                  <a:lnTo>
                    <a:pt x="3111" y="2527"/>
                  </a:lnTo>
                  <a:lnTo>
                    <a:pt x="3111" y="2527"/>
                  </a:lnTo>
                  <a:lnTo>
                    <a:pt x="3098" y="2528"/>
                  </a:lnTo>
                  <a:lnTo>
                    <a:pt x="3087" y="2530"/>
                  </a:lnTo>
                  <a:lnTo>
                    <a:pt x="3076" y="2534"/>
                  </a:lnTo>
                  <a:lnTo>
                    <a:pt x="3065" y="2538"/>
                  </a:lnTo>
                  <a:lnTo>
                    <a:pt x="3056" y="2543"/>
                  </a:lnTo>
                  <a:lnTo>
                    <a:pt x="3047" y="2549"/>
                  </a:lnTo>
                  <a:lnTo>
                    <a:pt x="3039" y="2557"/>
                  </a:lnTo>
                  <a:lnTo>
                    <a:pt x="3031" y="2565"/>
                  </a:lnTo>
                  <a:lnTo>
                    <a:pt x="3025" y="2575"/>
                  </a:lnTo>
                  <a:lnTo>
                    <a:pt x="3018" y="2586"/>
                  </a:lnTo>
                  <a:lnTo>
                    <a:pt x="3014" y="2597"/>
                  </a:lnTo>
                  <a:lnTo>
                    <a:pt x="3010" y="2611"/>
                  </a:lnTo>
                  <a:lnTo>
                    <a:pt x="3006" y="2623"/>
                  </a:lnTo>
                  <a:lnTo>
                    <a:pt x="3004" y="2639"/>
                  </a:lnTo>
                  <a:lnTo>
                    <a:pt x="3003" y="2654"/>
                  </a:lnTo>
                  <a:lnTo>
                    <a:pt x="3002" y="2670"/>
                  </a:lnTo>
                  <a:lnTo>
                    <a:pt x="3002" y="2670"/>
                  </a:lnTo>
                  <a:lnTo>
                    <a:pt x="3003" y="2687"/>
                  </a:lnTo>
                  <a:lnTo>
                    <a:pt x="3004" y="2702"/>
                  </a:lnTo>
                  <a:lnTo>
                    <a:pt x="3006" y="2717"/>
                  </a:lnTo>
                  <a:lnTo>
                    <a:pt x="3010" y="2732"/>
                  </a:lnTo>
                  <a:lnTo>
                    <a:pt x="3013" y="2745"/>
                  </a:lnTo>
                  <a:lnTo>
                    <a:pt x="3018" y="2757"/>
                  </a:lnTo>
                  <a:lnTo>
                    <a:pt x="3024" y="2768"/>
                  </a:lnTo>
                  <a:lnTo>
                    <a:pt x="3031" y="2778"/>
                  </a:lnTo>
                  <a:lnTo>
                    <a:pt x="3038" y="2787"/>
                  </a:lnTo>
                  <a:lnTo>
                    <a:pt x="3046" y="2794"/>
                  </a:lnTo>
                  <a:lnTo>
                    <a:pt x="3054" y="2801"/>
                  </a:lnTo>
                  <a:lnTo>
                    <a:pt x="3064" y="2807"/>
                  </a:lnTo>
                  <a:lnTo>
                    <a:pt x="3075" y="2812"/>
                  </a:lnTo>
                  <a:lnTo>
                    <a:pt x="3086" y="2815"/>
                  </a:lnTo>
                  <a:lnTo>
                    <a:pt x="3097" y="2816"/>
                  </a:lnTo>
                  <a:lnTo>
                    <a:pt x="3109" y="2818"/>
                  </a:lnTo>
                  <a:lnTo>
                    <a:pt x="3109" y="2818"/>
                  </a:lnTo>
                  <a:lnTo>
                    <a:pt x="3118" y="2816"/>
                  </a:lnTo>
                  <a:lnTo>
                    <a:pt x="3127" y="2815"/>
                  </a:lnTo>
                  <a:lnTo>
                    <a:pt x="3135" y="2814"/>
                  </a:lnTo>
                  <a:lnTo>
                    <a:pt x="3142" y="2811"/>
                  </a:lnTo>
                  <a:lnTo>
                    <a:pt x="3151" y="2807"/>
                  </a:lnTo>
                  <a:lnTo>
                    <a:pt x="3159" y="2803"/>
                  </a:lnTo>
                  <a:lnTo>
                    <a:pt x="3166" y="2797"/>
                  </a:lnTo>
                  <a:lnTo>
                    <a:pt x="3173" y="2790"/>
                  </a:lnTo>
                  <a:lnTo>
                    <a:pt x="3173" y="2811"/>
                  </a:lnTo>
                  <a:lnTo>
                    <a:pt x="3242" y="2811"/>
                  </a:lnTo>
                  <a:lnTo>
                    <a:pt x="3242" y="2418"/>
                  </a:lnTo>
                  <a:lnTo>
                    <a:pt x="3173" y="2452"/>
                  </a:lnTo>
                  <a:lnTo>
                    <a:pt x="3173" y="2553"/>
                  </a:lnTo>
                  <a:close/>
                  <a:moveTo>
                    <a:pt x="3124" y="2754"/>
                  </a:moveTo>
                  <a:lnTo>
                    <a:pt x="3124" y="2754"/>
                  </a:lnTo>
                  <a:lnTo>
                    <a:pt x="3115" y="2753"/>
                  </a:lnTo>
                  <a:lnTo>
                    <a:pt x="3107" y="2750"/>
                  </a:lnTo>
                  <a:lnTo>
                    <a:pt x="3097" y="2746"/>
                  </a:lnTo>
                  <a:lnTo>
                    <a:pt x="3089" y="2738"/>
                  </a:lnTo>
                  <a:lnTo>
                    <a:pt x="3082" y="2727"/>
                  </a:lnTo>
                  <a:lnTo>
                    <a:pt x="3076" y="2712"/>
                  </a:lnTo>
                  <a:lnTo>
                    <a:pt x="3073" y="2692"/>
                  </a:lnTo>
                  <a:lnTo>
                    <a:pt x="3072" y="2667"/>
                  </a:lnTo>
                  <a:lnTo>
                    <a:pt x="3072" y="2667"/>
                  </a:lnTo>
                  <a:lnTo>
                    <a:pt x="3073" y="2647"/>
                  </a:lnTo>
                  <a:lnTo>
                    <a:pt x="3076" y="2629"/>
                  </a:lnTo>
                  <a:lnTo>
                    <a:pt x="3082" y="2615"/>
                  </a:lnTo>
                  <a:lnTo>
                    <a:pt x="3089" y="2605"/>
                  </a:lnTo>
                  <a:lnTo>
                    <a:pt x="3097" y="2599"/>
                  </a:lnTo>
                  <a:lnTo>
                    <a:pt x="3105" y="2593"/>
                  </a:lnTo>
                  <a:lnTo>
                    <a:pt x="3115" y="2592"/>
                  </a:lnTo>
                  <a:lnTo>
                    <a:pt x="3123" y="2590"/>
                  </a:lnTo>
                  <a:lnTo>
                    <a:pt x="3123" y="2590"/>
                  </a:lnTo>
                  <a:lnTo>
                    <a:pt x="3133" y="2592"/>
                  </a:lnTo>
                  <a:lnTo>
                    <a:pt x="3141" y="2593"/>
                  </a:lnTo>
                  <a:lnTo>
                    <a:pt x="3148" y="2596"/>
                  </a:lnTo>
                  <a:lnTo>
                    <a:pt x="3155" y="2600"/>
                  </a:lnTo>
                  <a:lnTo>
                    <a:pt x="3160" y="2604"/>
                  </a:lnTo>
                  <a:lnTo>
                    <a:pt x="3166" y="2608"/>
                  </a:lnTo>
                  <a:lnTo>
                    <a:pt x="3173" y="2618"/>
                  </a:lnTo>
                  <a:lnTo>
                    <a:pt x="3173" y="2727"/>
                  </a:lnTo>
                  <a:lnTo>
                    <a:pt x="3173" y="2727"/>
                  </a:lnTo>
                  <a:lnTo>
                    <a:pt x="3164" y="2736"/>
                  </a:lnTo>
                  <a:lnTo>
                    <a:pt x="3155" y="2745"/>
                  </a:lnTo>
                  <a:lnTo>
                    <a:pt x="3148" y="2749"/>
                  </a:lnTo>
                  <a:lnTo>
                    <a:pt x="3141" y="2752"/>
                  </a:lnTo>
                  <a:lnTo>
                    <a:pt x="3133" y="2753"/>
                  </a:lnTo>
                  <a:lnTo>
                    <a:pt x="3124" y="2754"/>
                  </a:lnTo>
                  <a:lnTo>
                    <a:pt x="3124" y="2754"/>
                  </a:lnTo>
                  <a:close/>
                  <a:moveTo>
                    <a:pt x="840" y="2611"/>
                  </a:moveTo>
                  <a:lnTo>
                    <a:pt x="840" y="2611"/>
                  </a:lnTo>
                  <a:lnTo>
                    <a:pt x="830" y="2605"/>
                  </a:lnTo>
                  <a:lnTo>
                    <a:pt x="819" y="2600"/>
                  </a:lnTo>
                  <a:lnTo>
                    <a:pt x="807" y="2597"/>
                  </a:lnTo>
                  <a:lnTo>
                    <a:pt x="794" y="2596"/>
                  </a:lnTo>
                  <a:lnTo>
                    <a:pt x="794" y="2596"/>
                  </a:lnTo>
                  <a:lnTo>
                    <a:pt x="783" y="2597"/>
                  </a:lnTo>
                  <a:lnTo>
                    <a:pt x="772" y="2600"/>
                  </a:lnTo>
                  <a:lnTo>
                    <a:pt x="764" y="2605"/>
                  </a:lnTo>
                  <a:lnTo>
                    <a:pt x="757" y="2612"/>
                  </a:lnTo>
                  <a:lnTo>
                    <a:pt x="751" y="2621"/>
                  </a:lnTo>
                  <a:lnTo>
                    <a:pt x="749" y="2632"/>
                  </a:lnTo>
                  <a:lnTo>
                    <a:pt x="746" y="2645"/>
                  </a:lnTo>
                  <a:lnTo>
                    <a:pt x="745" y="2661"/>
                  </a:lnTo>
                  <a:lnTo>
                    <a:pt x="745" y="2811"/>
                  </a:lnTo>
                  <a:lnTo>
                    <a:pt x="677" y="2811"/>
                  </a:lnTo>
                  <a:lnTo>
                    <a:pt x="677" y="2534"/>
                  </a:lnTo>
                  <a:lnTo>
                    <a:pt x="745" y="2534"/>
                  </a:lnTo>
                  <a:lnTo>
                    <a:pt x="745" y="2557"/>
                  </a:lnTo>
                  <a:lnTo>
                    <a:pt x="745" y="2557"/>
                  </a:lnTo>
                  <a:lnTo>
                    <a:pt x="751" y="2550"/>
                  </a:lnTo>
                  <a:lnTo>
                    <a:pt x="758" y="2543"/>
                  </a:lnTo>
                  <a:lnTo>
                    <a:pt x="765" y="2539"/>
                  </a:lnTo>
                  <a:lnTo>
                    <a:pt x="774" y="2535"/>
                  </a:lnTo>
                  <a:lnTo>
                    <a:pt x="780" y="2531"/>
                  </a:lnTo>
                  <a:lnTo>
                    <a:pt x="789" y="2530"/>
                  </a:lnTo>
                  <a:lnTo>
                    <a:pt x="798" y="2528"/>
                  </a:lnTo>
                  <a:lnTo>
                    <a:pt x="807" y="2527"/>
                  </a:lnTo>
                  <a:lnTo>
                    <a:pt x="807" y="2527"/>
                  </a:lnTo>
                  <a:lnTo>
                    <a:pt x="820" y="2528"/>
                  </a:lnTo>
                  <a:lnTo>
                    <a:pt x="834" y="2532"/>
                  </a:lnTo>
                  <a:lnTo>
                    <a:pt x="848" y="2538"/>
                  </a:lnTo>
                  <a:lnTo>
                    <a:pt x="859" y="2545"/>
                  </a:lnTo>
                  <a:lnTo>
                    <a:pt x="840" y="2611"/>
                  </a:lnTo>
                  <a:close/>
                  <a:moveTo>
                    <a:pt x="301" y="2534"/>
                  </a:moveTo>
                  <a:lnTo>
                    <a:pt x="368" y="2534"/>
                  </a:lnTo>
                  <a:lnTo>
                    <a:pt x="290" y="2811"/>
                  </a:lnTo>
                  <a:lnTo>
                    <a:pt x="230" y="2811"/>
                  </a:lnTo>
                  <a:lnTo>
                    <a:pt x="200" y="2696"/>
                  </a:lnTo>
                  <a:lnTo>
                    <a:pt x="200" y="2696"/>
                  </a:lnTo>
                  <a:lnTo>
                    <a:pt x="185" y="2636"/>
                  </a:lnTo>
                  <a:lnTo>
                    <a:pt x="185" y="2636"/>
                  </a:lnTo>
                  <a:lnTo>
                    <a:pt x="178" y="2665"/>
                  </a:lnTo>
                  <a:lnTo>
                    <a:pt x="170" y="2698"/>
                  </a:lnTo>
                  <a:lnTo>
                    <a:pt x="138" y="2811"/>
                  </a:lnTo>
                  <a:lnTo>
                    <a:pt x="79" y="2811"/>
                  </a:lnTo>
                  <a:lnTo>
                    <a:pt x="79" y="2810"/>
                  </a:lnTo>
                  <a:lnTo>
                    <a:pt x="0" y="2534"/>
                  </a:lnTo>
                  <a:lnTo>
                    <a:pt x="72" y="2534"/>
                  </a:lnTo>
                  <a:lnTo>
                    <a:pt x="97" y="2637"/>
                  </a:lnTo>
                  <a:lnTo>
                    <a:pt x="97" y="2637"/>
                  </a:lnTo>
                  <a:lnTo>
                    <a:pt x="103" y="2670"/>
                  </a:lnTo>
                  <a:lnTo>
                    <a:pt x="110" y="2705"/>
                  </a:lnTo>
                  <a:lnTo>
                    <a:pt x="110" y="2705"/>
                  </a:lnTo>
                  <a:lnTo>
                    <a:pt x="119" y="2670"/>
                  </a:lnTo>
                  <a:lnTo>
                    <a:pt x="127" y="2636"/>
                  </a:lnTo>
                  <a:lnTo>
                    <a:pt x="156" y="2534"/>
                  </a:lnTo>
                  <a:lnTo>
                    <a:pt x="215" y="2534"/>
                  </a:lnTo>
                  <a:lnTo>
                    <a:pt x="244" y="2636"/>
                  </a:lnTo>
                  <a:lnTo>
                    <a:pt x="244" y="2636"/>
                  </a:lnTo>
                  <a:lnTo>
                    <a:pt x="252" y="2669"/>
                  </a:lnTo>
                  <a:lnTo>
                    <a:pt x="261" y="2706"/>
                  </a:lnTo>
                  <a:lnTo>
                    <a:pt x="261" y="2706"/>
                  </a:lnTo>
                  <a:lnTo>
                    <a:pt x="266" y="2674"/>
                  </a:lnTo>
                  <a:lnTo>
                    <a:pt x="274" y="2636"/>
                  </a:lnTo>
                  <a:lnTo>
                    <a:pt x="301" y="2534"/>
                  </a:lnTo>
                  <a:close/>
                  <a:moveTo>
                    <a:pt x="507" y="2527"/>
                  </a:moveTo>
                  <a:lnTo>
                    <a:pt x="507" y="2527"/>
                  </a:lnTo>
                  <a:lnTo>
                    <a:pt x="495" y="2528"/>
                  </a:lnTo>
                  <a:lnTo>
                    <a:pt x="481" y="2530"/>
                  </a:lnTo>
                  <a:lnTo>
                    <a:pt x="469" y="2534"/>
                  </a:lnTo>
                  <a:lnTo>
                    <a:pt x="458" y="2538"/>
                  </a:lnTo>
                  <a:lnTo>
                    <a:pt x="447" y="2543"/>
                  </a:lnTo>
                  <a:lnTo>
                    <a:pt x="436" y="2550"/>
                  </a:lnTo>
                  <a:lnTo>
                    <a:pt x="426" y="2559"/>
                  </a:lnTo>
                  <a:lnTo>
                    <a:pt x="418" y="2568"/>
                  </a:lnTo>
                  <a:lnTo>
                    <a:pt x="410" y="2578"/>
                  </a:lnTo>
                  <a:lnTo>
                    <a:pt x="403" y="2589"/>
                  </a:lnTo>
                  <a:lnTo>
                    <a:pt x="396" y="2601"/>
                  </a:lnTo>
                  <a:lnTo>
                    <a:pt x="392" y="2614"/>
                  </a:lnTo>
                  <a:lnTo>
                    <a:pt x="387" y="2627"/>
                  </a:lnTo>
                  <a:lnTo>
                    <a:pt x="385" y="2641"/>
                  </a:lnTo>
                  <a:lnTo>
                    <a:pt x="382" y="2656"/>
                  </a:lnTo>
                  <a:lnTo>
                    <a:pt x="382" y="2673"/>
                  </a:lnTo>
                  <a:lnTo>
                    <a:pt x="382" y="2673"/>
                  </a:lnTo>
                  <a:lnTo>
                    <a:pt x="382" y="2688"/>
                  </a:lnTo>
                  <a:lnTo>
                    <a:pt x="385" y="2703"/>
                  </a:lnTo>
                  <a:lnTo>
                    <a:pt x="387" y="2717"/>
                  </a:lnTo>
                  <a:lnTo>
                    <a:pt x="392" y="2731"/>
                  </a:lnTo>
                  <a:lnTo>
                    <a:pt x="396" y="2743"/>
                  </a:lnTo>
                  <a:lnTo>
                    <a:pt x="403" y="2756"/>
                  </a:lnTo>
                  <a:lnTo>
                    <a:pt x="410" y="2767"/>
                  </a:lnTo>
                  <a:lnTo>
                    <a:pt x="418" y="2776"/>
                  </a:lnTo>
                  <a:lnTo>
                    <a:pt x="426" y="2786"/>
                  </a:lnTo>
                  <a:lnTo>
                    <a:pt x="436" y="2794"/>
                  </a:lnTo>
                  <a:lnTo>
                    <a:pt x="447" y="2801"/>
                  </a:lnTo>
                  <a:lnTo>
                    <a:pt x="458" y="2807"/>
                  </a:lnTo>
                  <a:lnTo>
                    <a:pt x="469" y="2811"/>
                  </a:lnTo>
                  <a:lnTo>
                    <a:pt x="481" y="2815"/>
                  </a:lnTo>
                  <a:lnTo>
                    <a:pt x="495" y="2816"/>
                  </a:lnTo>
                  <a:lnTo>
                    <a:pt x="507" y="2818"/>
                  </a:lnTo>
                  <a:lnTo>
                    <a:pt x="507" y="2818"/>
                  </a:lnTo>
                  <a:lnTo>
                    <a:pt x="521" y="2816"/>
                  </a:lnTo>
                  <a:lnTo>
                    <a:pt x="535" y="2815"/>
                  </a:lnTo>
                  <a:lnTo>
                    <a:pt x="547" y="2811"/>
                  </a:lnTo>
                  <a:lnTo>
                    <a:pt x="558" y="2807"/>
                  </a:lnTo>
                  <a:lnTo>
                    <a:pt x="569" y="2801"/>
                  </a:lnTo>
                  <a:lnTo>
                    <a:pt x="580" y="2794"/>
                  </a:lnTo>
                  <a:lnTo>
                    <a:pt x="590" y="2786"/>
                  </a:lnTo>
                  <a:lnTo>
                    <a:pt x="598" y="2776"/>
                  </a:lnTo>
                  <a:lnTo>
                    <a:pt x="607" y="2767"/>
                  </a:lnTo>
                  <a:lnTo>
                    <a:pt x="614" y="2756"/>
                  </a:lnTo>
                  <a:lnTo>
                    <a:pt x="619" y="2743"/>
                  </a:lnTo>
                  <a:lnTo>
                    <a:pt x="625" y="2731"/>
                  </a:lnTo>
                  <a:lnTo>
                    <a:pt x="629" y="2717"/>
                  </a:lnTo>
                  <a:lnTo>
                    <a:pt x="632" y="2703"/>
                  </a:lnTo>
                  <a:lnTo>
                    <a:pt x="634" y="2688"/>
                  </a:lnTo>
                  <a:lnTo>
                    <a:pt x="634" y="2673"/>
                  </a:lnTo>
                  <a:lnTo>
                    <a:pt x="634" y="2673"/>
                  </a:lnTo>
                  <a:lnTo>
                    <a:pt x="634" y="2656"/>
                  </a:lnTo>
                  <a:lnTo>
                    <a:pt x="632" y="2641"/>
                  </a:lnTo>
                  <a:lnTo>
                    <a:pt x="629" y="2627"/>
                  </a:lnTo>
                  <a:lnTo>
                    <a:pt x="625" y="2614"/>
                  </a:lnTo>
                  <a:lnTo>
                    <a:pt x="619" y="2601"/>
                  </a:lnTo>
                  <a:lnTo>
                    <a:pt x="614" y="2589"/>
                  </a:lnTo>
                  <a:lnTo>
                    <a:pt x="607" y="2578"/>
                  </a:lnTo>
                  <a:lnTo>
                    <a:pt x="598" y="2568"/>
                  </a:lnTo>
                  <a:lnTo>
                    <a:pt x="590" y="2559"/>
                  </a:lnTo>
                  <a:lnTo>
                    <a:pt x="580" y="2550"/>
                  </a:lnTo>
                  <a:lnTo>
                    <a:pt x="569" y="2543"/>
                  </a:lnTo>
                  <a:lnTo>
                    <a:pt x="558" y="2538"/>
                  </a:lnTo>
                  <a:lnTo>
                    <a:pt x="547" y="2534"/>
                  </a:lnTo>
                  <a:lnTo>
                    <a:pt x="535" y="2530"/>
                  </a:lnTo>
                  <a:lnTo>
                    <a:pt x="521" y="2528"/>
                  </a:lnTo>
                  <a:lnTo>
                    <a:pt x="507" y="2527"/>
                  </a:lnTo>
                  <a:lnTo>
                    <a:pt x="507" y="2527"/>
                  </a:lnTo>
                  <a:close/>
                  <a:moveTo>
                    <a:pt x="507" y="2753"/>
                  </a:moveTo>
                  <a:lnTo>
                    <a:pt x="507" y="2753"/>
                  </a:lnTo>
                  <a:lnTo>
                    <a:pt x="495" y="2752"/>
                  </a:lnTo>
                  <a:lnTo>
                    <a:pt x="484" y="2747"/>
                  </a:lnTo>
                  <a:lnTo>
                    <a:pt x="476" y="2741"/>
                  </a:lnTo>
                  <a:lnTo>
                    <a:pt x="467" y="2731"/>
                  </a:lnTo>
                  <a:lnTo>
                    <a:pt x="461" y="2720"/>
                  </a:lnTo>
                  <a:lnTo>
                    <a:pt x="455" y="2706"/>
                  </a:lnTo>
                  <a:lnTo>
                    <a:pt x="452" y="2690"/>
                  </a:lnTo>
                  <a:lnTo>
                    <a:pt x="452" y="2673"/>
                  </a:lnTo>
                  <a:lnTo>
                    <a:pt x="452" y="2673"/>
                  </a:lnTo>
                  <a:lnTo>
                    <a:pt x="452" y="2655"/>
                  </a:lnTo>
                  <a:lnTo>
                    <a:pt x="455" y="2639"/>
                  </a:lnTo>
                  <a:lnTo>
                    <a:pt x="461" y="2626"/>
                  </a:lnTo>
                  <a:lnTo>
                    <a:pt x="467" y="2614"/>
                  </a:lnTo>
                  <a:lnTo>
                    <a:pt x="476" y="2604"/>
                  </a:lnTo>
                  <a:lnTo>
                    <a:pt x="484" y="2597"/>
                  </a:lnTo>
                  <a:lnTo>
                    <a:pt x="495" y="2593"/>
                  </a:lnTo>
                  <a:lnTo>
                    <a:pt x="507" y="2592"/>
                  </a:lnTo>
                  <a:lnTo>
                    <a:pt x="507" y="2592"/>
                  </a:lnTo>
                  <a:lnTo>
                    <a:pt x="520" y="2593"/>
                  </a:lnTo>
                  <a:lnTo>
                    <a:pt x="531" y="2597"/>
                  </a:lnTo>
                  <a:lnTo>
                    <a:pt x="541" y="2604"/>
                  </a:lnTo>
                  <a:lnTo>
                    <a:pt x="549" y="2614"/>
                  </a:lnTo>
                  <a:lnTo>
                    <a:pt x="556" y="2626"/>
                  </a:lnTo>
                  <a:lnTo>
                    <a:pt x="560" y="2639"/>
                  </a:lnTo>
                  <a:lnTo>
                    <a:pt x="563" y="2655"/>
                  </a:lnTo>
                  <a:lnTo>
                    <a:pt x="564" y="2673"/>
                  </a:lnTo>
                  <a:lnTo>
                    <a:pt x="564" y="2673"/>
                  </a:lnTo>
                  <a:lnTo>
                    <a:pt x="563" y="2690"/>
                  </a:lnTo>
                  <a:lnTo>
                    <a:pt x="560" y="2706"/>
                  </a:lnTo>
                  <a:lnTo>
                    <a:pt x="556" y="2720"/>
                  </a:lnTo>
                  <a:lnTo>
                    <a:pt x="549" y="2731"/>
                  </a:lnTo>
                  <a:lnTo>
                    <a:pt x="541" y="2741"/>
                  </a:lnTo>
                  <a:lnTo>
                    <a:pt x="531" y="2747"/>
                  </a:lnTo>
                  <a:lnTo>
                    <a:pt x="520" y="2752"/>
                  </a:lnTo>
                  <a:lnTo>
                    <a:pt x="507" y="2753"/>
                  </a:lnTo>
                  <a:lnTo>
                    <a:pt x="507" y="2753"/>
                  </a:lnTo>
                  <a:close/>
                  <a:moveTo>
                    <a:pt x="2835" y="2611"/>
                  </a:moveTo>
                  <a:lnTo>
                    <a:pt x="2835" y="2611"/>
                  </a:lnTo>
                  <a:lnTo>
                    <a:pt x="2824" y="2605"/>
                  </a:lnTo>
                  <a:lnTo>
                    <a:pt x="2813" y="2600"/>
                  </a:lnTo>
                  <a:lnTo>
                    <a:pt x="2800" y="2597"/>
                  </a:lnTo>
                  <a:lnTo>
                    <a:pt x="2789" y="2596"/>
                  </a:lnTo>
                  <a:lnTo>
                    <a:pt x="2789" y="2596"/>
                  </a:lnTo>
                  <a:lnTo>
                    <a:pt x="2777" y="2597"/>
                  </a:lnTo>
                  <a:lnTo>
                    <a:pt x="2767" y="2600"/>
                  </a:lnTo>
                  <a:lnTo>
                    <a:pt x="2759" y="2605"/>
                  </a:lnTo>
                  <a:lnTo>
                    <a:pt x="2752" y="2612"/>
                  </a:lnTo>
                  <a:lnTo>
                    <a:pt x="2747" y="2621"/>
                  </a:lnTo>
                  <a:lnTo>
                    <a:pt x="2743" y="2632"/>
                  </a:lnTo>
                  <a:lnTo>
                    <a:pt x="2740" y="2645"/>
                  </a:lnTo>
                  <a:lnTo>
                    <a:pt x="2740" y="2661"/>
                  </a:lnTo>
                  <a:lnTo>
                    <a:pt x="2740" y="2811"/>
                  </a:lnTo>
                  <a:lnTo>
                    <a:pt x="2671" y="2811"/>
                  </a:lnTo>
                  <a:lnTo>
                    <a:pt x="2671" y="2534"/>
                  </a:lnTo>
                  <a:lnTo>
                    <a:pt x="2740" y="2534"/>
                  </a:lnTo>
                  <a:lnTo>
                    <a:pt x="2740" y="2557"/>
                  </a:lnTo>
                  <a:lnTo>
                    <a:pt x="2740" y="2557"/>
                  </a:lnTo>
                  <a:lnTo>
                    <a:pt x="2745" y="2550"/>
                  </a:lnTo>
                  <a:lnTo>
                    <a:pt x="2752" y="2543"/>
                  </a:lnTo>
                  <a:lnTo>
                    <a:pt x="2759" y="2539"/>
                  </a:lnTo>
                  <a:lnTo>
                    <a:pt x="2767" y="2535"/>
                  </a:lnTo>
                  <a:lnTo>
                    <a:pt x="2776" y="2531"/>
                  </a:lnTo>
                  <a:lnTo>
                    <a:pt x="2784" y="2530"/>
                  </a:lnTo>
                  <a:lnTo>
                    <a:pt x="2792" y="2528"/>
                  </a:lnTo>
                  <a:lnTo>
                    <a:pt x="2800" y="2527"/>
                  </a:lnTo>
                  <a:lnTo>
                    <a:pt x="2800" y="2527"/>
                  </a:lnTo>
                  <a:lnTo>
                    <a:pt x="2814" y="2528"/>
                  </a:lnTo>
                  <a:lnTo>
                    <a:pt x="2828" y="2532"/>
                  </a:lnTo>
                  <a:lnTo>
                    <a:pt x="2842" y="2538"/>
                  </a:lnTo>
                  <a:lnTo>
                    <a:pt x="2853" y="2545"/>
                  </a:lnTo>
                  <a:lnTo>
                    <a:pt x="2835" y="2611"/>
                  </a:lnTo>
                  <a:close/>
                  <a:moveTo>
                    <a:pt x="2294" y="2534"/>
                  </a:moveTo>
                  <a:lnTo>
                    <a:pt x="2362" y="2534"/>
                  </a:lnTo>
                  <a:lnTo>
                    <a:pt x="2283" y="2811"/>
                  </a:lnTo>
                  <a:lnTo>
                    <a:pt x="2224" y="2811"/>
                  </a:lnTo>
                  <a:lnTo>
                    <a:pt x="2194" y="2696"/>
                  </a:lnTo>
                  <a:lnTo>
                    <a:pt x="2194" y="2696"/>
                  </a:lnTo>
                  <a:lnTo>
                    <a:pt x="2179" y="2636"/>
                  </a:lnTo>
                  <a:lnTo>
                    <a:pt x="2179" y="2636"/>
                  </a:lnTo>
                  <a:lnTo>
                    <a:pt x="2172" y="2665"/>
                  </a:lnTo>
                  <a:lnTo>
                    <a:pt x="2163" y="2698"/>
                  </a:lnTo>
                  <a:lnTo>
                    <a:pt x="2133" y="2811"/>
                  </a:lnTo>
                  <a:lnTo>
                    <a:pt x="2074" y="2811"/>
                  </a:lnTo>
                  <a:lnTo>
                    <a:pt x="2072" y="2810"/>
                  </a:lnTo>
                  <a:lnTo>
                    <a:pt x="1995" y="2534"/>
                  </a:lnTo>
                  <a:lnTo>
                    <a:pt x="2066" y="2534"/>
                  </a:lnTo>
                  <a:lnTo>
                    <a:pt x="2092" y="2637"/>
                  </a:lnTo>
                  <a:lnTo>
                    <a:pt x="2092" y="2637"/>
                  </a:lnTo>
                  <a:lnTo>
                    <a:pt x="2099" y="2670"/>
                  </a:lnTo>
                  <a:lnTo>
                    <a:pt x="2105" y="2705"/>
                  </a:lnTo>
                  <a:lnTo>
                    <a:pt x="2105" y="2705"/>
                  </a:lnTo>
                  <a:lnTo>
                    <a:pt x="2112" y="2670"/>
                  </a:lnTo>
                  <a:lnTo>
                    <a:pt x="2122" y="2636"/>
                  </a:lnTo>
                  <a:lnTo>
                    <a:pt x="2151" y="2534"/>
                  </a:lnTo>
                  <a:lnTo>
                    <a:pt x="2209" y="2534"/>
                  </a:lnTo>
                  <a:lnTo>
                    <a:pt x="2238" y="2636"/>
                  </a:lnTo>
                  <a:lnTo>
                    <a:pt x="2238" y="2636"/>
                  </a:lnTo>
                  <a:lnTo>
                    <a:pt x="2246" y="2669"/>
                  </a:lnTo>
                  <a:lnTo>
                    <a:pt x="2254" y="2706"/>
                  </a:lnTo>
                  <a:lnTo>
                    <a:pt x="2254" y="2706"/>
                  </a:lnTo>
                  <a:lnTo>
                    <a:pt x="2261" y="2674"/>
                  </a:lnTo>
                  <a:lnTo>
                    <a:pt x="2270" y="2636"/>
                  </a:lnTo>
                  <a:lnTo>
                    <a:pt x="2294" y="2534"/>
                  </a:lnTo>
                  <a:close/>
                  <a:moveTo>
                    <a:pt x="2501" y="2527"/>
                  </a:moveTo>
                  <a:lnTo>
                    <a:pt x="2501" y="2527"/>
                  </a:lnTo>
                  <a:lnTo>
                    <a:pt x="2489" y="2528"/>
                  </a:lnTo>
                  <a:lnTo>
                    <a:pt x="2475" y="2530"/>
                  </a:lnTo>
                  <a:lnTo>
                    <a:pt x="2463" y="2534"/>
                  </a:lnTo>
                  <a:lnTo>
                    <a:pt x="2452" y="2538"/>
                  </a:lnTo>
                  <a:lnTo>
                    <a:pt x="2441" y="2543"/>
                  </a:lnTo>
                  <a:lnTo>
                    <a:pt x="2430" y="2552"/>
                  </a:lnTo>
                  <a:lnTo>
                    <a:pt x="2420" y="2559"/>
                  </a:lnTo>
                  <a:lnTo>
                    <a:pt x="2412" y="2568"/>
                  </a:lnTo>
                  <a:lnTo>
                    <a:pt x="2403" y="2578"/>
                  </a:lnTo>
                  <a:lnTo>
                    <a:pt x="2396" y="2589"/>
                  </a:lnTo>
                  <a:lnTo>
                    <a:pt x="2390" y="2601"/>
                  </a:lnTo>
                  <a:lnTo>
                    <a:pt x="2385" y="2614"/>
                  </a:lnTo>
                  <a:lnTo>
                    <a:pt x="2381" y="2627"/>
                  </a:lnTo>
                  <a:lnTo>
                    <a:pt x="2377" y="2643"/>
                  </a:lnTo>
                  <a:lnTo>
                    <a:pt x="2376" y="2656"/>
                  </a:lnTo>
                  <a:lnTo>
                    <a:pt x="2376" y="2673"/>
                  </a:lnTo>
                  <a:lnTo>
                    <a:pt x="2376" y="2673"/>
                  </a:lnTo>
                  <a:lnTo>
                    <a:pt x="2376" y="2688"/>
                  </a:lnTo>
                  <a:lnTo>
                    <a:pt x="2377" y="2703"/>
                  </a:lnTo>
                  <a:lnTo>
                    <a:pt x="2381" y="2717"/>
                  </a:lnTo>
                  <a:lnTo>
                    <a:pt x="2385" y="2731"/>
                  </a:lnTo>
                  <a:lnTo>
                    <a:pt x="2390" y="2743"/>
                  </a:lnTo>
                  <a:lnTo>
                    <a:pt x="2396" y="2756"/>
                  </a:lnTo>
                  <a:lnTo>
                    <a:pt x="2403" y="2767"/>
                  </a:lnTo>
                  <a:lnTo>
                    <a:pt x="2412" y="2776"/>
                  </a:lnTo>
                  <a:lnTo>
                    <a:pt x="2420" y="2786"/>
                  </a:lnTo>
                  <a:lnTo>
                    <a:pt x="2430" y="2794"/>
                  </a:lnTo>
                  <a:lnTo>
                    <a:pt x="2441" y="2801"/>
                  </a:lnTo>
                  <a:lnTo>
                    <a:pt x="2452" y="2807"/>
                  </a:lnTo>
                  <a:lnTo>
                    <a:pt x="2463" y="2811"/>
                  </a:lnTo>
                  <a:lnTo>
                    <a:pt x="2475" y="2815"/>
                  </a:lnTo>
                  <a:lnTo>
                    <a:pt x="2489" y="2816"/>
                  </a:lnTo>
                  <a:lnTo>
                    <a:pt x="2501" y="2818"/>
                  </a:lnTo>
                  <a:lnTo>
                    <a:pt x="2501" y="2818"/>
                  </a:lnTo>
                  <a:lnTo>
                    <a:pt x="2515" y="2816"/>
                  </a:lnTo>
                  <a:lnTo>
                    <a:pt x="2529" y="2815"/>
                  </a:lnTo>
                  <a:lnTo>
                    <a:pt x="2541" y="2811"/>
                  </a:lnTo>
                  <a:lnTo>
                    <a:pt x="2552" y="2807"/>
                  </a:lnTo>
                  <a:lnTo>
                    <a:pt x="2563" y="2801"/>
                  </a:lnTo>
                  <a:lnTo>
                    <a:pt x="2574" y="2794"/>
                  </a:lnTo>
                  <a:lnTo>
                    <a:pt x="2584" y="2786"/>
                  </a:lnTo>
                  <a:lnTo>
                    <a:pt x="2592" y="2776"/>
                  </a:lnTo>
                  <a:lnTo>
                    <a:pt x="2600" y="2767"/>
                  </a:lnTo>
                  <a:lnTo>
                    <a:pt x="2607" y="2756"/>
                  </a:lnTo>
                  <a:lnTo>
                    <a:pt x="2613" y="2743"/>
                  </a:lnTo>
                  <a:lnTo>
                    <a:pt x="2618" y="2731"/>
                  </a:lnTo>
                  <a:lnTo>
                    <a:pt x="2623" y="2717"/>
                  </a:lnTo>
                  <a:lnTo>
                    <a:pt x="2625" y="2703"/>
                  </a:lnTo>
                  <a:lnTo>
                    <a:pt x="2628" y="2688"/>
                  </a:lnTo>
                  <a:lnTo>
                    <a:pt x="2628" y="2673"/>
                  </a:lnTo>
                  <a:lnTo>
                    <a:pt x="2628" y="2673"/>
                  </a:lnTo>
                  <a:lnTo>
                    <a:pt x="2628" y="2656"/>
                  </a:lnTo>
                  <a:lnTo>
                    <a:pt x="2625" y="2643"/>
                  </a:lnTo>
                  <a:lnTo>
                    <a:pt x="2623" y="2627"/>
                  </a:lnTo>
                  <a:lnTo>
                    <a:pt x="2618" y="2614"/>
                  </a:lnTo>
                  <a:lnTo>
                    <a:pt x="2613" y="2601"/>
                  </a:lnTo>
                  <a:lnTo>
                    <a:pt x="2607" y="2589"/>
                  </a:lnTo>
                  <a:lnTo>
                    <a:pt x="2600" y="2578"/>
                  </a:lnTo>
                  <a:lnTo>
                    <a:pt x="2592" y="2568"/>
                  </a:lnTo>
                  <a:lnTo>
                    <a:pt x="2584" y="2559"/>
                  </a:lnTo>
                  <a:lnTo>
                    <a:pt x="2574" y="2552"/>
                  </a:lnTo>
                  <a:lnTo>
                    <a:pt x="2563" y="2543"/>
                  </a:lnTo>
                  <a:lnTo>
                    <a:pt x="2552" y="2538"/>
                  </a:lnTo>
                  <a:lnTo>
                    <a:pt x="2541" y="2534"/>
                  </a:lnTo>
                  <a:lnTo>
                    <a:pt x="2529" y="2530"/>
                  </a:lnTo>
                  <a:lnTo>
                    <a:pt x="2515" y="2528"/>
                  </a:lnTo>
                  <a:lnTo>
                    <a:pt x="2501" y="2527"/>
                  </a:lnTo>
                  <a:lnTo>
                    <a:pt x="2501" y="2527"/>
                  </a:lnTo>
                  <a:close/>
                  <a:moveTo>
                    <a:pt x="2501" y="2753"/>
                  </a:moveTo>
                  <a:lnTo>
                    <a:pt x="2501" y="2753"/>
                  </a:lnTo>
                  <a:lnTo>
                    <a:pt x="2489" y="2752"/>
                  </a:lnTo>
                  <a:lnTo>
                    <a:pt x="2479" y="2747"/>
                  </a:lnTo>
                  <a:lnTo>
                    <a:pt x="2470" y="2741"/>
                  </a:lnTo>
                  <a:lnTo>
                    <a:pt x="2461" y="2731"/>
                  </a:lnTo>
                  <a:lnTo>
                    <a:pt x="2454" y="2720"/>
                  </a:lnTo>
                  <a:lnTo>
                    <a:pt x="2449" y="2706"/>
                  </a:lnTo>
                  <a:lnTo>
                    <a:pt x="2446" y="2690"/>
                  </a:lnTo>
                  <a:lnTo>
                    <a:pt x="2446" y="2673"/>
                  </a:lnTo>
                  <a:lnTo>
                    <a:pt x="2446" y="2673"/>
                  </a:lnTo>
                  <a:lnTo>
                    <a:pt x="2446" y="2655"/>
                  </a:lnTo>
                  <a:lnTo>
                    <a:pt x="2449" y="2640"/>
                  </a:lnTo>
                  <a:lnTo>
                    <a:pt x="2454" y="2626"/>
                  </a:lnTo>
                  <a:lnTo>
                    <a:pt x="2461" y="2614"/>
                  </a:lnTo>
                  <a:lnTo>
                    <a:pt x="2470" y="2604"/>
                  </a:lnTo>
                  <a:lnTo>
                    <a:pt x="2479" y="2597"/>
                  </a:lnTo>
                  <a:lnTo>
                    <a:pt x="2489" y="2593"/>
                  </a:lnTo>
                  <a:lnTo>
                    <a:pt x="2501" y="2592"/>
                  </a:lnTo>
                  <a:lnTo>
                    <a:pt x="2501" y="2592"/>
                  </a:lnTo>
                  <a:lnTo>
                    <a:pt x="2514" y="2593"/>
                  </a:lnTo>
                  <a:lnTo>
                    <a:pt x="2525" y="2597"/>
                  </a:lnTo>
                  <a:lnTo>
                    <a:pt x="2534" y="2604"/>
                  </a:lnTo>
                  <a:lnTo>
                    <a:pt x="2543" y="2614"/>
                  </a:lnTo>
                  <a:lnTo>
                    <a:pt x="2549" y="2626"/>
                  </a:lnTo>
                  <a:lnTo>
                    <a:pt x="2554" y="2640"/>
                  </a:lnTo>
                  <a:lnTo>
                    <a:pt x="2556" y="2655"/>
                  </a:lnTo>
                  <a:lnTo>
                    <a:pt x="2558" y="2673"/>
                  </a:lnTo>
                  <a:lnTo>
                    <a:pt x="2558" y="2673"/>
                  </a:lnTo>
                  <a:lnTo>
                    <a:pt x="2556" y="2690"/>
                  </a:lnTo>
                  <a:lnTo>
                    <a:pt x="2554" y="2706"/>
                  </a:lnTo>
                  <a:lnTo>
                    <a:pt x="2549" y="2720"/>
                  </a:lnTo>
                  <a:lnTo>
                    <a:pt x="2543" y="2731"/>
                  </a:lnTo>
                  <a:lnTo>
                    <a:pt x="2534" y="2741"/>
                  </a:lnTo>
                  <a:lnTo>
                    <a:pt x="2525" y="2747"/>
                  </a:lnTo>
                  <a:lnTo>
                    <a:pt x="2514" y="2752"/>
                  </a:lnTo>
                  <a:lnTo>
                    <a:pt x="2501" y="2753"/>
                  </a:lnTo>
                  <a:lnTo>
                    <a:pt x="2501" y="2753"/>
                  </a:lnTo>
                  <a:close/>
                  <a:moveTo>
                    <a:pt x="1045" y="2625"/>
                  </a:moveTo>
                  <a:lnTo>
                    <a:pt x="1129" y="2811"/>
                  </a:lnTo>
                  <a:lnTo>
                    <a:pt x="1053" y="2811"/>
                  </a:lnTo>
                  <a:lnTo>
                    <a:pt x="996" y="2683"/>
                  </a:lnTo>
                  <a:lnTo>
                    <a:pt x="958" y="2728"/>
                  </a:lnTo>
                  <a:lnTo>
                    <a:pt x="958" y="2811"/>
                  </a:lnTo>
                  <a:lnTo>
                    <a:pt x="891" y="2811"/>
                  </a:lnTo>
                  <a:lnTo>
                    <a:pt x="891" y="2452"/>
                  </a:lnTo>
                  <a:lnTo>
                    <a:pt x="958" y="2418"/>
                  </a:lnTo>
                  <a:lnTo>
                    <a:pt x="958" y="2640"/>
                  </a:lnTo>
                  <a:lnTo>
                    <a:pt x="958" y="2640"/>
                  </a:lnTo>
                  <a:lnTo>
                    <a:pt x="984" y="2604"/>
                  </a:lnTo>
                  <a:lnTo>
                    <a:pt x="1040" y="2534"/>
                  </a:lnTo>
                  <a:lnTo>
                    <a:pt x="1120" y="2534"/>
                  </a:lnTo>
                  <a:lnTo>
                    <a:pt x="1045" y="2625"/>
                  </a:lnTo>
                  <a:close/>
                  <a:moveTo>
                    <a:pt x="1371" y="2811"/>
                  </a:moveTo>
                  <a:lnTo>
                    <a:pt x="1302" y="2811"/>
                  </a:lnTo>
                  <a:lnTo>
                    <a:pt x="1302" y="2534"/>
                  </a:lnTo>
                  <a:lnTo>
                    <a:pt x="1371" y="2534"/>
                  </a:lnTo>
                  <a:lnTo>
                    <a:pt x="1371" y="2557"/>
                  </a:lnTo>
                  <a:lnTo>
                    <a:pt x="1371" y="2557"/>
                  </a:lnTo>
                  <a:lnTo>
                    <a:pt x="1377" y="2550"/>
                  </a:lnTo>
                  <a:lnTo>
                    <a:pt x="1384" y="2545"/>
                  </a:lnTo>
                  <a:lnTo>
                    <a:pt x="1393" y="2539"/>
                  </a:lnTo>
                  <a:lnTo>
                    <a:pt x="1401" y="2535"/>
                  </a:lnTo>
                  <a:lnTo>
                    <a:pt x="1411" y="2532"/>
                  </a:lnTo>
                  <a:lnTo>
                    <a:pt x="1420" y="2530"/>
                  </a:lnTo>
                  <a:lnTo>
                    <a:pt x="1430" y="2528"/>
                  </a:lnTo>
                  <a:lnTo>
                    <a:pt x="1441" y="2527"/>
                  </a:lnTo>
                  <a:lnTo>
                    <a:pt x="1441" y="2527"/>
                  </a:lnTo>
                  <a:lnTo>
                    <a:pt x="1453" y="2528"/>
                  </a:lnTo>
                  <a:lnTo>
                    <a:pt x="1464" y="2530"/>
                  </a:lnTo>
                  <a:lnTo>
                    <a:pt x="1474" y="2532"/>
                  </a:lnTo>
                  <a:lnTo>
                    <a:pt x="1485" y="2535"/>
                  </a:lnTo>
                  <a:lnTo>
                    <a:pt x="1493" y="2541"/>
                  </a:lnTo>
                  <a:lnTo>
                    <a:pt x="1502" y="2546"/>
                  </a:lnTo>
                  <a:lnTo>
                    <a:pt x="1510" y="2552"/>
                  </a:lnTo>
                  <a:lnTo>
                    <a:pt x="1517" y="2560"/>
                  </a:lnTo>
                  <a:lnTo>
                    <a:pt x="1522" y="2568"/>
                  </a:lnTo>
                  <a:lnTo>
                    <a:pt x="1528" y="2578"/>
                  </a:lnTo>
                  <a:lnTo>
                    <a:pt x="1532" y="2587"/>
                  </a:lnTo>
                  <a:lnTo>
                    <a:pt x="1536" y="2600"/>
                  </a:lnTo>
                  <a:lnTo>
                    <a:pt x="1539" y="2612"/>
                  </a:lnTo>
                  <a:lnTo>
                    <a:pt x="1540" y="2625"/>
                  </a:lnTo>
                  <a:lnTo>
                    <a:pt x="1542" y="2639"/>
                  </a:lnTo>
                  <a:lnTo>
                    <a:pt x="1543" y="2654"/>
                  </a:lnTo>
                  <a:lnTo>
                    <a:pt x="1543" y="2811"/>
                  </a:lnTo>
                  <a:lnTo>
                    <a:pt x="1474" y="2811"/>
                  </a:lnTo>
                  <a:lnTo>
                    <a:pt x="1474" y="2658"/>
                  </a:lnTo>
                  <a:lnTo>
                    <a:pt x="1474" y="2658"/>
                  </a:lnTo>
                  <a:lnTo>
                    <a:pt x="1473" y="2643"/>
                  </a:lnTo>
                  <a:lnTo>
                    <a:pt x="1471" y="2627"/>
                  </a:lnTo>
                  <a:lnTo>
                    <a:pt x="1467" y="2616"/>
                  </a:lnTo>
                  <a:lnTo>
                    <a:pt x="1462" y="2607"/>
                  </a:lnTo>
                  <a:lnTo>
                    <a:pt x="1455" y="2600"/>
                  </a:lnTo>
                  <a:lnTo>
                    <a:pt x="1446" y="2594"/>
                  </a:lnTo>
                  <a:lnTo>
                    <a:pt x="1435" y="2592"/>
                  </a:lnTo>
                  <a:lnTo>
                    <a:pt x="1423" y="2590"/>
                  </a:lnTo>
                  <a:lnTo>
                    <a:pt x="1423" y="2590"/>
                  </a:lnTo>
                  <a:lnTo>
                    <a:pt x="1412" y="2592"/>
                  </a:lnTo>
                  <a:lnTo>
                    <a:pt x="1401" y="2594"/>
                  </a:lnTo>
                  <a:lnTo>
                    <a:pt x="1391" y="2600"/>
                  </a:lnTo>
                  <a:lnTo>
                    <a:pt x="1384" y="2608"/>
                  </a:lnTo>
                  <a:lnTo>
                    <a:pt x="1379" y="2616"/>
                  </a:lnTo>
                  <a:lnTo>
                    <a:pt x="1375" y="2629"/>
                  </a:lnTo>
                  <a:lnTo>
                    <a:pt x="1372" y="2643"/>
                  </a:lnTo>
                  <a:lnTo>
                    <a:pt x="1371" y="2658"/>
                  </a:lnTo>
                  <a:lnTo>
                    <a:pt x="1371" y="2811"/>
                  </a:lnTo>
                  <a:close/>
                  <a:moveTo>
                    <a:pt x="1759" y="2553"/>
                  </a:moveTo>
                  <a:lnTo>
                    <a:pt x="1759" y="2553"/>
                  </a:lnTo>
                  <a:lnTo>
                    <a:pt x="1753" y="2547"/>
                  </a:lnTo>
                  <a:lnTo>
                    <a:pt x="1746" y="2542"/>
                  </a:lnTo>
                  <a:lnTo>
                    <a:pt x="1739" y="2538"/>
                  </a:lnTo>
                  <a:lnTo>
                    <a:pt x="1730" y="2534"/>
                  </a:lnTo>
                  <a:lnTo>
                    <a:pt x="1722" y="2531"/>
                  </a:lnTo>
                  <a:lnTo>
                    <a:pt x="1714" y="2530"/>
                  </a:lnTo>
                  <a:lnTo>
                    <a:pt x="1706" y="2528"/>
                  </a:lnTo>
                  <a:lnTo>
                    <a:pt x="1697" y="2527"/>
                  </a:lnTo>
                  <a:lnTo>
                    <a:pt x="1697" y="2527"/>
                  </a:lnTo>
                  <a:lnTo>
                    <a:pt x="1685" y="2528"/>
                  </a:lnTo>
                  <a:lnTo>
                    <a:pt x="1674" y="2530"/>
                  </a:lnTo>
                  <a:lnTo>
                    <a:pt x="1663" y="2532"/>
                  </a:lnTo>
                  <a:lnTo>
                    <a:pt x="1652" y="2538"/>
                  </a:lnTo>
                  <a:lnTo>
                    <a:pt x="1642" y="2542"/>
                  </a:lnTo>
                  <a:lnTo>
                    <a:pt x="1634" y="2549"/>
                  </a:lnTo>
                  <a:lnTo>
                    <a:pt x="1626" y="2557"/>
                  </a:lnTo>
                  <a:lnTo>
                    <a:pt x="1617" y="2565"/>
                  </a:lnTo>
                  <a:lnTo>
                    <a:pt x="1610" y="2575"/>
                  </a:lnTo>
                  <a:lnTo>
                    <a:pt x="1605" y="2586"/>
                  </a:lnTo>
                  <a:lnTo>
                    <a:pt x="1599" y="2597"/>
                  </a:lnTo>
                  <a:lnTo>
                    <a:pt x="1595" y="2611"/>
                  </a:lnTo>
                  <a:lnTo>
                    <a:pt x="1593" y="2623"/>
                  </a:lnTo>
                  <a:lnTo>
                    <a:pt x="1590" y="2639"/>
                  </a:lnTo>
                  <a:lnTo>
                    <a:pt x="1588" y="2654"/>
                  </a:lnTo>
                  <a:lnTo>
                    <a:pt x="1588" y="2669"/>
                  </a:lnTo>
                  <a:lnTo>
                    <a:pt x="1588" y="2669"/>
                  </a:lnTo>
                  <a:lnTo>
                    <a:pt x="1588" y="2687"/>
                  </a:lnTo>
                  <a:lnTo>
                    <a:pt x="1590" y="2702"/>
                  </a:lnTo>
                  <a:lnTo>
                    <a:pt x="1593" y="2717"/>
                  </a:lnTo>
                  <a:lnTo>
                    <a:pt x="1595" y="2732"/>
                  </a:lnTo>
                  <a:lnTo>
                    <a:pt x="1599" y="2745"/>
                  </a:lnTo>
                  <a:lnTo>
                    <a:pt x="1605" y="2757"/>
                  </a:lnTo>
                  <a:lnTo>
                    <a:pt x="1610" y="2768"/>
                  </a:lnTo>
                  <a:lnTo>
                    <a:pt x="1617" y="2778"/>
                  </a:lnTo>
                  <a:lnTo>
                    <a:pt x="1624" y="2787"/>
                  </a:lnTo>
                  <a:lnTo>
                    <a:pt x="1633" y="2794"/>
                  </a:lnTo>
                  <a:lnTo>
                    <a:pt x="1641" y="2801"/>
                  </a:lnTo>
                  <a:lnTo>
                    <a:pt x="1650" y="2807"/>
                  </a:lnTo>
                  <a:lnTo>
                    <a:pt x="1662" y="2811"/>
                  </a:lnTo>
                  <a:lnTo>
                    <a:pt x="1673" y="2815"/>
                  </a:lnTo>
                  <a:lnTo>
                    <a:pt x="1684" y="2816"/>
                  </a:lnTo>
                  <a:lnTo>
                    <a:pt x="1696" y="2818"/>
                  </a:lnTo>
                  <a:lnTo>
                    <a:pt x="1696" y="2818"/>
                  </a:lnTo>
                  <a:lnTo>
                    <a:pt x="1704" y="2816"/>
                  </a:lnTo>
                  <a:lnTo>
                    <a:pt x="1714" y="2815"/>
                  </a:lnTo>
                  <a:lnTo>
                    <a:pt x="1722" y="2814"/>
                  </a:lnTo>
                  <a:lnTo>
                    <a:pt x="1730" y="2811"/>
                  </a:lnTo>
                  <a:lnTo>
                    <a:pt x="1737" y="2807"/>
                  </a:lnTo>
                  <a:lnTo>
                    <a:pt x="1746" y="2803"/>
                  </a:lnTo>
                  <a:lnTo>
                    <a:pt x="1753" y="2797"/>
                  </a:lnTo>
                  <a:lnTo>
                    <a:pt x="1759" y="2790"/>
                  </a:lnTo>
                  <a:lnTo>
                    <a:pt x="1759" y="2797"/>
                  </a:lnTo>
                  <a:lnTo>
                    <a:pt x="1759" y="2797"/>
                  </a:lnTo>
                  <a:lnTo>
                    <a:pt x="1759" y="2808"/>
                  </a:lnTo>
                  <a:lnTo>
                    <a:pt x="1758" y="2821"/>
                  </a:lnTo>
                  <a:lnTo>
                    <a:pt x="1754" y="2833"/>
                  </a:lnTo>
                  <a:lnTo>
                    <a:pt x="1751" y="2838"/>
                  </a:lnTo>
                  <a:lnTo>
                    <a:pt x="1748" y="2844"/>
                  </a:lnTo>
                  <a:lnTo>
                    <a:pt x="1743" y="2850"/>
                  </a:lnTo>
                  <a:lnTo>
                    <a:pt x="1737" y="2855"/>
                  </a:lnTo>
                  <a:lnTo>
                    <a:pt x="1730" y="2859"/>
                  </a:lnTo>
                  <a:lnTo>
                    <a:pt x="1722" y="2863"/>
                  </a:lnTo>
                  <a:lnTo>
                    <a:pt x="1711" y="2866"/>
                  </a:lnTo>
                  <a:lnTo>
                    <a:pt x="1700" y="2869"/>
                  </a:lnTo>
                  <a:lnTo>
                    <a:pt x="1686" y="2870"/>
                  </a:lnTo>
                  <a:lnTo>
                    <a:pt x="1670" y="2870"/>
                  </a:lnTo>
                  <a:lnTo>
                    <a:pt x="1667" y="2870"/>
                  </a:lnTo>
                  <a:lnTo>
                    <a:pt x="1692" y="2924"/>
                  </a:lnTo>
                  <a:lnTo>
                    <a:pt x="1693" y="2924"/>
                  </a:lnTo>
                  <a:lnTo>
                    <a:pt x="1693" y="2924"/>
                  </a:lnTo>
                  <a:lnTo>
                    <a:pt x="1710" y="2924"/>
                  </a:lnTo>
                  <a:lnTo>
                    <a:pt x="1725" y="2923"/>
                  </a:lnTo>
                  <a:lnTo>
                    <a:pt x="1739" y="2918"/>
                  </a:lnTo>
                  <a:lnTo>
                    <a:pt x="1753" y="2916"/>
                  </a:lnTo>
                  <a:lnTo>
                    <a:pt x="1765" y="2910"/>
                  </a:lnTo>
                  <a:lnTo>
                    <a:pt x="1776" y="2905"/>
                  </a:lnTo>
                  <a:lnTo>
                    <a:pt x="1786" y="2898"/>
                  </a:lnTo>
                  <a:lnTo>
                    <a:pt x="1794" y="2890"/>
                  </a:lnTo>
                  <a:lnTo>
                    <a:pt x="1802" y="2880"/>
                  </a:lnTo>
                  <a:lnTo>
                    <a:pt x="1809" y="2870"/>
                  </a:lnTo>
                  <a:lnTo>
                    <a:pt x="1815" y="2858"/>
                  </a:lnTo>
                  <a:lnTo>
                    <a:pt x="1819" y="2845"/>
                  </a:lnTo>
                  <a:lnTo>
                    <a:pt x="1823" y="2833"/>
                  </a:lnTo>
                  <a:lnTo>
                    <a:pt x="1826" y="2818"/>
                  </a:lnTo>
                  <a:lnTo>
                    <a:pt x="1827" y="2803"/>
                  </a:lnTo>
                  <a:lnTo>
                    <a:pt x="1827" y="2786"/>
                  </a:lnTo>
                  <a:lnTo>
                    <a:pt x="1827" y="2534"/>
                  </a:lnTo>
                  <a:lnTo>
                    <a:pt x="1759" y="2534"/>
                  </a:lnTo>
                  <a:lnTo>
                    <a:pt x="1759" y="2553"/>
                  </a:lnTo>
                  <a:close/>
                  <a:moveTo>
                    <a:pt x="1759" y="2618"/>
                  </a:moveTo>
                  <a:lnTo>
                    <a:pt x="1759" y="2727"/>
                  </a:lnTo>
                  <a:lnTo>
                    <a:pt x="1759" y="2727"/>
                  </a:lnTo>
                  <a:lnTo>
                    <a:pt x="1750" y="2736"/>
                  </a:lnTo>
                  <a:lnTo>
                    <a:pt x="1740" y="2746"/>
                  </a:lnTo>
                  <a:lnTo>
                    <a:pt x="1733" y="2749"/>
                  </a:lnTo>
                  <a:lnTo>
                    <a:pt x="1726" y="2752"/>
                  </a:lnTo>
                  <a:lnTo>
                    <a:pt x="1719" y="2753"/>
                  </a:lnTo>
                  <a:lnTo>
                    <a:pt x="1710" y="2754"/>
                  </a:lnTo>
                  <a:lnTo>
                    <a:pt x="1710" y="2754"/>
                  </a:lnTo>
                  <a:lnTo>
                    <a:pt x="1701" y="2753"/>
                  </a:lnTo>
                  <a:lnTo>
                    <a:pt x="1692" y="2750"/>
                  </a:lnTo>
                  <a:lnTo>
                    <a:pt x="1684" y="2746"/>
                  </a:lnTo>
                  <a:lnTo>
                    <a:pt x="1675" y="2738"/>
                  </a:lnTo>
                  <a:lnTo>
                    <a:pt x="1668" y="2727"/>
                  </a:lnTo>
                  <a:lnTo>
                    <a:pt x="1663" y="2712"/>
                  </a:lnTo>
                  <a:lnTo>
                    <a:pt x="1660" y="2692"/>
                  </a:lnTo>
                  <a:lnTo>
                    <a:pt x="1659" y="2667"/>
                  </a:lnTo>
                  <a:lnTo>
                    <a:pt x="1659" y="2667"/>
                  </a:lnTo>
                  <a:lnTo>
                    <a:pt x="1660" y="2647"/>
                  </a:lnTo>
                  <a:lnTo>
                    <a:pt x="1663" y="2629"/>
                  </a:lnTo>
                  <a:lnTo>
                    <a:pt x="1668" y="2615"/>
                  </a:lnTo>
                  <a:lnTo>
                    <a:pt x="1675" y="2605"/>
                  </a:lnTo>
                  <a:lnTo>
                    <a:pt x="1684" y="2599"/>
                  </a:lnTo>
                  <a:lnTo>
                    <a:pt x="1692" y="2593"/>
                  </a:lnTo>
                  <a:lnTo>
                    <a:pt x="1701" y="2592"/>
                  </a:lnTo>
                  <a:lnTo>
                    <a:pt x="1710" y="2590"/>
                  </a:lnTo>
                  <a:lnTo>
                    <a:pt x="1710" y="2590"/>
                  </a:lnTo>
                  <a:lnTo>
                    <a:pt x="1719" y="2592"/>
                  </a:lnTo>
                  <a:lnTo>
                    <a:pt x="1728" y="2593"/>
                  </a:lnTo>
                  <a:lnTo>
                    <a:pt x="1735" y="2596"/>
                  </a:lnTo>
                  <a:lnTo>
                    <a:pt x="1741" y="2600"/>
                  </a:lnTo>
                  <a:lnTo>
                    <a:pt x="1747" y="2604"/>
                  </a:lnTo>
                  <a:lnTo>
                    <a:pt x="1751" y="2608"/>
                  </a:lnTo>
                  <a:lnTo>
                    <a:pt x="1759" y="2618"/>
                  </a:lnTo>
                  <a:lnTo>
                    <a:pt x="1759" y="2618"/>
                  </a:lnTo>
                  <a:close/>
                  <a:moveTo>
                    <a:pt x="1172" y="2534"/>
                  </a:moveTo>
                  <a:lnTo>
                    <a:pt x="1241" y="2534"/>
                  </a:lnTo>
                  <a:lnTo>
                    <a:pt x="1241" y="2656"/>
                  </a:lnTo>
                  <a:lnTo>
                    <a:pt x="1241" y="2811"/>
                  </a:lnTo>
                  <a:lnTo>
                    <a:pt x="1172" y="2811"/>
                  </a:lnTo>
                  <a:lnTo>
                    <a:pt x="1172" y="2534"/>
                  </a:lnTo>
                  <a:close/>
                  <a:moveTo>
                    <a:pt x="1241" y="2459"/>
                  </a:moveTo>
                  <a:lnTo>
                    <a:pt x="1241" y="2494"/>
                  </a:lnTo>
                  <a:lnTo>
                    <a:pt x="1172" y="2494"/>
                  </a:lnTo>
                  <a:lnTo>
                    <a:pt x="1172" y="2425"/>
                  </a:lnTo>
                  <a:lnTo>
                    <a:pt x="1241" y="2425"/>
                  </a:lnTo>
                  <a:lnTo>
                    <a:pt x="1241" y="2459"/>
                  </a:lnTo>
                  <a:close/>
                  <a:moveTo>
                    <a:pt x="2885" y="2452"/>
                  </a:moveTo>
                  <a:lnTo>
                    <a:pt x="2953" y="2418"/>
                  </a:lnTo>
                  <a:lnTo>
                    <a:pt x="2953" y="2669"/>
                  </a:lnTo>
                  <a:lnTo>
                    <a:pt x="2953" y="2811"/>
                  </a:lnTo>
                  <a:lnTo>
                    <a:pt x="2885" y="2811"/>
                  </a:lnTo>
                  <a:lnTo>
                    <a:pt x="2885" y="2452"/>
                  </a:lnTo>
                  <a:close/>
                  <a:moveTo>
                    <a:pt x="496" y="946"/>
                  </a:moveTo>
                  <a:lnTo>
                    <a:pt x="1062" y="946"/>
                  </a:lnTo>
                  <a:lnTo>
                    <a:pt x="1062" y="618"/>
                  </a:lnTo>
                  <a:lnTo>
                    <a:pt x="496" y="618"/>
                  </a:lnTo>
                  <a:lnTo>
                    <a:pt x="496" y="360"/>
                  </a:lnTo>
                  <a:lnTo>
                    <a:pt x="1122" y="360"/>
                  </a:lnTo>
                  <a:lnTo>
                    <a:pt x="914" y="0"/>
                  </a:lnTo>
                  <a:lnTo>
                    <a:pt x="28" y="0"/>
                  </a:lnTo>
                  <a:lnTo>
                    <a:pt x="28" y="1564"/>
                  </a:lnTo>
                  <a:lnTo>
                    <a:pt x="1278" y="1564"/>
                  </a:lnTo>
                  <a:lnTo>
                    <a:pt x="1278" y="1204"/>
                  </a:lnTo>
                  <a:lnTo>
                    <a:pt x="496" y="1204"/>
                  </a:lnTo>
                  <a:lnTo>
                    <a:pt x="496" y="946"/>
                  </a:lnTo>
                  <a:close/>
                  <a:moveTo>
                    <a:pt x="2111" y="0"/>
                  </a:moveTo>
                  <a:lnTo>
                    <a:pt x="1845" y="510"/>
                  </a:lnTo>
                  <a:lnTo>
                    <a:pt x="1580" y="0"/>
                  </a:lnTo>
                  <a:lnTo>
                    <a:pt x="1062" y="0"/>
                  </a:lnTo>
                  <a:lnTo>
                    <a:pt x="1608" y="946"/>
                  </a:lnTo>
                  <a:lnTo>
                    <a:pt x="1608" y="1564"/>
                  </a:lnTo>
                  <a:lnTo>
                    <a:pt x="2075" y="1564"/>
                  </a:lnTo>
                  <a:lnTo>
                    <a:pt x="2075" y="946"/>
                  </a:lnTo>
                  <a:lnTo>
                    <a:pt x="2623" y="0"/>
                  </a:lnTo>
                  <a:lnTo>
                    <a:pt x="2111"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979">
                <a:latin typeface="EYInterstate Light" panose="02000506000000020004" pitchFamily="2" charset="0"/>
              </a:endParaRPr>
            </a:p>
          </p:txBody>
        </p:sp>
      </p:grpSp>
      <p:sp>
        <p:nvSpPr>
          <p:cNvPr id="12" name="Subtitle 2"/>
          <p:cNvSpPr>
            <a:spLocks noGrp="1"/>
          </p:cNvSpPr>
          <p:nvPr>
            <p:ph type="subTitle" idx="1"/>
          </p:nvPr>
        </p:nvSpPr>
        <p:spPr>
          <a:xfrm>
            <a:off x="339403" y="336056"/>
            <a:ext cx="4074452" cy="6931158"/>
          </a:xfrm>
          <a:prstGeom prst="rect">
            <a:avLst/>
          </a:prstGeom>
        </p:spPr>
        <p:txBody>
          <a:bodyPr lIns="0" tIns="0" rIns="0" bIns="0"/>
          <a:lstStyle>
            <a:lvl1pPr marL="0" indent="0" algn="l">
              <a:buNone/>
              <a:defRPr sz="990">
                <a:solidFill>
                  <a:schemeClr val="bg1"/>
                </a:solidFill>
                <a:latin typeface="EYInterstate Light" panose="02000506000000020004" pitchFamily="2" charset="0"/>
                <a:cs typeface="Arial" pitchFamily="34" charset="0"/>
              </a:defRPr>
            </a:lvl1pPr>
            <a:lvl2pPr marL="0" indent="0" algn="l">
              <a:buNone/>
              <a:defRPr sz="1758">
                <a:solidFill>
                  <a:schemeClr val="tx1">
                    <a:lumMod val="75000"/>
                    <a:lumOff val="25000"/>
                  </a:schemeClr>
                </a:solidFill>
              </a:defRPr>
            </a:lvl2pPr>
            <a:lvl3pPr marL="1005102" indent="0" algn="ctr">
              <a:buNone/>
              <a:defRPr>
                <a:solidFill>
                  <a:schemeClr val="tx1">
                    <a:tint val="75000"/>
                  </a:schemeClr>
                </a:solidFill>
              </a:defRPr>
            </a:lvl3pPr>
            <a:lvl4pPr marL="1507653" indent="0" algn="ctr">
              <a:buNone/>
              <a:defRPr>
                <a:solidFill>
                  <a:schemeClr val="tx1">
                    <a:tint val="75000"/>
                  </a:schemeClr>
                </a:solidFill>
              </a:defRPr>
            </a:lvl4pPr>
            <a:lvl5pPr marL="2010205" indent="0" algn="ctr">
              <a:buNone/>
              <a:defRPr>
                <a:solidFill>
                  <a:schemeClr val="tx1">
                    <a:tint val="75000"/>
                  </a:schemeClr>
                </a:solidFill>
              </a:defRPr>
            </a:lvl5pPr>
            <a:lvl6pPr marL="2512755" indent="0" algn="ctr">
              <a:buNone/>
              <a:defRPr>
                <a:solidFill>
                  <a:schemeClr val="tx1">
                    <a:tint val="75000"/>
                  </a:schemeClr>
                </a:solidFill>
              </a:defRPr>
            </a:lvl6pPr>
            <a:lvl7pPr marL="3015306" indent="0" algn="ctr">
              <a:buNone/>
              <a:defRPr>
                <a:solidFill>
                  <a:schemeClr val="tx1">
                    <a:tint val="75000"/>
                  </a:schemeClr>
                </a:solidFill>
              </a:defRPr>
            </a:lvl7pPr>
            <a:lvl8pPr marL="3517858" indent="0" algn="ctr">
              <a:buNone/>
              <a:defRPr>
                <a:solidFill>
                  <a:schemeClr val="tx1">
                    <a:tint val="75000"/>
                  </a:schemeClr>
                </a:solidFill>
              </a:defRPr>
            </a:lvl8pPr>
            <a:lvl9pPr marL="4020410" indent="0" algn="ctr">
              <a:buNone/>
              <a:defRPr>
                <a:solidFill>
                  <a:schemeClr val="tx1">
                    <a:tint val="75000"/>
                  </a:schemeClr>
                </a:solidFill>
              </a:defRPr>
            </a:lvl9pPr>
          </a:lstStyle>
          <a:p>
            <a:pPr lvl="0"/>
            <a:r>
              <a:rPr lang="en-US"/>
              <a:t>Click to edit Master subtitle style</a:t>
            </a:r>
            <a:endParaRPr lang="en-GB"/>
          </a:p>
        </p:txBody>
      </p:sp>
    </p:spTree>
    <p:extLst>
      <p:ext uri="{BB962C8B-B14F-4D97-AF65-F5344CB8AC3E}">
        <p14:creationId xmlns:p14="http://schemas.microsoft.com/office/powerpoint/2010/main" val="272646309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Appendix_Bios">
    <p:spTree>
      <p:nvGrpSpPr>
        <p:cNvPr id="1" name=""/>
        <p:cNvGrpSpPr/>
        <p:nvPr/>
      </p:nvGrpSpPr>
      <p:grpSpPr>
        <a:xfrm>
          <a:off x="0" y="0"/>
          <a:ext cx="0" cy="0"/>
          <a:chOff x="0" y="0"/>
          <a:chExt cx="0" cy="0"/>
        </a:xfrm>
      </p:grpSpPr>
      <p:sp>
        <p:nvSpPr>
          <p:cNvPr id="9" name="Rectangle 8"/>
          <p:cNvSpPr/>
          <p:nvPr userDrawn="1"/>
        </p:nvSpPr>
        <p:spPr>
          <a:xfrm>
            <a:off x="885234" y="1347753"/>
            <a:ext cx="6070671" cy="1335095"/>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322">
              <a:solidFill>
                <a:schemeClr val="tx1"/>
              </a:solidFill>
              <a:latin typeface="EYInterstate Light" panose="02000506000000020004" pitchFamily="2" charset="0"/>
            </a:endParaRPr>
          </a:p>
        </p:txBody>
      </p:sp>
      <p:sp>
        <p:nvSpPr>
          <p:cNvPr id="2" name="Title 1"/>
          <p:cNvSpPr>
            <a:spLocks noGrp="1"/>
          </p:cNvSpPr>
          <p:nvPr>
            <p:ph type="title"/>
          </p:nvPr>
        </p:nvSpPr>
        <p:spPr>
          <a:xfrm>
            <a:off x="885233" y="336056"/>
            <a:ext cx="12098655" cy="834848"/>
          </a:xfrm>
          <a:prstGeom prst="rect">
            <a:avLst/>
          </a:prstGeom>
        </p:spPr>
        <p:txBody>
          <a:bodyPr lIns="0" tIns="0" rIns="0" bIns="0"/>
          <a:lstStyle>
            <a:lvl1pPr>
              <a:lnSpc>
                <a:spcPct val="85000"/>
              </a:lnSpc>
              <a:defRPr sz="2424" b="1">
                <a:solidFill>
                  <a:schemeClr val="tx2"/>
                </a:solidFill>
                <a:latin typeface="EYInterstate" panose="02000503020000020004" pitchFamily="2" charset="0"/>
              </a:defRPr>
            </a:lvl1pPr>
          </a:lstStyle>
          <a:p>
            <a:r>
              <a:rPr lang="en-US"/>
              <a:t>Click to edit Master title style</a:t>
            </a:r>
            <a:endParaRPr lang="en-GB"/>
          </a:p>
        </p:txBody>
      </p:sp>
      <p:sp>
        <p:nvSpPr>
          <p:cNvPr id="3" name="Content Placeholder 2"/>
          <p:cNvSpPr>
            <a:spLocks noGrp="1"/>
          </p:cNvSpPr>
          <p:nvPr>
            <p:ph idx="1"/>
          </p:nvPr>
        </p:nvSpPr>
        <p:spPr>
          <a:xfrm>
            <a:off x="2014331" y="1460808"/>
            <a:ext cx="4748432" cy="1108985"/>
          </a:xfrm>
          <a:prstGeom prst="rect">
            <a:avLst/>
          </a:prstGeom>
        </p:spPr>
        <p:txBody>
          <a:bodyPr lIns="0" tIns="0" rIns="0" bIns="0"/>
          <a:lstStyle>
            <a:lvl1pPr marL="0" indent="0">
              <a:spcBef>
                <a:spcPts val="0"/>
              </a:spcBef>
              <a:buFont typeface="Arial" panose="020B0604020202020204" pitchFamily="34" charset="0"/>
              <a:buNone/>
              <a:defRPr sz="1542" b="1">
                <a:solidFill>
                  <a:schemeClr val="tx1"/>
                </a:solidFill>
                <a:latin typeface="EYInterstate" panose="02000503020000020004" pitchFamily="2" charset="0"/>
              </a:defRPr>
            </a:lvl1pPr>
            <a:lvl2pPr marL="0" indent="0">
              <a:spcBef>
                <a:spcPts val="0"/>
              </a:spcBef>
              <a:spcAft>
                <a:spcPts val="331"/>
              </a:spcAft>
              <a:buFont typeface="Wingdings 3" panose="05040102010807070707" pitchFamily="18" charset="2"/>
              <a:buNone/>
              <a:defRPr i="1">
                <a:solidFill>
                  <a:schemeClr val="tx1"/>
                </a:solidFill>
                <a:latin typeface="EYInterstate" panose="02000503020000020004" pitchFamily="2" charset="0"/>
              </a:defRPr>
            </a:lvl2pPr>
            <a:lvl3pPr marL="0" indent="0">
              <a:spcBef>
                <a:spcPts val="0"/>
              </a:spcBef>
              <a:buFont typeface="Wingdings 3" panose="05040102010807070707" pitchFamily="18" charset="2"/>
              <a:buNone/>
              <a:defRPr sz="1101">
                <a:solidFill>
                  <a:schemeClr val="tx1"/>
                </a:solidFill>
                <a:latin typeface="EYInterstate Light" panose="02000506000000020004" pitchFamily="2" charset="0"/>
              </a:defRPr>
            </a:lvl3pPr>
            <a:lvl4pPr marL="0" indent="0">
              <a:spcBef>
                <a:spcPts val="0"/>
              </a:spcBef>
              <a:buFont typeface="Wingdings 3" panose="05040102010807070707" pitchFamily="18" charset="2"/>
              <a:buNone/>
              <a:defRPr sz="1101">
                <a:solidFill>
                  <a:schemeClr val="tx1"/>
                </a:solidFill>
                <a:latin typeface="EYInterstate Light" panose="02000506000000020004" pitchFamily="2" charset="0"/>
              </a:defRPr>
            </a:lvl4pPr>
            <a:lvl5pPr marL="0" indent="0">
              <a:spcBef>
                <a:spcPts val="0"/>
              </a:spcBef>
              <a:buFont typeface="Wingdings 3" panose="05040102010807070707" pitchFamily="18" charset="2"/>
              <a:buNone/>
              <a:defRPr sz="1101">
                <a:solidFill>
                  <a:schemeClr val="tx1"/>
                </a:solidFill>
                <a:latin typeface="EYInterstate Light" panose="02000506000000020004"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Picture Placeholder 7"/>
          <p:cNvSpPr>
            <a:spLocks noGrp="1"/>
          </p:cNvSpPr>
          <p:nvPr>
            <p:ph type="pic" sz="quarter" idx="10"/>
          </p:nvPr>
        </p:nvSpPr>
        <p:spPr>
          <a:xfrm>
            <a:off x="996318" y="1460808"/>
            <a:ext cx="906927" cy="1108985"/>
          </a:xfrm>
          <a:prstGeom prst="rect">
            <a:avLst/>
          </a:prstGeom>
          <a:solidFill>
            <a:schemeClr val="tx2"/>
          </a:solidFill>
        </p:spPr>
        <p:txBody>
          <a:bodyPr/>
          <a:lstStyle>
            <a:lvl1pPr>
              <a:defRPr>
                <a:latin typeface="EYInterstate Light" panose="02000506000000020004" pitchFamily="2" charset="0"/>
              </a:defRPr>
            </a:lvl1pPr>
          </a:lstStyle>
          <a:p>
            <a:endParaRPr lang="en-US"/>
          </a:p>
        </p:txBody>
      </p:sp>
      <p:sp>
        <p:nvSpPr>
          <p:cNvPr id="10" name="Content Placeholder 2"/>
          <p:cNvSpPr>
            <a:spLocks noGrp="1"/>
          </p:cNvSpPr>
          <p:nvPr>
            <p:ph idx="11"/>
          </p:nvPr>
        </p:nvSpPr>
        <p:spPr>
          <a:xfrm>
            <a:off x="885233" y="2925611"/>
            <a:ext cx="6070670" cy="4341603"/>
          </a:xfrm>
          <a:prstGeom prst="rect">
            <a:avLst/>
          </a:prstGeom>
        </p:spPr>
        <p:txBody>
          <a:bodyPr lIns="0" tIns="0" rIns="0" bIns="0"/>
          <a:lstStyle>
            <a:lvl1pPr marL="0" indent="0">
              <a:spcBef>
                <a:spcPts val="1101"/>
              </a:spcBef>
              <a:spcAft>
                <a:spcPts val="0"/>
              </a:spcAft>
              <a:buFont typeface="Arial" panose="020B0604020202020204" pitchFamily="34" charset="0"/>
              <a:buNone/>
              <a:defRPr sz="1101" b="1">
                <a:solidFill>
                  <a:schemeClr val="tx2"/>
                </a:solidFill>
                <a:latin typeface="EYInterstate" panose="02000503020000020004" pitchFamily="2" charset="0"/>
              </a:defRPr>
            </a:lvl1pPr>
            <a:lvl2pPr marL="0" indent="0">
              <a:spcBef>
                <a:spcPts val="331"/>
              </a:spcBef>
              <a:spcAft>
                <a:spcPts val="0"/>
              </a:spcAft>
              <a:buFont typeface="Wingdings 3" panose="05040102010807070707" pitchFamily="18" charset="2"/>
              <a:buNone/>
              <a:defRPr sz="1101" i="0">
                <a:solidFill>
                  <a:schemeClr val="tx2"/>
                </a:solidFill>
                <a:latin typeface="EYInterstate Light" panose="02000506000000020004" pitchFamily="2" charset="0"/>
              </a:defRPr>
            </a:lvl2pPr>
            <a:lvl3pPr marL="188929" indent="-188929">
              <a:spcBef>
                <a:spcPts val="165"/>
              </a:spcBef>
              <a:spcAft>
                <a:spcPts val="0"/>
              </a:spcAft>
              <a:buFont typeface="Wingdings 3" panose="05040102010807070707" pitchFamily="18" charset="2"/>
              <a:buChar char="u"/>
              <a:defRPr sz="1101" i="0">
                <a:solidFill>
                  <a:schemeClr val="tx2"/>
                </a:solidFill>
                <a:latin typeface="EYInterstate Light" panose="02000506000000020004" pitchFamily="2" charset="0"/>
              </a:defRPr>
            </a:lvl3pPr>
            <a:lvl4pPr marL="377859" indent="-188929">
              <a:spcBef>
                <a:spcPts val="165"/>
              </a:spcBef>
              <a:spcAft>
                <a:spcPts val="0"/>
              </a:spcAft>
              <a:buFont typeface="Wingdings 3" panose="05040102010807070707" pitchFamily="18" charset="2"/>
              <a:buChar char="u"/>
              <a:defRPr sz="1101" i="0">
                <a:solidFill>
                  <a:schemeClr val="tx2"/>
                </a:solidFill>
                <a:latin typeface="EYInterstate Light" panose="02000506000000020004" pitchFamily="2" charset="0"/>
              </a:defRPr>
            </a:lvl4pPr>
            <a:lvl5pPr marL="570286" indent="-188929">
              <a:spcBef>
                <a:spcPts val="165"/>
              </a:spcBef>
              <a:spcAft>
                <a:spcPts val="0"/>
              </a:spcAft>
              <a:buFont typeface="Wingdings 3" panose="05040102010807070707" pitchFamily="18" charset="2"/>
              <a:buChar char="u"/>
              <a:defRPr sz="1101" i="0">
                <a:solidFill>
                  <a:schemeClr val="tx2"/>
                </a:solidFill>
                <a:latin typeface="EYInterstate Light" panose="02000506000000020004"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Rectangle 14">
            <a:extLst>
              <a:ext uri="{FF2B5EF4-FFF2-40B4-BE49-F238E27FC236}">
                <a16:creationId xmlns:a16="http://schemas.microsoft.com/office/drawing/2014/main" id="{435A19E3-1051-423C-9EC7-B2898B8DDC07}"/>
              </a:ext>
            </a:extLst>
          </p:cNvPr>
          <p:cNvSpPr/>
          <p:nvPr userDrawn="1"/>
        </p:nvSpPr>
        <p:spPr>
          <a:xfrm>
            <a:off x="339400" y="336056"/>
            <a:ext cx="215838" cy="6931158"/>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319">
              <a:solidFill>
                <a:schemeClr val="tx1"/>
              </a:solidFill>
              <a:latin typeface="EYInterstate Light" panose="02000506000000020004" pitchFamily="2" charset="0"/>
            </a:endParaRPr>
          </a:p>
        </p:txBody>
      </p:sp>
    </p:spTree>
    <p:extLst>
      <p:ext uri="{BB962C8B-B14F-4D97-AF65-F5344CB8AC3E}">
        <p14:creationId xmlns:p14="http://schemas.microsoft.com/office/powerpoint/2010/main" val="231052608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Title only, no line">
    <p:spTree>
      <p:nvGrpSpPr>
        <p:cNvPr id="1" name=""/>
        <p:cNvGrpSpPr/>
        <p:nvPr/>
      </p:nvGrpSpPr>
      <p:grpSpPr>
        <a:xfrm>
          <a:off x="0" y="0"/>
          <a:ext cx="0" cy="0"/>
          <a:chOff x="0" y="0"/>
          <a:chExt cx="0" cy="0"/>
        </a:xfrm>
      </p:grpSpPr>
      <p:sp>
        <p:nvSpPr>
          <p:cNvPr id="2" name="Title 1"/>
          <p:cNvSpPr>
            <a:spLocks noGrp="1"/>
          </p:cNvSpPr>
          <p:nvPr>
            <p:ph type="title"/>
          </p:nvPr>
        </p:nvSpPr>
        <p:spPr>
          <a:xfrm>
            <a:off x="672149" y="222273"/>
            <a:ext cx="12098655" cy="948631"/>
          </a:xfrm>
          <a:prstGeom prst="rect">
            <a:avLst/>
          </a:prstGeom>
        </p:spPr>
        <p:txBody>
          <a:bodyPr/>
          <a:lstStyle>
            <a:lvl1pPr>
              <a:defRPr>
                <a:solidFill>
                  <a:schemeClr val="bg1"/>
                </a:solidFill>
                <a:latin typeface="EYInterstate Light" panose="02000506000000020004" pitchFamily="2" charset="0"/>
              </a:defRPr>
            </a:lvl1pPr>
          </a:lstStyle>
          <a:p>
            <a:r>
              <a:rPr lang="en-US"/>
              <a:t>Click to edit Master title style</a:t>
            </a:r>
            <a:endParaRPr lang="en-GB"/>
          </a:p>
        </p:txBody>
      </p:sp>
      <p:sp>
        <p:nvSpPr>
          <p:cNvPr id="3" name="Rectangle 2">
            <a:extLst>
              <a:ext uri="{FF2B5EF4-FFF2-40B4-BE49-F238E27FC236}">
                <a16:creationId xmlns:a16="http://schemas.microsoft.com/office/drawing/2014/main" id="{656CFA7B-7C6A-4E41-B248-29BC667BC5A2}"/>
              </a:ext>
            </a:extLst>
          </p:cNvPr>
          <p:cNvSpPr/>
          <p:nvPr userDrawn="1"/>
        </p:nvSpPr>
        <p:spPr>
          <a:xfrm>
            <a:off x="339400" y="336056"/>
            <a:ext cx="215838" cy="6931158"/>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319">
              <a:solidFill>
                <a:schemeClr val="tx1"/>
              </a:solidFill>
              <a:latin typeface="EYInterstate Light" panose="02000506000000020004" pitchFamily="2" charset="0"/>
            </a:endParaRPr>
          </a:p>
        </p:txBody>
      </p:sp>
    </p:spTree>
    <p:extLst>
      <p:ext uri="{BB962C8B-B14F-4D97-AF65-F5344CB8AC3E}">
        <p14:creationId xmlns:p14="http://schemas.microsoft.com/office/powerpoint/2010/main" val="221642887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2_Body Page 2">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nvPr>
        </p:nvGraphicFramePr>
        <p:xfrm>
          <a:off x="1751" y="1753"/>
          <a:ext cx="1750" cy="1750"/>
        </p:xfrm>
        <a:graphic>
          <a:graphicData uri="http://schemas.openxmlformats.org/presentationml/2006/ole">
            <mc:AlternateContent xmlns:mc="http://schemas.openxmlformats.org/markup-compatibility/2006">
              <mc:Choice xmlns:v="urn:schemas-microsoft-com:vml" Requires="v">
                <p:oleObj spid="_x0000_s9218" name="think-cell Slide" r:id="rId4" imgW="270" imgH="270" progId="TCLayout.ActiveDocument.1">
                  <p:embed/>
                </p:oleObj>
              </mc:Choice>
              <mc:Fallback>
                <p:oleObj name="think-cell Slide" r:id="rId4" imgW="270" imgH="270" progId="TCLayout.ActiveDocument.1">
                  <p:embed/>
                  <p:pic>
                    <p:nvPicPr>
                      <p:cNvPr id="6" name="Object 5" hidden="1"/>
                      <p:cNvPicPr/>
                      <p:nvPr/>
                    </p:nvPicPr>
                    <p:blipFill>
                      <a:blip r:embed="rId5"/>
                      <a:stretch>
                        <a:fillRect/>
                      </a:stretch>
                    </p:blipFill>
                    <p:spPr>
                      <a:xfrm>
                        <a:off x="1751" y="1753"/>
                        <a:ext cx="1750" cy="1750"/>
                      </a:xfrm>
                      <a:prstGeom prst="rect">
                        <a:avLst/>
                      </a:prstGeom>
                    </p:spPr>
                  </p:pic>
                </p:oleObj>
              </mc:Fallback>
            </mc:AlternateContent>
          </a:graphicData>
        </a:graphic>
      </p:graphicFrame>
      <p:sp>
        <p:nvSpPr>
          <p:cNvPr id="7" name="Content Placeholder 6"/>
          <p:cNvSpPr>
            <a:spLocks noGrp="1"/>
          </p:cNvSpPr>
          <p:nvPr>
            <p:ph sz="quarter" idx="11" hasCustomPrompt="1"/>
          </p:nvPr>
        </p:nvSpPr>
        <p:spPr>
          <a:xfrm>
            <a:off x="633369" y="1764298"/>
            <a:ext cx="12557525" cy="1289484"/>
          </a:xfrm>
          <a:prstGeom prst="rect">
            <a:avLst/>
          </a:prstGeom>
        </p:spPr>
        <p:txBody>
          <a:bodyPr wrap="square" lIns="45720" tIns="45720" rIns="45720" bIns="45720">
            <a:spAutoFit/>
          </a:bodyPr>
          <a:lstStyle>
            <a:lvl1pPr marL="314882" indent="-314882">
              <a:spcBef>
                <a:spcPts val="662"/>
              </a:spcBef>
              <a:spcAft>
                <a:spcPts val="0"/>
              </a:spcAft>
              <a:buClr>
                <a:schemeClr val="tx1">
                  <a:lumMod val="65000"/>
                  <a:lumOff val="35000"/>
                </a:schemeClr>
              </a:buClr>
              <a:buSzPct val="70000"/>
              <a:buFont typeface="Arial" panose="020B0604020202020204" pitchFamily="34" charset="0"/>
              <a:buChar char="►"/>
              <a:defRPr sz="1763">
                <a:solidFill>
                  <a:schemeClr val="tx1">
                    <a:lumMod val="75000"/>
                    <a:lumOff val="25000"/>
                  </a:schemeClr>
                </a:solidFill>
                <a:latin typeface="EYInterstate Light" panose="02000506000000020004" pitchFamily="2" charset="0"/>
              </a:defRPr>
            </a:lvl1pPr>
            <a:lvl2pPr marL="759216" indent="-255404">
              <a:spcBef>
                <a:spcPts val="331"/>
              </a:spcBef>
              <a:spcAft>
                <a:spcPts val="0"/>
              </a:spcAft>
              <a:buClr>
                <a:schemeClr val="tx1">
                  <a:lumMod val="65000"/>
                  <a:lumOff val="35000"/>
                </a:schemeClr>
              </a:buClr>
              <a:buSzPct val="100000"/>
              <a:buFont typeface="Arial" panose="020B0604020202020204" pitchFamily="34" charset="0"/>
              <a:buChar char="–"/>
              <a:defRPr sz="1542">
                <a:solidFill>
                  <a:schemeClr val="tx1">
                    <a:lumMod val="75000"/>
                    <a:lumOff val="25000"/>
                  </a:schemeClr>
                </a:solidFill>
                <a:latin typeface="EYInterstate Light" panose="02000506000000020004" pitchFamily="2" charset="0"/>
              </a:defRPr>
            </a:lvl2pPr>
            <a:lvl3pPr marL="1137073" indent="-194178">
              <a:spcBef>
                <a:spcPts val="331"/>
              </a:spcBef>
              <a:spcAft>
                <a:spcPts val="0"/>
              </a:spcAft>
              <a:buClr>
                <a:schemeClr val="tx1">
                  <a:lumMod val="65000"/>
                  <a:lumOff val="35000"/>
                </a:schemeClr>
              </a:buClr>
              <a:buSzPct val="70000"/>
              <a:buFont typeface="Arial" panose="020B0604020202020204" pitchFamily="34" charset="0"/>
              <a:buChar char="●"/>
              <a:defRPr sz="1322">
                <a:solidFill>
                  <a:schemeClr val="tx1">
                    <a:lumMod val="75000"/>
                    <a:lumOff val="25000"/>
                  </a:schemeClr>
                </a:solidFill>
                <a:latin typeface="EYInterstate Light" panose="02000506000000020004" pitchFamily="2" charset="0"/>
              </a:defRPr>
            </a:lvl3pPr>
            <a:lvl4pPr marL="1516682" indent="-194178">
              <a:spcBef>
                <a:spcPts val="331"/>
              </a:spcBef>
              <a:spcAft>
                <a:spcPts val="0"/>
              </a:spcAft>
              <a:buClr>
                <a:schemeClr val="tx1">
                  <a:lumMod val="65000"/>
                  <a:lumOff val="35000"/>
                </a:schemeClr>
              </a:buClr>
              <a:buSzPct val="70000"/>
              <a:buFont typeface="Arial" panose="020B0604020202020204" pitchFamily="34" charset="0"/>
              <a:buChar char="►"/>
              <a:defRPr sz="1101">
                <a:solidFill>
                  <a:schemeClr val="tx1">
                    <a:lumMod val="75000"/>
                    <a:lumOff val="25000"/>
                  </a:schemeClr>
                </a:solidFill>
                <a:latin typeface="EYInterstate Light" panose="02000506000000020004" pitchFamily="2" charset="0"/>
              </a:defRPr>
            </a:lvl4pPr>
            <a:lvl5pPr marL="1831563" indent="-195926">
              <a:spcBef>
                <a:spcPts val="331"/>
              </a:spcBef>
              <a:spcAft>
                <a:spcPts val="0"/>
              </a:spcAft>
              <a:buClr>
                <a:schemeClr val="tx1">
                  <a:lumMod val="65000"/>
                  <a:lumOff val="35000"/>
                </a:schemeClr>
              </a:buClr>
              <a:buSzPct val="100000"/>
              <a:buFont typeface="Arial" panose="020B0604020202020204" pitchFamily="34" charset="0"/>
              <a:buChar char="–"/>
              <a:defRPr sz="882">
                <a:solidFill>
                  <a:schemeClr val="tx1">
                    <a:lumMod val="75000"/>
                    <a:lumOff val="25000"/>
                  </a:schemeClr>
                </a:solidFill>
                <a:latin typeface="EYInterstate Light" panose="02000506000000020004"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7">
            <a:extLst>
              <a:ext uri="{FF2B5EF4-FFF2-40B4-BE49-F238E27FC236}">
                <a16:creationId xmlns:a16="http://schemas.microsoft.com/office/drawing/2014/main" id="{EC69065B-9513-4E7C-9E5D-3C027C556812}"/>
              </a:ext>
            </a:extLst>
          </p:cNvPr>
          <p:cNvSpPr>
            <a:spLocks noGrp="1"/>
          </p:cNvSpPr>
          <p:nvPr>
            <p:ph type="body" sz="quarter" idx="12"/>
          </p:nvPr>
        </p:nvSpPr>
        <p:spPr>
          <a:xfrm>
            <a:off x="633370" y="348981"/>
            <a:ext cx="10688939" cy="373130"/>
          </a:xfrm>
          <a:prstGeom prst="rect">
            <a:avLst/>
          </a:prstGeom>
        </p:spPr>
        <p:txBody>
          <a:bodyPr wrap="square" lIns="45720" tIns="45720" rIns="45720" bIns="45720">
            <a:spAutoFit/>
          </a:bodyPr>
          <a:lstStyle>
            <a:lvl1pPr>
              <a:defRPr sz="1763" i="1">
                <a:solidFill>
                  <a:schemeClr val="tx2"/>
                </a:solidFill>
                <a:latin typeface="EYInterstate Light" panose="02000506000000020004" pitchFamily="2" charset="0"/>
              </a:defRPr>
            </a:lvl1pPr>
            <a:lvl2pPr>
              <a:defRPr sz="1542" i="1">
                <a:solidFill>
                  <a:schemeClr val="bg1"/>
                </a:solidFill>
              </a:defRPr>
            </a:lvl2pPr>
            <a:lvl3pPr>
              <a:defRPr sz="1542" i="1">
                <a:solidFill>
                  <a:schemeClr val="bg1"/>
                </a:solidFill>
              </a:defRPr>
            </a:lvl3pPr>
            <a:lvl4pPr>
              <a:defRPr sz="1542" i="1">
                <a:solidFill>
                  <a:schemeClr val="bg1"/>
                </a:solidFill>
              </a:defRPr>
            </a:lvl4pPr>
            <a:lvl5pPr>
              <a:defRPr sz="1542" i="1">
                <a:solidFill>
                  <a:schemeClr val="bg1"/>
                </a:solidFill>
              </a:defRPr>
            </a:lvl5pPr>
          </a:lstStyle>
          <a:p>
            <a:pPr lvl="0"/>
            <a:r>
              <a:rPr lang="en-US"/>
              <a:t>Click to edit Master text styles</a:t>
            </a:r>
          </a:p>
        </p:txBody>
      </p:sp>
      <p:sp>
        <p:nvSpPr>
          <p:cNvPr id="5" name="Rectangle 4">
            <a:extLst>
              <a:ext uri="{FF2B5EF4-FFF2-40B4-BE49-F238E27FC236}">
                <a16:creationId xmlns:a16="http://schemas.microsoft.com/office/drawing/2014/main" id="{FFD9A9A9-BDC8-4AF3-B1D3-74B23377C458}"/>
              </a:ext>
            </a:extLst>
          </p:cNvPr>
          <p:cNvSpPr/>
          <p:nvPr userDrawn="1"/>
        </p:nvSpPr>
        <p:spPr>
          <a:xfrm>
            <a:off x="339400" y="336056"/>
            <a:ext cx="215838" cy="6931158"/>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319">
              <a:solidFill>
                <a:schemeClr val="tx1"/>
              </a:solidFill>
              <a:latin typeface="EYInterstate Light" panose="02000506000000020004" pitchFamily="2" charset="0"/>
            </a:endParaRPr>
          </a:p>
        </p:txBody>
      </p:sp>
    </p:spTree>
    <p:extLst>
      <p:ext uri="{BB962C8B-B14F-4D97-AF65-F5344CB8AC3E}">
        <p14:creationId xmlns:p14="http://schemas.microsoft.com/office/powerpoint/2010/main" val="281434906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Appendix_Bios">
    <p:spTree>
      <p:nvGrpSpPr>
        <p:cNvPr id="1" name=""/>
        <p:cNvGrpSpPr/>
        <p:nvPr/>
      </p:nvGrpSpPr>
      <p:grpSpPr>
        <a:xfrm>
          <a:off x="0" y="0"/>
          <a:ext cx="0" cy="0"/>
          <a:chOff x="0" y="0"/>
          <a:chExt cx="0" cy="0"/>
        </a:xfrm>
      </p:grpSpPr>
      <p:sp>
        <p:nvSpPr>
          <p:cNvPr id="9" name="Rectangle 8"/>
          <p:cNvSpPr/>
          <p:nvPr userDrawn="1"/>
        </p:nvSpPr>
        <p:spPr>
          <a:xfrm>
            <a:off x="885234" y="1347753"/>
            <a:ext cx="6070671" cy="1335095"/>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322">
              <a:solidFill>
                <a:schemeClr val="tx1"/>
              </a:solidFill>
              <a:latin typeface="EYInterstate Light" panose="02000506000000020004" pitchFamily="2" charset="0"/>
            </a:endParaRPr>
          </a:p>
        </p:txBody>
      </p:sp>
      <p:sp>
        <p:nvSpPr>
          <p:cNvPr id="2" name="Title 1"/>
          <p:cNvSpPr>
            <a:spLocks noGrp="1"/>
          </p:cNvSpPr>
          <p:nvPr>
            <p:ph type="title"/>
          </p:nvPr>
        </p:nvSpPr>
        <p:spPr>
          <a:xfrm>
            <a:off x="885233" y="336056"/>
            <a:ext cx="12098655" cy="834848"/>
          </a:xfrm>
          <a:prstGeom prst="rect">
            <a:avLst/>
          </a:prstGeom>
        </p:spPr>
        <p:txBody>
          <a:bodyPr lIns="0" tIns="0" rIns="0" bIns="0"/>
          <a:lstStyle>
            <a:lvl1pPr>
              <a:lnSpc>
                <a:spcPct val="85000"/>
              </a:lnSpc>
              <a:defRPr sz="2424" b="1">
                <a:solidFill>
                  <a:schemeClr val="tx2"/>
                </a:solidFill>
                <a:latin typeface="EYInterstate" panose="02000503020000020004" pitchFamily="2" charset="0"/>
              </a:defRPr>
            </a:lvl1pPr>
          </a:lstStyle>
          <a:p>
            <a:r>
              <a:rPr lang="en-US"/>
              <a:t>Click to edit Master title style</a:t>
            </a:r>
            <a:endParaRPr lang="en-GB"/>
          </a:p>
        </p:txBody>
      </p:sp>
      <p:sp>
        <p:nvSpPr>
          <p:cNvPr id="3" name="Content Placeholder 2"/>
          <p:cNvSpPr>
            <a:spLocks noGrp="1"/>
          </p:cNvSpPr>
          <p:nvPr>
            <p:ph idx="1"/>
          </p:nvPr>
        </p:nvSpPr>
        <p:spPr>
          <a:xfrm>
            <a:off x="2014331" y="1460808"/>
            <a:ext cx="4748432" cy="1108985"/>
          </a:xfrm>
          <a:prstGeom prst="rect">
            <a:avLst/>
          </a:prstGeom>
        </p:spPr>
        <p:txBody>
          <a:bodyPr lIns="0" tIns="0" rIns="0" bIns="0"/>
          <a:lstStyle>
            <a:lvl1pPr marL="0" indent="0">
              <a:spcBef>
                <a:spcPts val="0"/>
              </a:spcBef>
              <a:buFont typeface="Arial" panose="020B0604020202020204" pitchFamily="34" charset="0"/>
              <a:buNone/>
              <a:defRPr sz="1542" b="1">
                <a:solidFill>
                  <a:schemeClr val="tx1"/>
                </a:solidFill>
                <a:latin typeface="EYInterstate" panose="02000503020000020004" pitchFamily="2" charset="0"/>
              </a:defRPr>
            </a:lvl1pPr>
            <a:lvl2pPr marL="0" indent="0">
              <a:spcBef>
                <a:spcPts val="0"/>
              </a:spcBef>
              <a:spcAft>
                <a:spcPts val="331"/>
              </a:spcAft>
              <a:buFont typeface="Wingdings 3" panose="05040102010807070707" pitchFamily="18" charset="2"/>
              <a:buNone/>
              <a:defRPr i="1">
                <a:solidFill>
                  <a:schemeClr val="tx1"/>
                </a:solidFill>
                <a:latin typeface="EYInterstate" panose="02000503020000020004" pitchFamily="2" charset="0"/>
              </a:defRPr>
            </a:lvl2pPr>
            <a:lvl3pPr marL="0" indent="0">
              <a:spcBef>
                <a:spcPts val="0"/>
              </a:spcBef>
              <a:buFont typeface="Wingdings 3" panose="05040102010807070707" pitchFamily="18" charset="2"/>
              <a:buNone/>
              <a:defRPr sz="1101">
                <a:solidFill>
                  <a:schemeClr val="tx1"/>
                </a:solidFill>
                <a:latin typeface="EYInterstate Light" panose="02000506000000020004" pitchFamily="2" charset="0"/>
              </a:defRPr>
            </a:lvl3pPr>
            <a:lvl4pPr marL="0" indent="0">
              <a:spcBef>
                <a:spcPts val="0"/>
              </a:spcBef>
              <a:buFont typeface="Wingdings 3" panose="05040102010807070707" pitchFamily="18" charset="2"/>
              <a:buNone/>
              <a:defRPr sz="1101">
                <a:solidFill>
                  <a:schemeClr val="tx1"/>
                </a:solidFill>
                <a:latin typeface="EYInterstate Light" panose="02000506000000020004" pitchFamily="2" charset="0"/>
              </a:defRPr>
            </a:lvl4pPr>
            <a:lvl5pPr marL="0" indent="0">
              <a:spcBef>
                <a:spcPts val="0"/>
              </a:spcBef>
              <a:buFont typeface="Wingdings 3" panose="05040102010807070707" pitchFamily="18" charset="2"/>
              <a:buNone/>
              <a:defRPr sz="1101">
                <a:solidFill>
                  <a:schemeClr val="tx1"/>
                </a:solidFill>
                <a:latin typeface="EYInterstate Light" panose="02000506000000020004"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Picture Placeholder 7"/>
          <p:cNvSpPr>
            <a:spLocks noGrp="1"/>
          </p:cNvSpPr>
          <p:nvPr>
            <p:ph type="pic" sz="quarter" idx="10"/>
          </p:nvPr>
        </p:nvSpPr>
        <p:spPr>
          <a:xfrm>
            <a:off x="996318" y="1460808"/>
            <a:ext cx="906927" cy="1108985"/>
          </a:xfrm>
          <a:prstGeom prst="rect">
            <a:avLst/>
          </a:prstGeom>
          <a:solidFill>
            <a:schemeClr val="tx2"/>
          </a:solidFill>
        </p:spPr>
        <p:txBody>
          <a:bodyPr/>
          <a:lstStyle>
            <a:lvl1pPr>
              <a:defRPr>
                <a:latin typeface="EYInterstate Light" panose="02000506000000020004" pitchFamily="2" charset="0"/>
              </a:defRPr>
            </a:lvl1pPr>
          </a:lstStyle>
          <a:p>
            <a:endParaRPr lang="en-US"/>
          </a:p>
        </p:txBody>
      </p:sp>
      <p:sp>
        <p:nvSpPr>
          <p:cNvPr id="10" name="Content Placeholder 2"/>
          <p:cNvSpPr>
            <a:spLocks noGrp="1"/>
          </p:cNvSpPr>
          <p:nvPr>
            <p:ph idx="11"/>
          </p:nvPr>
        </p:nvSpPr>
        <p:spPr>
          <a:xfrm>
            <a:off x="885233" y="2925611"/>
            <a:ext cx="6070670" cy="4341603"/>
          </a:xfrm>
          <a:prstGeom prst="rect">
            <a:avLst/>
          </a:prstGeom>
        </p:spPr>
        <p:txBody>
          <a:bodyPr lIns="0" tIns="0" rIns="0" bIns="0"/>
          <a:lstStyle>
            <a:lvl1pPr marL="0" indent="0">
              <a:spcBef>
                <a:spcPts val="1101"/>
              </a:spcBef>
              <a:spcAft>
                <a:spcPts val="0"/>
              </a:spcAft>
              <a:buFont typeface="Arial" panose="020B0604020202020204" pitchFamily="34" charset="0"/>
              <a:buNone/>
              <a:defRPr sz="1101" b="1">
                <a:solidFill>
                  <a:schemeClr val="tx2"/>
                </a:solidFill>
                <a:latin typeface="EYInterstate" panose="02000503020000020004" pitchFamily="2" charset="0"/>
              </a:defRPr>
            </a:lvl1pPr>
            <a:lvl2pPr marL="0" indent="0">
              <a:spcBef>
                <a:spcPts val="331"/>
              </a:spcBef>
              <a:spcAft>
                <a:spcPts val="0"/>
              </a:spcAft>
              <a:buFont typeface="Wingdings 3" panose="05040102010807070707" pitchFamily="18" charset="2"/>
              <a:buNone/>
              <a:defRPr sz="1101" i="0">
                <a:solidFill>
                  <a:schemeClr val="tx2"/>
                </a:solidFill>
                <a:latin typeface="EYInterstate Light" panose="02000506000000020004" pitchFamily="2" charset="0"/>
              </a:defRPr>
            </a:lvl2pPr>
            <a:lvl3pPr marL="188929" indent="-188929">
              <a:spcBef>
                <a:spcPts val="165"/>
              </a:spcBef>
              <a:spcAft>
                <a:spcPts val="0"/>
              </a:spcAft>
              <a:buFont typeface="Wingdings 3" panose="05040102010807070707" pitchFamily="18" charset="2"/>
              <a:buChar char="u"/>
              <a:defRPr sz="1101" i="0">
                <a:solidFill>
                  <a:schemeClr val="tx2"/>
                </a:solidFill>
                <a:latin typeface="EYInterstate Light" panose="02000506000000020004" pitchFamily="2" charset="0"/>
              </a:defRPr>
            </a:lvl3pPr>
            <a:lvl4pPr marL="377859" indent="-188929">
              <a:spcBef>
                <a:spcPts val="165"/>
              </a:spcBef>
              <a:spcAft>
                <a:spcPts val="0"/>
              </a:spcAft>
              <a:buFont typeface="Wingdings 3" panose="05040102010807070707" pitchFamily="18" charset="2"/>
              <a:buChar char="u"/>
              <a:defRPr sz="1101" i="0">
                <a:solidFill>
                  <a:schemeClr val="tx2"/>
                </a:solidFill>
                <a:latin typeface="EYInterstate Light" panose="02000506000000020004" pitchFamily="2" charset="0"/>
              </a:defRPr>
            </a:lvl4pPr>
            <a:lvl5pPr marL="570286" indent="-188929">
              <a:spcBef>
                <a:spcPts val="165"/>
              </a:spcBef>
              <a:spcAft>
                <a:spcPts val="0"/>
              </a:spcAft>
              <a:buFont typeface="Wingdings 3" panose="05040102010807070707" pitchFamily="18" charset="2"/>
              <a:buChar char="u"/>
              <a:defRPr sz="1101" i="0">
                <a:solidFill>
                  <a:schemeClr val="tx2"/>
                </a:solidFill>
                <a:latin typeface="EYInterstate Light" panose="02000506000000020004"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Rectangle 10"/>
          <p:cNvSpPr/>
          <p:nvPr userDrawn="1"/>
        </p:nvSpPr>
        <p:spPr>
          <a:xfrm>
            <a:off x="7076620" y="1347753"/>
            <a:ext cx="6070671" cy="1335095"/>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322">
              <a:solidFill>
                <a:schemeClr val="tx1"/>
              </a:solidFill>
              <a:latin typeface="EYInterstate Light" panose="02000506000000020004" pitchFamily="2" charset="0"/>
            </a:endParaRPr>
          </a:p>
        </p:txBody>
      </p:sp>
      <p:sp>
        <p:nvSpPr>
          <p:cNvPr id="12" name="Content Placeholder 2"/>
          <p:cNvSpPr>
            <a:spLocks noGrp="1"/>
          </p:cNvSpPr>
          <p:nvPr>
            <p:ph idx="12"/>
          </p:nvPr>
        </p:nvSpPr>
        <p:spPr>
          <a:xfrm>
            <a:off x="8205718" y="1460808"/>
            <a:ext cx="4748432" cy="1108985"/>
          </a:xfrm>
          <a:prstGeom prst="rect">
            <a:avLst/>
          </a:prstGeom>
        </p:spPr>
        <p:txBody>
          <a:bodyPr lIns="0" tIns="0" rIns="0" bIns="0"/>
          <a:lstStyle>
            <a:lvl1pPr marL="0" indent="0">
              <a:spcBef>
                <a:spcPts val="0"/>
              </a:spcBef>
              <a:buFont typeface="Arial" panose="020B0604020202020204" pitchFamily="34" charset="0"/>
              <a:buNone/>
              <a:defRPr sz="1542" b="1">
                <a:solidFill>
                  <a:schemeClr val="tx1"/>
                </a:solidFill>
                <a:latin typeface="EYInterstate" panose="02000503020000020004" pitchFamily="2" charset="0"/>
              </a:defRPr>
            </a:lvl1pPr>
            <a:lvl2pPr marL="0" indent="0">
              <a:spcBef>
                <a:spcPts val="0"/>
              </a:spcBef>
              <a:spcAft>
                <a:spcPts val="331"/>
              </a:spcAft>
              <a:buFont typeface="Wingdings 3" panose="05040102010807070707" pitchFamily="18" charset="2"/>
              <a:buNone/>
              <a:defRPr i="1">
                <a:solidFill>
                  <a:schemeClr val="tx1"/>
                </a:solidFill>
                <a:latin typeface="EYInterstate" panose="02000503020000020004" pitchFamily="2" charset="0"/>
              </a:defRPr>
            </a:lvl2pPr>
            <a:lvl3pPr marL="0" indent="0">
              <a:spcBef>
                <a:spcPts val="0"/>
              </a:spcBef>
              <a:buFont typeface="Wingdings 3" panose="05040102010807070707" pitchFamily="18" charset="2"/>
              <a:buNone/>
              <a:defRPr sz="1101">
                <a:solidFill>
                  <a:schemeClr val="tx1"/>
                </a:solidFill>
                <a:latin typeface="EYInterstate Light" panose="02000506000000020004" pitchFamily="2" charset="0"/>
              </a:defRPr>
            </a:lvl3pPr>
            <a:lvl4pPr marL="0" indent="0">
              <a:spcBef>
                <a:spcPts val="0"/>
              </a:spcBef>
              <a:buFont typeface="Wingdings 3" panose="05040102010807070707" pitchFamily="18" charset="2"/>
              <a:buNone/>
              <a:defRPr sz="1101">
                <a:solidFill>
                  <a:schemeClr val="tx1"/>
                </a:solidFill>
                <a:latin typeface="EYInterstate Light" panose="02000506000000020004" pitchFamily="2" charset="0"/>
              </a:defRPr>
            </a:lvl4pPr>
            <a:lvl5pPr marL="0" indent="0">
              <a:spcBef>
                <a:spcPts val="0"/>
              </a:spcBef>
              <a:buFont typeface="Wingdings 3" panose="05040102010807070707" pitchFamily="18" charset="2"/>
              <a:buNone/>
              <a:defRPr sz="1101">
                <a:solidFill>
                  <a:schemeClr val="tx1"/>
                </a:solidFill>
                <a:latin typeface="EYInterstate Light" panose="02000506000000020004"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Picture Placeholder 7"/>
          <p:cNvSpPr>
            <a:spLocks noGrp="1"/>
          </p:cNvSpPr>
          <p:nvPr>
            <p:ph type="pic" sz="quarter" idx="13"/>
          </p:nvPr>
        </p:nvSpPr>
        <p:spPr>
          <a:xfrm>
            <a:off x="7187705" y="1460808"/>
            <a:ext cx="906927" cy="1108985"/>
          </a:xfrm>
          <a:prstGeom prst="rect">
            <a:avLst/>
          </a:prstGeom>
          <a:solidFill>
            <a:schemeClr val="tx2"/>
          </a:solidFill>
        </p:spPr>
        <p:txBody>
          <a:bodyPr/>
          <a:lstStyle>
            <a:lvl1pPr>
              <a:defRPr>
                <a:latin typeface="EYInterstate Light" panose="02000506000000020004" pitchFamily="2" charset="0"/>
              </a:defRPr>
            </a:lvl1pPr>
          </a:lstStyle>
          <a:p>
            <a:endParaRPr lang="en-US"/>
          </a:p>
        </p:txBody>
      </p:sp>
      <p:sp>
        <p:nvSpPr>
          <p:cNvPr id="14" name="Content Placeholder 2"/>
          <p:cNvSpPr>
            <a:spLocks noGrp="1"/>
          </p:cNvSpPr>
          <p:nvPr>
            <p:ph idx="14"/>
          </p:nvPr>
        </p:nvSpPr>
        <p:spPr>
          <a:xfrm>
            <a:off x="7076619" y="2925611"/>
            <a:ext cx="6070670" cy="4341603"/>
          </a:xfrm>
          <a:prstGeom prst="rect">
            <a:avLst/>
          </a:prstGeom>
        </p:spPr>
        <p:txBody>
          <a:bodyPr lIns="0" tIns="0" rIns="0" bIns="0"/>
          <a:lstStyle>
            <a:lvl1pPr marL="0" indent="0">
              <a:spcBef>
                <a:spcPts val="1101"/>
              </a:spcBef>
              <a:spcAft>
                <a:spcPts val="0"/>
              </a:spcAft>
              <a:buFont typeface="Arial" panose="020B0604020202020204" pitchFamily="34" charset="0"/>
              <a:buNone/>
              <a:defRPr sz="1101" b="1">
                <a:solidFill>
                  <a:schemeClr val="tx2"/>
                </a:solidFill>
                <a:latin typeface="EYInterstate" panose="02000503020000020004" pitchFamily="2" charset="0"/>
              </a:defRPr>
            </a:lvl1pPr>
            <a:lvl2pPr marL="0" indent="0">
              <a:spcBef>
                <a:spcPts val="331"/>
              </a:spcBef>
              <a:spcAft>
                <a:spcPts val="0"/>
              </a:spcAft>
              <a:buFont typeface="Wingdings 3" panose="05040102010807070707" pitchFamily="18" charset="2"/>
              <a:buNone/>
              <a:defRPr sz="1101" i="0">
                <a:solidFill>
                  <a:schemeClr val="tx2"/>
                </a:solidFill>
                <a:latin typeface="EYInterstate Light" panose="02000506000000020004" pitchFamily="2" charset="0"/>
              </a:defRPr>
            </a:lvl2pPr>
            <a:lvl3pPr marL="188929" indent="-188929">
              <a:spcBef>
                <a:spcPts val="165"/>
              </a:spcBef>
              <a:spcAft>
                <a:spcPts val="0"/>
              </a:spcAft>
              <a:buFont typeface="Wingdings 3" panose="05040102010807070707" pitchFamily="18" charset="2"/>
              <a:buChar char="u"/>
              <a:defRPr sz="1101" i="0">
                <a:solidFill>
                  <a:schemeClr val="tx2"/>
                </a:solidFill>
                <a:latin typeface="EYInterstate Light" panose="02000506000000020004" pitchFamily="2" charset="0"/>
              </a:defRPr>
            </a:lvl3pPr>
            <a:lvl4pPr marL="377859" indent="-188929">
              <a:spcBef>
                <a:spcPts val="165"/>
              </a:spcBef>
              <a:spcAft>
                <a:spcPts val="0"/>
              </a:spcAft>
              <a:buFont typeface="Wingdings 3" panose="05040102010807070707" pitchFamily="18" charset="2"/>
              <a:buChar char="u"/>
              <a:defRPr sz="1101" i="0">
                <a:solidFill>
                  <a:schemeClr val="tx2"/>
                </a:solidFill>
                <a:latin typeface="EYInterstate Light" panose="02000506000000020004" pitchFamily="2" charset="0"/>
              </a:defRPr>
            </a:lvl4pPr>
            <a:lvl5pPr marL="570286" indent="-188929">
              <a:spcBef>
                <a:spcPts val="165"/>
              </a:spcBef>
              <a:spcAft>
                <a:spcPts val="0"/>
              </a:spcAft>
              <a:buFont typeface="Wingdings 3" panose="05040102010807070707" pitchFamily="18" charset="2"/>
              <a:buChar char="u"/>
              <a:defRPr sz="1101" i="0">
                <a:solidFill>
                  <a:schemeClr val="tx2"/>
                </a:solidFill>
                <a:latin typeface="EYInterstate Light" panose="02000506000000020004"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Rectangle 14">
            <a:extLst>
              <a:ext uri="{FF2B5EF4-FFF2-40B4-BE49-F238E27FC236}">
                <a16:creationId xmlns:a16="http://schemas.microsoft.com/office/drawing/2014/main" id="{435A19E3-1051-423C-9EC7-B2898B8DDC07}"/>
              </a:ext>
            </a:extLst>
          </p:cNvPr>
          <p:cNvSpPr/>
          <p:nvPr userDrawn="1"/>
        </p:nvSpPr>
        <p:spPr>
          <a:xfrm>
            <a:off x="339400" y="336056"/>
            <a:ext cx="215838" cy="6931158"/>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319">
              <a:solidFill>
                <a:schemeClr val="tx1"/>
              </a:solidFill>
              <a:latin typeface="EYInterstate Light" panose="02000506000000020004" pitchFamily="2" charset="0"/>
            </a:endParaRPr>
          </a:p>
        </p:txBody>
      </p:sp>
    </p:spTree>
    <p:extLst>
      <p:ext uri="{BB962C8B-B14F-4D97-AF65-F5344CB8AC3E}">
        <p14:creationId xmlns:p14="http://schemas.microsoft.com/office/powerpoint/2010/main" val="174674675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Empty">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lvl1pPr>
              <a:defRPr>
                <a:latin typeface="EYInterstate Light" panose="02000506000000020004" pitchFamily="2" charset="0"/>
              </a:defRPr>
            </a:lvl1pPr>
          </a:lstStyle>
          <a:p>
            <a:endParaRPr lang="en-US">
              <a:solidFill>
                <a:srgbClr val="646464"/>
              </a:solidFill>
            </a:endParaRPr>
          </a:p>
        </p:txBody>
      </p:sp>
      <p:sp>
        <p:nvSpPr>
          <p:cNvPr id="5" name="Footer Placeholder 4"/>
          <p:cNvSpPr>
            <a:spLocks noGrp="1"/>
          </p:cNvSpPr>
          <p:nvPr>
            <p:ph type="ftr" sz="quarter" idx="11"/>
          </p:nvPr>
        </p:nvSpPr>
        <p:spPr/>
        <p:txBody>
          <a:bodyPr/>
          <a:lstStyle>
            <a:lvl1pPr>
              <a:defRPr>
                <a:latin typeface="EYInterstate Light" panose="02000506000000020004" pitchFamily="2" charset="0"/>
              </a:defRPr>
            </a:lvl1pPr>
          </a:lstStyle>
          <a:p>
            <a:endParaRPr lang="en-GB">
              <a:solidFill>
                <a:srgbClr val="646464"/>
              </a:solidFill>
            </a:endParaRPr>
          </a:p>
        </p:txBody>
      </p:sp>
      <p:sp>
        <p:nvSpPr>
          <p:cNvPr id="6" name="Rectangle 5">
            <a:extLst>
              <a:ext uri="{FF2B5EF4-FFF2-40B4-BE49-F238E27FC236}">
                <a16:creationId xmlns:a16="http://schemas.microsoft.com/office/drawing/2014/main" id="{F07EC183-C1AF-43DD-95EB-5E5EA145FD0D}"/>
              </a:ext>
            </a:extLst>
          </p:cNvPr>
          <p:cNvSpPr/>
          <p:nvPr userDrawn="1"/>
        </p:nvSpPr>
        <p:spPr>
          <a:xfrm>
            <a:off x="339400" y="336056"/>
            <a:ext cx="215838" cy="6931158"/>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319">
              <a:solidFill>
                <a:schemeClr val="tx1"/>
              </a:solidFill>
              <a:latin typeface="EYInterstate Light" panose="02000506000000020004" pitchFamily="2" charset="0"/>
            </a:endParaRPr>
          </a:p>
        </p:txBody>
      </p:sp>
    </p:spTree>
    <p:extLst>
      <p:ext uri="{BB962C8B-B14F-4D97-AF65-F5344CB8AC3E}">
        <p14:creationId xmlns:p14="http://schemas.microsoft.com/office/powerpoint/2010/main" val="30805938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Quals_Title only">
    <p:spTree>
      <p:nvGrpSpPr>
        <p:cNvPr id="1" name=""/>
        <p:cNvGrpSpPr/>
        <p:nvPr/>
      </p:nvGrpSpPr>
      <p:grpSpPr>
        <a:xfrm>
          <a:off x="0" y="0"/>
          <a:ext cx="0" cy="0"/>
          <a:chOff x="0" y="0"/>
          <a:chExt cx="0" cy="0"/>
        </a:xfrm>
      </p:grpSpPr>
      <p:sp>
        <p:nvSpPr>
          <p:cNvPr id="3" name="Rectangle 2"/>
          <p:cNvSpPr/>
          <p:nvPr userDrawn="1"/>
        </p:nvSpPr>
        <p:spPr>
          <a:xfrm>
            <a:off x="10174935" y="336056"/>
            <a:ext cx="2970606" cy="6931158"/>
          </a:xfrm>
          <a:prstGeom prst="rect">
            <a:avLst/>
          </a:prstGeom>
          <a:solidFill>
            <a:schemeClr val="tx1">
              <a:alpha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319">
              <a:solidFill>
                <a:schemeClr val="tx1"/>
              </a:solidFill>
              <a:latin typeface="EYInterstate Light" panose="02000506000000020004" pitchFamily="2" charset="0"/>
            </a:endParaRPr>
          </a:p>
        </p:txBody>
      </p:sp>
      <p:sp>
        <p:nvSpPr>
          <p:cNvPr id="2" name="Title 1"/>
          <p:cNvSpPr>
            <a:spLocks noGrp="1"/>
          </p:cNvSpPr>
          <p:nvPr>
            <p:ph type="title"/>
          </p:nvPr>
        </p:nvSpPr>
        <p:spPr>
          <a:xfrm>
            <a:off x="885237" y="336056"/>
            <a:ext cx="9154992" cy="834848"/>
          </a:xfrm>
          <a:prstGeom prst="rect">
            <a:avLst/>
          </a:prstGeom>
        </p:spPr>
        <p:txBody>
          <a:bodyPr lIns="0" tIns="0" rIns="0" bIns="0"/>
          <a:lstStyle>
            <a:lvl1pPr>
              <a:lnSpc>
                <a:spcPct val="85000"/>
              </a:lnSpc>
              <a:defRPr sz="2419" b="1">
                <a:solidFill>
                  <a:schemeClr val="tx2"/>
                </a:solidFill>
                <a:latin typeface="EYInterstate" panose="02000503020000020004" pitchFamily="2" charset="0"/>
              </a:defRPr>
            </a:lvl1pPr>
          </a:lstStyle>
          <a:p>
            <a:r>
              <a:rPr lang="en-US"/>
              <a:t>Click to edit Master title style</a:t>
            </a:r>
            <a:endParaRPr lang="en-GB"/>
          </a:p>
        </p:txBody>
      </p:sp>
      <p:sp>
        <p:nvSpPr>
          <p:cNvPr id="5" name="Pentagon 4"/>
          <p:cNvSpPr/>
          <p:nvPr userDrawn="1"/>
        </p:nvSpPr>
        <p:spPr>
          <a:xfrm>
            <a:off x="885236" y="1352626"/>
            <a:ext cx="1242826" cy="1865112"/>
          </a:xfrm>
          <a:prstGeom prst="homePlate">
            <a:avLst>
              <a:gd name="adj" fmla="val 20270"/>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150773" rIns="0" rtlCol="0" anchor="ctr" anchorCtr="0"/>
          <a:lstStyle/>
          <a:p>
            <a:r>
              <a:rPr lang="en-US" sz="1539" b="1">
                <a:solidFill>
                  <a:schemeClr val="tx1"/>
                </a:solidFill>
                <a:latin typeface="EYInterstate" panose="02000503020000020004" pitchFamily="2" charset="0"/>
              </a:rPr>
              <a:t>Situation</a:t>
            </a:r>
          </a:p>
        </p:txBody>
      </p:sp>
      <p:sp>
        <p:nvSpPr>
          <p:cNvPr id="6" name="Pentagon 5"/>
          <p:cNvSpPr/>
          <p:nvPr userDrawn="1"/>
        </p:nvSpPr>
        <p:spPr>
          <a:xfrm>
            <a:off x="885236" y="3363362"/>
            <a:ext cx="1242826" cy="1865112"/>
          </a:xfrm>
          <a:prstGeom prst="homePlate">
            <a:avLst>
              <a:gd name="adj" fmla="val 20270"/>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150773" rIns="0" rtlCol="0" anchor="ctr" anchorCtr="0"/>
          <a:lstStyle/>
          <a:p>
            <a:r>
              <a:rPr lang="en-US" sz="1539" b="1">
                <a:solidFill>
                  <a:schemeClr val="tx1"/>
                </a:solidFill>
                <a:latin typeface="EYInterstate" panose="02000503020000020004" pitchFamily="2" charset="0"/>
              </a:rPr>
              <a:t>Our role</a:t>
            </a:r>
          </a:p>
        </p:txBody>
      </p:sp>
      <p:sp>
        <p:nvSpPr>
          <p:cNvPr id="8" name="Pentagon 7"/>
          <p:cNvSpPr/>
          <p:nvPr userDrawn="1"/>
        </p:nvSpPr>
        <p:spPr>
          <a:xfrm>
            <a:off x="885236" y="5374097"/>
            <a:ext cx="1242826" cy="1865112"/>
          </a:xfrm>
          <a:prstGeom prst="homePlate">
            <a:avLst>
              <a:gd name="adj" fmla="val 20270"/>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150773" rIns="0" rtlCol="0" anchor="ctr" anchorCtr="0"/>
          <a:lstStyle/>
          <a:p>
            <a:r>
              <a:rPr lang="en-US" sz="1539" b="1">
                <a:solidFill>
                  <a:schemeClr val="tx1"/>
                </a:solidFill>
                <a:latin typeface="EYInterstate" panose="02000503020000020004" pitchFamily="2" charset="0"/>
              </a:rPr>
              <a:t>Value</a:t>
            </a:r>
            <a:br>
              <a:rPr lang="en-US" sz="1539" b="1">
                <a:solidFill>
                  <a:schemeClr val="tx1"/>
                </a:solidFill>
                <a:latin typeface="EYInterstate" panose="02000503020000020004" pitchFamily="2" charset="0"/>
              </a:rPr>
            </a:br>
            <a:r>
              <a:rPr lang="en-US" sz="1539" b="1">
                <a:solidFill>
                  <a:schemeClr val="tx1"/>
                </a:solidFill>
                <a:latin typeface="EYInterstate" panose="02000503020000020004" pitchFamily="2" charset="0"/>
              </a:rPr>
              <a:t>delivered</a:t>
            </a:r>
          </a:p>
        </p:txBody>
      </p:sp>
      <p:sp>
        <p:nvSpPr>
          <p:cNvPr id="9" name="Content Placeholder 2"/>
          <p:cNvSpPr>
            <a:spLocks noGrp="1"/>
          </p:cNvSpPr>
          <p:nvPr>
            <p:ph idx="1"/>
          </p:nvPr>
        </p:nvSpPr>
        <p:spPr>
          <a:xfrm>
            <a:off x="2216934" y="1381358"/>
            <a:ext cx="7823295" cy="1865112"/>
          </a:xfrm>
          <a:prstGeom prst="rect">
            <a:avLst/>
          </a:prstGeom>
        </p:spPr>
        <p:txBody>
          <a:bodyPr lIns="0" tIns="0" rIns="0" bIns="0" anchor="ctr"/>
          <a:lstStyle>
            <a:lvl1pPr marL="0" indent="0">
              <a:spcBef>
                <a:spcPts val="330"/>
              </a:spcBef>
              <a:buFont typeface="Wingdings 3" panose="05040102010807070707" pitchFamily="18" charset="2"/>
              <a:buNone/>
              <a:defRPr sz="1263">
                <a:solidFill>
                  <a:schemeClr val="tx2"/>
                </a:solidFill>
                <a:latin typeface="EYInterstate Light" panose="02000506000000020004" pitchFamily="2" charset="0"/>
              </a:defRPr>
            </a:lvl1pPr>
            <a:lvl2pPr marL="254766" indent="-251276">
              <a:spcBef>
                <a:spcPts val="221"/>
              </a:spcBef>
              <a:buFont typeface="Wingdings 3" panose="05040102010807070707" pitchFamily="18" charset="2"/>
              <a:buChar char="u"/>
              <a:defRPr sz="1263">
                <a:solidFill>
                  <a:schemeClr val="tx2"/>
                </a:solidFill>
                <a:latin typeface="EYInterstate Light" panose="02000506000000020004" pitchFamily="2" charset="0"/>
              </a:defRPr>
            </a:lvl2pPr>
            <a:lvl3pPr marL="509531" indent="-251276">
              <a:spcBef>
                <a:spcPts val="221"/>
              </a:spcBef>
              <a:buFont typeface="Wingdings 3" panose="05040102010807070707" pitchFamily="18" charset="2"/>
              <a:buChar char="u"/>
              <a:defRPr sz="1263">
                <a:solidFill>
                  <a:schemeClr val="tx2"/>
                </a:solidFill>
                <a:latin typeface="EYInterstate Light" panose="02000506000000020004" pitchFamily="2" charset="0"/>
              </a:defRPr>
            </a:lvl3pPr>
            <a:lvl4pPr marL="753826" indent="-251276">
              <a:spcBef>
                <a:spcPts val="221"/>
              </a:spcBef>
              <a:buFont typeface="Wingdings 3" panose="05040102010807070707" pitchFamily="18" charset="2"/>
              <a:buChar char="u"/>
              <a:defRPr sz="1263">
                <a:solidFill>
                  <a:schemeClr val="tx2"/>
                </a:solidFill>
                <a:latin typeface="EYInterstate Light" panose="02000506000000020004" pitchFamily="2" charset="0"/>
              </a:defRPr>
            </a:lvl4pPr>
            <a:lvl5pPr marL="1005102" indent="-251276">
              <a:spcBef>
                <a:spcPts val="221"/>
              </a:spcBef>
              <a:buFont typeface="Wingdings 3" panose="05040102010807070707" pitchFamily="18" charset="2"/>
              <a:buChar char="u"/>
              <a:defRPr sz="1263">
                <a:solidFill>
                  <a:schemeClr val="tx2"/>
                </a:solidFill>
                <a:latin typeface="EYInterstate Light" panose="02000506000000020004"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Rectangle 3"/>
          <p:cNvSpPr/>
          <p:nvPr userDrawn="1"/>
        </p:nvSpPr>
        <p:spPr>
          <a:xfrm>
            <a:off x="1780266" y="3187492"/>
            <a:ext cx="8259963" cy="30245"/>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319">
              <a:solidFill>
                <a:schemeClr val="tx1"/>
              </a:solidFill>
              <a:latin typeface="EYInterstate Light" panose="02000506000000020004" pitchFamily="2" charset="0"/>
            </a:endParaRPr>
          </a:p>
        </p:txBody>
      </p:sp>
      <p:sp>
        <p:nvSpPr>
          <p:cNvPr id="10" name="Content Placeholder 2"/>
          <p:cNvSpPr>
            <a:spLocks noGrp="1"/>
          </p:cNvSpPr>
          <p:nvPr>
            <p:ph idx="10"/>
          </p:nvPr>
        </p:nvSpPr>
        <p:spPr>
          <a:xfrm>
            <a:off x="2216934" y="3363362"/>
            <a:ext cx="7823295" cy="1865112"/>
          </a:xfrm>
          <a:prstGeom prst="rect">
            <a:avLst/>
          </a:prstGeom>
        </p:spPr>
        <p:txBody>
          <a:bodyPr lIns="0" tIns="0" rIns="0" bIns="0" anchor="ctr"/>
          <a:lstStyle>
            <a:lvl1pPr marL="0" indent="0">
              <a:spcBef>
                <a:spcPts val="330"/>
              </a:spcBef>
              <a:buFont typeface="Wingdings 3" panose="05040102010807070707" pitchFamily="18" charset="2"/>
              <a:buNone/>
              <a:defRPr sz="1263">
                <a:solidFill>
                  <a:schemeClr val="tx2"/>
                </a:solidFill>
                <a:latin typeface="EYInterstate Light" panose="02000506000000020004" pitchFamily="2" charset="0"/>
              </a:defRPr>
            </a:lvl1pPr>
            <a:lvl2pPr marL="254766" indent="-251276">
              <a:spcBef>
                <a:spcPts val="221"/>
              </a:spcBef>
              <a:buFont typeface="Wingdings 3" panose="05040102010807070707" pitchFamily="18" charset="2"/>
              <a:buChar char="u"/>
              <a:defRPr sz="1263">
                <a:solidFill>
                  <a:schemeClr val="tx2"/>
                </a:solidFill>
                <a:latin typeface="EYInterstate Light" panose="02000506000000020004" pitchFamily="2" charset="0"/>
              </a:defRPr>
            </a:lvl2pPr>
            <a:lvl3pPr marL="509531" indent="-251276">
              <a:spcBef>
                <a:spcPts val="221"/>
              </a:spcBef>
              <a:buFont typeface="Wingdings 3" panose="05040102010807070707" pitchFamily="18" charset="2"/>
              <a:buChar char="u"/>
              <a:defRPr sz="1263">
                <a:solidFill>
                  <a:schemeClr val="tx2"/>
                </a:solidFill>
                <a:latin typeface="EYInterstate Light" panose="02000506000000020004" pitchFamily="2" charset="0"/>
              </a:defRPr>
            </a:lvl3pPr>
            <a:lvl4pPr marL="753826" indent="-251276">
              <a:spcBef>
                <a:spcPts val="221"/>
              </a:spcBef>
              <a:buFont typeface="Wingdings 3" panose="05040102010807070707" pitchFamily="18" charset="2"/>
              <a:buChar char="u"/>
              <a:defRPr sz="1263">
                <a:solidFill>
                  <a:schemeClr val="tx2"/>
                </a:solidFill>
                <a:latin typeface="EYInterstate Light" panose="02000506000000020004" pitchFamily="2" charset="0"/>
              </a:defRPr>
            </a:lvl4pPr>
            <a:lvl5pPr marL="1005102" indent="-251276">
              <a:spcBef>
                <a:spcPts val="221"/>
              </a:spcBef>
              <a:buFont typeface="Wingdings 3" panose="05040102010807070707" pitchFamily="18" charset="2"/>
              <a:buChar char="u"/>
              <a:defRPr sz="1263">
                <a:solidFill>
                  <a:schemeClr val="tx2"/>
                </a:solidFill>
                <a:latin typeface="EYInterstate Light" panose="02000506000000020004"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Rectangle 10"/>
          <p:cNvSpPr/>
          <p:nvPr userDrawn="1"/>
        </p:nvSpPr>
        <p:spPr>
          <a:xfrm>
            <a:off x="1780266" y="5198228"/>
            <a:ext cx="8259963" cy="30245"/>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319">
              <a:solidFill>
                <a:schemeClr val="tx1"/>
              </a:solidFill>
              <a:latin typeface="EYInterstate Light" panose="02000506000000020004" pitchFamily="2" charset="0"/>
            </a:endParaRPr>
          </a:p>
        </p:txBody>
      </p:sp>
      <p:sp>
        <p:nvSpPr>
          <p:cNvPr id="12" name="Content Placeholder 2"/>
          <p:cNvSpPr>
            <a:spLocks noGrp="1"/>
          </p:cNvSpPr>
          <p:nvPr>
            <p:ph idx="11"/>
          </p:nvPr>
        </p:nvSpPr>
        <p:spPr>
          <a:xfrm>
            <a:off x="2216934" y="5374097"/>
            <a:ext cx="7823295" cy="1865112"/>
          </a:xfrm>
          <a:prstGeom prst="rect">
            <a:avLst/>
          </a:prstGeom>
        </p:spPr>
        <p:txBody>
          <a:bodyPr lIns="0" tIns="0" rIns="0" bIns="0" anchor="ctr"/>
          <a:lstStyle>
            <a:lvl1pPr marL="0" indent="0">
              <a:spcBef>
                <a:spcPts val="330"/>
              </a:spcBef>
              <a:buFont typeface="Wingdings 3" panose="05040102010807070707" pitchFamily="18" charset="2"/>
              <a:buNone/>
              <a:defRPr sz="1263">
                <a:solidFill>
                  <a:schemeClr val="tx2"/>
                </a:solidFill>
                <a:latin typeface="EYInterstate Light" panose="02000506000000020004" pitchFamily="2" charset="0"/>
              </a:defRPr>
            </a:lvl1pPr>
            <a:lvl2pPr marL="254766" indent="-251276">
              <a:spcBef>
                <a:spcPts val="221"/>
              </a:spcBef>
              <a:buFont typeface="Wingdings 3" panose="05040102010807070707" pitchFamily="18" charset="2"/>
              <a:buChar char="u"/>
              <a:defRPr sz="1263">
                <a:solidFill>
                  <a:schemeClr val="tx2"/>
                </a:solidFill>
                <a:latin typeface="EYInterstate Light" panose="02000506000000020004" pitchFamily="2" charset="0"/>
              </a:defRPr>
            </a:lvl2pPr>
            <a:lvl3pPr marL="509531" indent="-251276">
              <a:spcBef>
                <a:spcPts val="221"/>
              </a:spcBef>
              <a:buFont typeface="Wingdings 3" panose="05040102010807070707" pitchFamily="18" charset="2"/>
              <a:buChar char="u"/>
              <a:defRPr sz="1263">
                <a:solidFill>
                  <a:schemeClr val="tx2"/>
                </a:solidFill>
                <a:latin typeface="EYInterstate Light" panose="02000506000000020004" pitchFamily="2" charset="0"/>
              </a:defRPr>
            </a:lvl3pPr>
            <a:lvl4pPr marL="753826" indent="-251276">
              <a:spcBef>
                <a:spcPts val="221"/>
              </a:spcBef>
              <a:buFont typeface="Wingdings 3" panose="05040102010807070707" pitchFamily="18" charset="2"/>
              <a:buChar char="u"/>
              <a:defRPr sz="1263">
                <a:solidFill>
                  <a:schemeClr val="tx2"/>
                </a:solidFill>
                <a:latin typeface="EYInterstate Light" panose="02000506000000020004" pitchFamily="2" charset="0"/>
              </a:defRPr>
            </a:lvl4pPr>
            <a:lvl5pPr marL="1005102" indent="-251276">
              <a:spcBef>
                <a:spcPts val="221"/>
              </a:spcBef>
              <a:buFont typeface="Wingdings 3" panose="05040102010807070707" pitchFamily="18" charset="2"/>
              <a:buChar char="u"/>
              <a:defRPr sz="1263">
                <a:solidFill>
                  <a:schemeClr val="tx2"/>
                </a:solidFill>
                <a:latin typeface="EYInterstate Light" panose="02000506000000020004"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Rectangle 12"/>
          <p:cNvSpPr/>
          <p:nvPr userDrawn="1"/>
        </p:nvSpPr>
        <p:spPr>
          <a:xfrm>
            <a:off x="1780266" y="7208964"/>
            <a:ext cx="8259963" cy="30245"/>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319">
              <a:solidFill>
                <a:schemeClr val="tx1"/>
              </a:solidFill>
              <a:latin typeface="EYInterstate Light" panose="02000506000000020004" pitchFamily="2" charset="0"/>
            </a:endParaRPr>
          </a:p>
        </p:txBody>
      </p:sp>
      <p:sp>
        <p:nvSpPr>
          <p:cNvPr id="14" name="Rectangle 13">
            <a:extLst>
              <a:ext uri="{FF2B5EF4-FFF2-40B4-BE49-F238E27FC236}">
                <a16:creationId xmlns:a16="http://schemas.microsoft.com/office/drawing/2014/main" id="{65C49DF0-CD4D-42DE-9BE1-33E37C7DB369}"/>
              </a:ext>
            </a:extLst>
          </p:cNvPr>
          <p:cNvSpPr/>
          <p:nvPr userDrawn="1"/>
        </p:nvSpPr>
        <p:spPr>
          <a:xfrm>
            <a:off x="339400" y="336056"/>
            <a:ext cx="215838" cy="6931158"/>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319">
              <a:solidFill>
                <a:schemeClr val="tx1"/>
              </a:solidFill>
              <a:latin typeface="EYInterstate Light" panose="02000506000000020004" pitchFamily="2" charset="0"/>
            </a:endParaRPr>
          </a:p>
        </p:txBody>
      </p:sp>
    </p:spTree>
    <p:extLst>
      <p:ext uri="{BB962C8B-B14F-4D97-AF65-F5344CB8AC3E}">
        <p14:creationId xmlns:p14="http://schemas.microsoft.com/office/powerpoint/2010/main" val="207295571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userDrawn="1">
  <p:cSld name="3_Approved question tall">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Rectangle 1"/>
          <p:cNvSpPr/>
          <p:nvPr userDrawn="1"/>
        </p:nvSpPr>
        <p:spPr>
          <a:xfrm>
            <a:off x="8499260" y="6065114"/>
            <a:ext cx="4943693" cy="1496163"/>
          </a:xfrm>
          <a:prstGeom prst="rect">
            <a:avLst/>
          </a:prstGeom>
          <a:gradFill flip="none" rotWithShape="1">
            <a:gsLst>
              <a:gs pos="0">
                <a:schemeClr val="tx1">
                  <a:alpha val="0"/>
                </a:schemeClr>
              </a:gs>
              <a:gs pos="100000">
                <a:schemeClr val="tx1">
                  <a:alpha val="49000"/>
                </a:schemeClr>
              </a:gs>
            </a:gsLst>
            <a:lin ang="27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93948" tIns="46975" rIns="93948" bIns="46975" rtlCol="0" anchor="t" anchorCtr="0"/>
          <a:lstStyle/>
          <a:p>
            <a:pPr algn="ctr"/>
            <a:endParaRPr lang="en-US" sz="1184">
              <a:solidFill>
                <a:srgbClr val="000000"/>
              </a:solidFill>
              <a:latin typeface="EYInterstate Light" panose="02000506000000020004" pitchFamily="2" charset="0"/>
            </a:endParaRPr>
          </a:p>
        </p:txBody>
      </p:sp>
      <p:grpSp>
        <p:nvGrpSpPr>
          <p:cNvPr id="14" name="Group 13"/>
          <p:cNvGrpSpPr>
            <a:grpSpLocks noChangeAspect="1"/>
          </p:cNvGrpSpPr>
          <p:nvPr userDrawn="1"/>
        </p:nvGrpSpPr>
        <p:grpSpPr>
          <a:xfrm>
            <a:off x="11658482" y="5887704"/>
            <a:ext cx="1088879" cy="1275937"/>
            <a:chOff x="838200" y="634939"/>
            <a:chExt cx="1266639" cy="1484312"/>
          </a:xfrm>
        </p:grpSpPr>
        <p:sp>
          <p:nvSpPr>
            <p:cNvPr id="15" name="Freeform 7"/>
            <p:cNvSpPr>
              <a:spLocks/>
            </p:cNvSpPr>
            <p:nvPr/>
          </p:nvSpPr>
          <p:spPr bwMode="auto">
            <a:xfrm>
              <a:off x="838200" y="634939"/>
              <a:ext cx="1014493" cy="370339"/>
            </a:xfrm>
            <a:custGeom>
              <a:avLst/>
              <a:gdLst>
                <a:gd name="T0" fmla="*/ 3090 w 3090"/>
                <a:gd name="T1" fmla="*/ 0 h 1128"/>
                <a:gd name="T2" fmla="*/ 0 w 3090"/>
                <a:gd name="T3" fmla="*/ 1128 h 1128"/>
                <a:gd name="T4" fmla="*/ 3090 w 3090"/>
                <a:gd name="T5" fmla="*/ 582 h 1128"/>
                <a:gd name="T6" fmla="*/ 3090 w 3090"/>
                <a:gd name="T7" fmla="*/ 0 h 1128"/>
              </a:gdLst>
              <a:ahLst/>
              <a:cxnLst>
                <a:cxn ang="0">
                  <a:pos x="T0" y="T1"/>
                </a:cxn>
                <a:cxn ang="0">
                  <a:pos x="T2" y="T3"/>
                </a:cxn>
                <a:cxn ang="0">
                  <a:pos x="T4" y="T5"/>
                </a:cxn>
                <a:cxn ang="0">
                  <a:pos x="T6" y="T7"/>
                </a:cxn>
              </a:cxnLst>
              <a:rect l="0" t="0" r="r" b="b"/>
              <a:pathLst>
                <a:path w="3090" h="1128">
                  <a:moveTo>
                    <a:pt x="3090" y="0"/>
                  </a:moveTo>
                  <a:lnTo>
                    <a:pt x="0" y="1128"/>
                  </a:lnTo>
                  <a:lnTo>
                    <a:pt x="3090" y="582"/>
                  </a:lnTo>
                  <a:lnTo>
                    <a:pt x="3090" y="0"/>
                  </a:lnTo>
                  <a:close/>
                </a:path>
              </a:pathLst>
            </a:custGeom>
            <a:solidFill>
              <a:srgbClr val="FFE600"/>
            </a:solidFill>
            <a:ln>
              <a:noFill/>
            </a:ln>
          </p:spPr>
          <p:txBody>
            <a:bodyPr vert="horz" wrap="square" lIns="91440" tIns="45720" rIns="91440" bIns="45720" numCol="1" anchor="t" anchorCtr="0" compatLnSpc="1">
              <a:prstTxWarp prst="textNoShape">
                <a:avLst/>
              </a:prstTxWarp>
            </a:bodyPr>
            <a:lstStyle/>
            <a:p>
              <a:endParaRPr lang="en-US" sz="1979">
                <a:latin typeface="EYInterstate Light" panose="02000506000000020004" pitchFamily="2" charset="0"/>
              </a:endParaRPr>
            </a:p>
          </p:txBody>
        </p:sp>
        <p:sp>
          <p:nvSpPr>
            <p:cNvPr id="16" name="Freeform 8"/>
            <p:cNvSpPr>
              <a:spLocks noEditPoints="1"/>
            </p:cNvSpPr>
            <p:nvPr/>
          </p:nvSpPr>
          <p:spPr bwMode="auto">
            <a:xfrm>
              <a:off x="838200" y="1158930"/>
              <a:ext cx="1266639" cy="960321"/>
            </a:xfrm>
            <a:custGeom>
              <a:avLst/>
              <a:gdLst>
                <a:gd name="T0" fmla="*/ 291 w 3858"/>
                <a:gd name="T1" fmla="*/ 1985 h 2924"/>
                <a:gd name="T2" fmla="*/ 316 w 3858"/>
                <a:gd name="T3" fmla="*/ 2244 h 2924"/>
                <a:gd name="T4" fmla="*/ 189 w 3858"/>
                <a:gd name="T5" fmla="*/ 2262 h 2924"/>
                <a:gd name="T6" fmla="*/ 438 w 3858"/>
                <a:gd name="T7" fmla="*/ 2201 h 2924"/>
                <a:gd name="T8" fmla="*/ 520 w 3858"/>
                <a:gd name="T9" fmla="*/ 2321 h 2924"/>
                <a:gd name="T10" fmla="*/ 1424 w 3858"/>
                <a:gd name="T11" fmla="*/ 2065 h 2924"/>
                <a:gd name="T12" fmla="*/ 1519 w 3858"/>
                <a:gd name="T13" fmla="*/ 2172 h 2924"/>
                <a:gd name="T14" fmla="*/ 870 w 3858"/>
                <a:gd name="T15" fmla="*/ 1932 h 2924"/>
                <a:gd name="T16" fmla="*/ 922 w 3858"/>
                <a:gd name="T17" fmla="*/ 2138 h 2924"/>
                <a:gd name="T18" fmla="*/ 1074 w 3858"/>
                <a:gd name="T19" fmla="*/ 2317 h 2924"/>
                <a:gd name="T20" fmla="*/ 1040 w 3858"/>
                <a:gd name="T21" fmla="*/ 2105 h 2924"/>
                <a:gd name="T22" fmla="*/ 2525 w 3858"/>
                <a:gd name="T23" fmla="*/ 2325 h 2924"/>
                <a:gd name="T24" fmla="*/ 2696 w 3858"/>
                <a:gd name="T25" fmla="*/ 2183 h 2924"/>
                <a:gd name="T26" fmla="*/ 2624 w 3858"/>
                <a:gd name="T27" fmla="*/ 2163 h 2924"/>
                <a:gd name="T28" fmla="*/ 2573 w 3858"/>
                <a:gd name="T29" fmla="*/ 2105 h 2924"/>
                <a:gd name="T30" fmla="*/ 1635 w 3858"/>
                <a:gd name="T31" fmla="*/ 2168 h 2924"/>
                <a:gd name="T32" fmla="*/ 1805 w 3858"/>
                <a:gd name="T33" fmla="*/ 2305 h 2924"/>
                <a:gd name="T34" fmla="*/ 1841 w 3858"/>
                <a:gd name="T35" fmla="*/ 2404 h 2924"/>
                <a:gd name="T36" fmla="*/ 1710 w 3858"/>
                <a:gd name="T37" fmla="*/ 2226 h 2924"/>
                <a:gd name="T38" fmla="*/ 2158 w 3858"/>
                <a:gd name="T39" fmla="*/ 2096 h 2924"/>
                <a:gd name="T40" fmla="*/ 2039 w 3858"/>
                <a:gd name="T41" fmla="*/ 2222 h 2924"/>
                <a:gd name="T42" fmla="*/ 2276 w 3858"/>
                <a:gd name="T43" fmla="*/ 2138 h 2924"/>
                <a:gd name="T44" fmla="*/ 2107 w 3858"/>
                <a:gd name="T45" fmla="*/ 2233 h 2924"/>
                <a:gd name="T46" fmla="*/ 2134 w 3858"/>
                <a:gd name="T47" fmla="*/ 2272 h 2924"/>
                <a:gd name="T48" fmla="*/ 2799 w 3858"/>
                <a:gd name="T49" fmla="*/ 2208 h 2924"/>
                <a:gd name="T50" fmla="*/ 2783 w 3858"/>
                <a:gd name="T51" fmla="*/ 2066 h 2924"/>
                <a:gd name="T52" fmla="*/ 2861 w 3858"/>
                <a:gd name="T53" fmla="*/ 2332 h 2924"/>
                <a:gd name="T54" fmla="*/ 2900 w 3858"/>
                <a:gd name="T55" fmla="*/ 2136 h 2924"/>
                <a:gd name="T56" fmla="*/ 3633 w 3858"/>
                <a:gd name="T57" fmla="*/ 2188 h 2924"/>
                <a:gd name="T58" fmla="*/ 3411 w 3858"/>
                <a:gd name="T59" fmla="*/ 2103 h 2924"/>
                <a:gd name="T60" fmla="*/ 3563 w 3858"/>
                <a:gd name="T61" fmla="*/ 2325 h 2924"/>
                <a:gd name="T62" fmla="*/ 3297 w 3858"/>
                <a:gd name="T63" fmla="*/ 2229 h 2924"/>
                <a:gd name="T64" fmla="*/ 3254 w 3858"/>
                <a:gd name="T65" fmla="*/ 2316 h 2924"/>
                <a:gd name="T66" fmla="*/ 3079 w 3858"/>
                <a:gd name="T67" fmla="*/ 2327 h 2924"/>
                <a:gd name="T68" fmla="*/ 3118 w 3858"/>
                <a:gd name="T69" fmla="*/ 2265 h 2924"/>
                <a:gd name="T70" fmla="*/ 3745 w 3858"/>
                <a:gd name="T71" fmla="*/ 2048 h 2924"/>
                <a:gd name="T72" fmla="*/ 1218 w 3858"/>
                <a:gd name="T73" fmla="*/ 2325 h 2924"/>
                <a:gd name="T74" fmla="*/ 3018 w 3858"/>
                <a:gd name="T75" fmla="*/ 2586 h 2924"/>
                <a:gd name="T76" fmla="*/ 3135 w 3858"/>
                <a:gd name="T77" fmla="*/ 2814 h 2924"/>
                <a:gd name="T78" fmla="*/ 3105 w 3858"/>
                <a:gd name="T79" fmla="*/ 2593 h 2924"/>
                <a:gd name="T80" fmla="*/ 783 w 3858"/>
                <a:gd name="T81" fmla="*/ 2597 h 2924"/>
                <a:gd name="T82" fmla="*/ 840 w 3858"/>
                <a:gd name="T83" fmla="*/ 2611 h 2924"/>
                <a:gd name="T84" fmla="*/ 252 w 3858"/>
                <a:gd name="T85" fmla="*/ 2669 h 2924"/>
                <a:gd name="T86" fmla="*/ 387 w 3858"/>
                <a:gd name="T87" fmla="*/ 2717 h 2924"/>
                <a:gd name="T88" fmla="*/ 629 w 3858"/>
                <a:gd name="T89" fmla="*/ 2717 h 2924"/>
                <a:gd name="T90" fmla="*/ 467 w 3858"/>
                <a:gd name="T91" fmla="*/ 2731 h 2924"/>
                <a:gd name="T92" fmla="*/ 549 w 3858"/>
                <a:gd name="T93" fmla="*/ 2731 h 2924"/>
                <a:gd name="T94" fmla="*/ 2745 w 3858"/>
                <a:gd name="T95" fmla="*/ 2550 h 2924"/>
                <a:gd name="T96" fmla="*/ 1995 w 3858"/>
                <a:gd name="T97" fmla="*/ 2534 h 2924"/>
                <a:gd name="T98" fmla="*/ 2420 w 3858"/>
                <a:gd name="T99" fmla="*/ 2559 h 2924"/>
                <a:gd name="T100" fmla="*/ 2501 w 3858"/>
                <a:gd name="T101" fmla="*/ 2818 h 2924"/>
                <a:gd name="T102" fmla="*/ 2574 w 3858"/>
                <a:gd name="T103" fmla="*/ 2552 h 2924"/>
                <a:gd name="T104" fmla="*/ 2501 w 3858"/>
                <a:gd name="T105" fmla="*/ 2592 h 2924"/>
                <a:gd name="T106" fmla="*/ 958 w 3858"/>
                <a:gd name="T107" fmla="*/ 2418 h 2924"/>
                <a:gd name="T108" fmla="*/ 1502 w 3858"/>
                <a:gd name="T109" fmla="*/ 2546 h 2924"/>
                <a:gd name="T110" fmla="*/ 1384 w 3858"/>
                <a:gd name="T111" fmla="*/ 2608 h 2924"/>
                <a:gd name="T112" fmla="*/ 1599 w 3858"/>
                <a:gd name="T113" fmla="*/ 2597 h 2924"/>
                <a:gd name="T114" fmla="*/ 1730 w 3858"/>
                <a:gd name="T115" fmla="*/ 2811 h 2924"/>
                <a:gd name="T116" fmla="*/ 1753 w 3858"/>
                <a:gd name="T117" fmla="*/ 2916 h 2924"/>
                <a:gd name="T118" fmla="*/ 1692 w 3858"/>
                <a:gd name="T119" fmla="*/ 2750 h 2924"/>
                <a:gd name="T120" fmla="*/ 1241 w 3858"/>
                <a:gd name="T121" fmla="*/ 2656 h 2924"/>
                <a:gd name="T122" fmla="*/ 496 w 3858"/>
                <a:gd name="T123" fmla="*/ 1204 h 29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858" h="2924">
                  <a:moveTo>
                    <a:pt x="321" y="2204"/>
                  </a:moveTo>
                  <a:lnTo>
                    <a:pt x="321" y="2204"/>
                  </a:lnTo>
                  <a:lnTo>
                    <a:pt x="321" y="2194"/>
                  </a:lnTo>
                  <a:lnTo>
                    <a:pt x="320" y="2186"/>
                  </a:lnTo>
                  <a:lnTo>
                    <a:pt x="316" y="2170"/>
                  </a:lnTo>
                  <a:lnTo>
                    <a:pt x="309" y="2156"/>
                  </a:lnTo>
                  <a:lnTo>
                    <a:pt x="301" y="2145"/>
                  </a:lnTo>
                  <a:lnTo>
                    <a:pt x="291" y="2136"/>
                  </a:lnTo>
                  <a:lnTo>
                    <a:pt x="281" y="2130"/>
                  </a:lnTo>
                  <a:lnTo>
                    <a:pt x="273" y="2124"/>
                  </a:lnTo>
                  <a:lnTo>
                    <a:pt x="265" y="2120"/>
                  </a:lnTo>
                  <a:lnTo>
                    <a:pt x="265" y="2120"/>
                  </a:lnTo>
                  <a:lnTo>
                    <a:pt x="274" y="2113"/>
                  </a:lnTo>
                  <a:lnTo>
                    <a:pt x="283" y="2106"/>
                  </a:lnTo>
                  <a:lnTo>
                    <a:pt x="290" y="2098"/>
                  </a:lnTo>
                  <a:lnTo>
                    <a:pt x="296" y="2088"/>
                  </a:lnTo>
                  <a:lnTo>
                    <a:pt x="302" y="2079"/>
                  </a:lnTo>
                  <a:lnTo>
                    <a:pt x="305" y="2068"/>
                  </a:lnTo>
                  <a:lnTo>
                    <a:pt x="307" y="2056"/>
                  </a:lnTo>
                  <a:lnTo>
                    <a:pt x="307" y="2044"/>
                  </a:lnTo>
                  <a:lnTo>
                    <a:pt x="307" y="2044"/>
                  </a:lnTo>
                  <a:lnTo>
                    <a:pt x="307" y="2033"/>
                  </a:lnTo>
                  <a:lnTo>
                    <a:pt x="306" y="2022"/>
                  </a:lnTo>
                  <a:lnTo>
                    <a:pt x="303" y="2012"/>
                  </a:lnTo>
                  <a:lnTo>
                    <a:pt x="301" y="2003"/>
                  </a:lnTo>
                  <a:lnTo>
                    <a:pt x="296" y="1993"/>
                  </a:lnTo>
                  <a:lnTo>
                    <a:pt x="291" y="1985"/>
                  </a:lnTo>
                  <a:lnTo>
                    <a:pt x="284" y="1978"/>
                  </a:lnTo>
                  <a:lnTo>
                    <a:pt x="277" y="1971"/>
                  </a:lnTo>
                  <a:lnTo>
                    <a:pt x="269" y="1965"/>
                  </a:lnTo>
                  <a:lnTo>
                    <a:pt x="261" y="1960"/>
                  </a:lnTo>
                  <a:lnTo>
                    <a:pt x="251" y="1956"/>
                  </a:lnTo>
                  <a:lnTo>
                    <a:pt x="240" y="1952"/>
                  </a:lnTo>
                  <a:lnTo>
                    <a:pt x="229" y="1949"/>
                  </a:lnTo>
                  <a:lnTo>
                    <a:pt x="216" y="1946"/>
                  </a:lnTo>
                  <a:lnTo>
                    <a:pt x="204" y="1946"/>
                  </a:lnTo>
                  <a:lnTo>
                    <a:pt x="190" y="1945"/>
                  </a:lnTo>
                  <a:lnTo>
                    <a:pt x="28" y="1945"/>
                  </a:lnTo>
                  <a:lnTo>
                    <a:pt x="28" y="2325"/>
                  </a:lnTo>
                  <a:lnTo>
                    <a:pt x="189" y="2325"/>
                  </a:lnTo>
                  <a:lnTo>
                    <a:pt x="189" y="2325"/>
                  </a:lnTo>
                  <a:lnTo>
                    <a:pt x="204" y="2325"/>
                  </a:lnTo>
                  <a:lnTo>
                    <a:pt x="218" y="2324"/>
                  </a:lnTo>
                  <a:lnTo>
                    <a:pt x="232" y="2321"/>
                  </a:lnTo>
                  <a:lnTo>
                    <a:pt x="244" y="2317"/>
                  </a:lnTo>
                  <a:lnTo>
                    <a:pt x="256" y="2313"/>
                  </a:lnTo>
                  <a:lnTo>
                    <a:pt x="267" y="2308"/>
                  </a:lnTo>
                  <a:lnTo>
                    <a:pt x="277" y="2301"/>
                  </a:lnTo>
                  <a:lnTo>
                    <a:pt x="285" y="2294"/>
                  </a:lnTo>
                  <a:lnTo>
                    <a:pt x="294" y="2285"/>
                  </a:lnTo>
                  <a:lnTo>
                    <a:pt x="301" y="2276"/>
                  </a:lnTo>
                  <a:lnTo>
                    <a:pt x="307" y="2266"/>
                  </a:lnTo>
                  <a:lnTo>
                    <a:pt x="312" y="2255"/>
                  </a:lnTo>
                  <a:lnTo>
                    <a:pt x="316" y="2244"/>
                  </a:lnTo>
                  <a:lnTo>
                    <a:pt x="319" y="2232"/>
                  </a:lnTo>
                  <a:lnTo>
                    <a:pt x="320" y="2218"/>
                  </a:lnTo>
                  <a:lnTo>
                    <a:pt x="321" y="2204"/>
                  </a:lnTo>
                  <a:lnTo>
                    <a:pt x="321" y="2204"/>
                  </a:lnTo>
                  <a:close/>
                  <a:moveTo>
                    <a:pt x="189" y="2262"/>
                  </a:moveTo>
                  <a:lnTo>
                    <a:pt x="98" y="2262"/>
                  </a:lnTo>
                  <a:lnTo>
                    <a:pt x="98" y="2153"/>
                  </a:lnTo>
                  <a:lnTo>
                    <a:pt x="189" y="2153"/>
                  </a:lnTo>
                  <a:lnTo>
                    <a:pt x="189" y="2153"/>
                  </a:lnTo>
                  <a:lnTo>
                    <a:pt x="203" y="2154"/>
                  </a:lnTo>
                  <a:lnTo>
                    <a:pt x="214" y="2156"/>
                  </a:lnTo>
                  <a:lnTo>
                    <a:pt x="223" y="2160"/>
                  </a:lnTo>
                  <a:lnTo>
                    <a:pt x="232" y="2167"/>
                  </a:lnTo>
                  <a:lnTo>
                    <a:pt x="239" y="2174"/>
                  </a:lnTo>
                  <a:lnTo>
                    <a:pt x="243" y="2183"/>
                  </a:lnTo>
                  <a:lnTo>
                    <a:pt x="245" y="2194"/>
                  </a:lnTo>
                  <a:lnTo>
                    <a:pt x="247" y="2207"/>
                  </a:lnTo>
                  <a:lnTo>
                    <a:pt x="247" y="2207"/>
                  </a:lnTo>
                  <a:lnTo>
                    <a:pt x="245" y="2219"/>
                  </a:lnTo>
                  <a:lnTo>
                    <a:pt x="243" y="2230"/>
                  </a:lnTo>
                  <a:lnTo>
                    <a:pt x="237" y="2240"/>
                  </a:lnTo>
                  <a:lnTo>
                    <a:pt x="232" y="2247"/>
                  </a:lnTo>
                  <a:lnTo>
                    <a:pt x="223" y="2254"/>
                  </a:lnTo>
                  <a:lnTo>
                    <a:pt x="214" y="2258"/>
                  </a:lnTo>
                  <a:lnTo>
                    <a:pt x="201" y="2261"/>
                  </a:lnTo>
                  <a:lnTo>
                    <a:pt x="189" y="2262"/>
                  </a:lnTo>
                  <a:lnTo>
                    <a:pt x="189" y="2262"/>
                  </a:lnTo>
                  <a:close/>
                  <a:moveTo>
                    <a:pt x="188" y="2091"/>
                  </a:moveTo>
                  <a:lnTo>
                    <a:pt x="98" y="2091"/>
                  </a:lnTo>
                  <a:lnTo>
                    <a:pt x="98" y="2010"/>
                  </a:lnTo>
                  <a:lnTo>
                    <a:pt x="185" y="2010"/>
                  </a:lnTo>
                  <a:lnTo>
                    <a:pt x="185" y="2010"/>
                  </a:lnTo>
                  <a:lnTo>
                    <a:pt x="196" y="2011"/>
                  </a:lnTo>
                  <a:lnTo>
                    <a:pt x="207" y="2012"/>
                  </a:lnTo>
                  <a:lnTo>
                    <a:pt x="215" y="2015"/>
                  </a:lnTo>
                  <a:lnTo>
                    <a:pt x="222" y="2019"/>
                  </a:lnTo>
                  <a:lnTo>
                    <a:pt x="228" y="2026"/>
                  </a:lnTo>
                  <a:lnTo>
                    <a:pt x="232" y="2033"/>
                  </a:lnTo>
                  <a:lnTo>
                    <a:pt x="233" y="2041"/>
                  </a:lnTo>
                  <a:lnTo>
                    <a:pt x="234" y="2051"/>
                  </a:lnTo>
                  <a:lnTo>
                    <a:pt x="234" y="2051"/>
                  </a:lnTo>
                  <a:lnTo>
                    <a:pt x="234" y="2058"/>
                  </a:lnTo>
                  <a:lnTo>
                    <a:pt x="233" y="2065"/>
                  </a:lnTo>
                  <a:lnTo>
                    <a:pt x="230" y="2072"/>
                  </a:lnTo>
                  <a:lnTo>
                    <a:pt x="226" y="2077"/>
                  </a:lnTo>
                  <a:lnTo>
                    <a:pt x="219" y="2083"/>
                  </a:lnTo>
                  <a:lnTo>
                    <a:pt x="211" y="2087"/>
                  </a:lnTo>
                  <a:lnTo>
                    <a:pt x="201" y="2090"/>
                  </a:lnTo>
                  <a:lnTo>
                    <a:pt x="188" y="2091"/>
                  </a:lnTo>
                  <a:lnTo>
                    <a:pt x="188" y="2091"/>
                  </a:lnTo>
                  <a:close/>
                  <a:moveTo>
                    <a:pt x="370" y="2205"/>
                  </a:moveTo>
                  <a:lnTo>
                    <a:pt x="370" y="2048"/>
                  </a:lnTo>
                  <a:lnTo>
                    <a:pt x="438" y="2048"/>
                  </a:lnTo>
                  <a:lnTo>
                    <a:pt x="438" y="2201"/>
                  </a:lnTo>
                  <a:lnTo>
                    <a:pt x="438" y="2201"/>
                  </a:lnTo>
                  <a:lnTo>
                    <a:pt x="438" y="2216"/>
                  </a:lnTo>
                  <a:lnTo>
                    <a:pt x="441" y="2232"/>
                  </a:lnTo>
                  <a:lnTo>
                    <a:pt x="445" y="2243"/>
                  </a:lnTo>
                  <a:lnTo>
                    <a:pt x="451" y="2252"/>
                  </a:lnTo>
                  <a:lnTo>
                    <a:pt x="458" y="2259"/>
                  </a:lnTo>
                  <a:lnTo>
                    <a:pt x="466" y="2265"/>
                  </a:lnTo>
                  <a:lnTo>
                    <a:pt x="477" y="2268"/>
                  </a:lnTo>
                  <a:lnTo>
                    <a:pt x="489" y="2269"/>
                  </a:lnTo>
                  <a:lnTo>
                    <a:pt x="489" y="2269"/>
                  </a:lnTo>
                  <a:lnTo>
                    <a:pt x="502" y="2268"/>
                  </a:lnTo>
                  <a:lnTo>
                    <a:pt x="512" y="2265"/>
                  </a:lnTo>
                  <a:lnTo>
                    <a:pt x="521" y="2259"/>
                  </a:lnTo>
                  <a:lnTo>
                    <a:pt x="528" y="2252"/>
                  </a:lnTo>
                  <a:lnTo>
                    <a:pt x="534" y="2243"/>
                  </a:lnTo>
                  <a:lnTo>
                    <a:pt x="538" y="2230"/>
                  </a:lnTo>
                  <a:lnTo>
                    <a:pt x="541" y="2216"/>
                  </a:lnTo>
                  <a:lnTo>
                    <a:pt x="541" y="2201"/>
                  </a:lnTo>
                  <a:lnTo>
                    <a:pt x="541" y="2048"/>
                  </a:lnTo>
                  <a:lnTo>
                    <a:pt x="609" y="2048"/>
                  </a:lnTo>
                  <a:lnTo>
                    <a:pt x="609" y="2325"/>
                  </a:lnTo>
                  <a:lnTo>
                    <a:pt x="541" y="2325"/>
                  </a:lnTo>
                  <a:lnTo>
                    <a:pt x="541" y="2303"/>
                  </a:lnTo>
                  <a:lnTo>
                    <a:pt x="541" y="2303"/>
                  </a:lnTo>
                  <a:lnTo>
                    <a:pt x="535" y="2310"/>
                  </a:lnTo>
                  <a:lnTo>
                    <a:pt x="527" y="2316"/>
                  </a:lnTo>
                  <a:lnTo>
                    <a:pt x="520" y="2321"/>
                  </a:lnTo>
                  <a:lnTo>
                    <a:pt x="512" y="2324"/>
                  </a:lnTo>
                  <a:lnTo>
                    <a:pt x="503" y="2328"/>
                  </a:lnTo>
                  <a:lnTo>
                    <a:pt x="494" y="2330"/>
                  </a:lnTo>
                  <a:lnTo>
                    <a:pt x="484" y="2331"/>
                  </a:lnTo>
                  <a:lnTo>
                    <a:pt x="474" y="2332"/>
                  </a:lnTo>
                  <a:lnTo>
                    <a:pt x="474" y="2332"/>
                  </a:lnTo>
                  <a:lnTo>
                    <a:pt x="458" y="2331"/>
                  </a:lnTo>
                  <a:lnTo>
                    <a:pt x="444" y="2328"/>
                  </a:lnTo>
                  <a:lnTo>
                    <a:pt x="432" y="2324"/>
                  </a:lnTo>
                  <a:lnTo>
                    <a:pt x="419" y="2319"/>
                  </a:lnTo>
                  <a:lnTo>
                    <a:pt x="410" y="2312"/>
                  </a:lnTo>
                  <a:lnTo>
                    <a:pt x="401" y="2305"/>
                  </a:lnTo>
                  <a:lnTo>
                    <a:pt x="394" y="2295"/>
                  </a:lnTo>
                  <a:lnTo>
                    <a:pt x="387" y="2285"/>
                  </a:lnTo>
                  <a:lnTo>
                    <a:pt x="383" y="2276"/>
                  </a:lnTo>
                  <a:lnTo>
                    <a:pt x="379" y="2266"/>
                  </a:lnTo>
                  <a:lnTo>
                    <a:pt x="374" y="2244"/>
                  </a:lnTo>
                  <a:lnTo>
                    <a:pt x="371" y="2223"/>
                  </a:lnTo>
                  <a:lnTo>
                    <a:pt x="370" y="2205"/>
                  </a:lnTo>
                  <a:lnTo>
                    <a:pt x="370" y="2205"/>
                  </a:lnTo>
                  <a:close/>
                  <a:moveTo>
                    <a:pt x="1417" y="2325"/>
                  </a:moveTo>
                  <a:lnTo>
                    <a:pt x="1349" y="2325"/>
                  </a:lnTo>
                  <a:lnTo>
                    <a:pt x="1349" y="2048"/>
                  </a:lnTo>
                  <a:lnTo>
                    <a:pt x="1417" y="2048"/>
                  </a:lnTo>
                  <a:lnTo>
                    <a:pt x="1417" y="2072"/>
                  </a:lnTo>
                  <a:lnTo>
                    <a:pt x="1417" y="2072"/>
                  </a:lnTo>
                  <a:lnTo>
                    <a:pt x="1424" y="2065"/>
                  </a:lnTo>
                  <a:lnTo>
                    <a:pt x="1431" y="2058"/>
                  </a:lnTo>
                  <a:lnTo>
                    <a:pt x="1440" y="2054"/>
                  </a:lnTo>
                  <a:lnTo>
                    <a:pt x="1448" y="2050"/>
                  </a:lnTo>
                  <a:lnTo>
                    <a:pt x="1457" y="2045"/>
                  </a:lnTo>
                  <a:lnTo>
                    <a:pt x="1466" y="2044"/>
                  </a:lnTo>
                  <a:lnTo>
                    <a:pt x="1477" y="2043"/>
                  </a:lnTo>
                  <a:lnTo>
                    <a:pt x="1486" y="2041"/>
                  </a:lnTo>
                  <a:lnTo>
                    <a:pt x="1486" y="2041"/>
                  </a:lnTo>
                  <a:lnTo>
                    <a:pt x="1499" y="2043"/>
                  </a:lnTo>
                  <a:lnTo>
                    <a:pt x="1510" y="2044"/>
                  </a:lnTo>
                  <a:lnTo>
                    <a:pt x="1521" y="2047"/>
                  </a:lnTo>
                  <a:lnTo>
                    <a:pt x="1531" y="2050"/>
                  </a:lnTo>
                  <a:lnTo>
                    <a:pt x="1540" y="2054"/>
                  </a:lnTo>
                  <a:lnTo>
                    <a:pt x="1548" y="2061"/>
                  </a:lnTo>
                  <a:lnTo>
                    <a:pt x="1555" y="2066"/>
                  </a:lnTo>
                  <a:lnTo>
                    <a:pt x="1562" y="2074"/>
                  </a:lnTo>
                  <a:lnTo>
                    <a:pt x="1569" y="2083"/>
                  </a:lnTo>
                  <a:lnTo>
                    <a:pt x="1573" y="2092"/>
                  </a:lnTo>
                  <a:lnTo>
                    <a:pt x="1579" y="2102"/>
                  </a:lnTo>
                  <a:lnTo>
                    <a:pt x="1582" y="2113"/>
                  </a:lnTo>
                  <a:lnTo>
                    <a:pt x="1584" y="2125"/>
                  </a:lnTo>
                  <a:lnTo>
                    <a:pt x="1587" y="2139"/>
                  </a:lnTo>
                  <a:lnTo>
                    <a:pt x="1588" y="2153"/>
                  </a:lnTo>
                  <a:lnTo>
                    <a:pt x="1588" y="2168"/>
                  </a:lnTo>
                  <a:lnTo>
                    <a:pt x="1588" y="2325"/>
                  </a:lnTo>
                  <a:lnTo>
                    <a:pt x="1519" y="2325"/>
                  </a:lnTo>
                  <a:lnTo>
                    <a:pt x="1519" y="2172"/>
                  </a:lnTo>
                  <a:lnTo>
                    <a:pt x="1519" y="2172"/>
                  </a:lnTo>
                  <a:lnTo>
                    <a:pt x="1519" y="2156"/>
                  </a:lnTo>
                  <a:lnTo>
                    <a:pt x="1517" y="2142"/>
                  </a:lnTo>
                  <a:lnTo>
                    <a:pt x="1513" y="2131"/>
                  </a:lnTo>
                  <a:lnTo>
                    <a:pt x="1507" y="2121"/>
                  </a:lnTo>
                  <a:lnTo>
                    <a:pt x="1500" y="2114"/>
                  </a:lnTo>
                  <a:lnTo>
                    <a:pt x="1492" y="2109"/>
                  </a:lnTo>
                  <a:lnTo>
                    <a:pt x="1482" y="2106"/>
                  </a:lnTo>
                  <a:lnTo>
                    <a:pt x="1470" y="2105"/>
                  </a:lnTo>
                  <a:lnTo>
                    <a:pt x="1470" y="2105"/>
                  </a:lnTo>
                  <a:lnTo>
                    <a:pt x="1457" y="2106"/>
                  </a:lnTo>
                  <a:lnTo>
                    <a:pt x="1446" y="2109"/>
                  </a:lnTo>
                  <a:lnTo>
                    <a:pt x="1438" y="2114"/>
                  </a:lnTo>
                  <a:lnTo>
                    <a:pt x="1431" y="2121"/>
                  </a:lnTo>
                  <a:lnTo>
                    <a:pt x="1424" y="2131"/>
                  </a:lnTo>
                  <a:lnTo>
                    <a:pt x="1420" y="2143"/>
                  </a:lnTo>
                  <a:lnTo>
                    <a:pt x="1417" y="2157"/>
                  </a:lnTo>
                  <a:lnTo>
                    <a:pt x="1417" y="2172"/>
                  </a:lnTo>
                  <a:lnTo>
                    <a:pt x="1417" y="2325"/>
                  </a:lnTo>
                  <a:close/>
                  <a:moveTo>
                    <a:pt x="740" y="2186"/>
                  </a:moveTo>
                  <a:lnTo>
                    <a:pt x="740" y="2325"/>
                  </a:lnTo>
                  <a:lnTo>
                    <a:pt x="671" y="2325"/>
                  </a:lnTo>
                  <a:lnTo>
                    <a:pt x="671" y="2048"/>
                  </a:lnTo>
                  <a:lnTo>
                    <a:pt x="740" y="2048"/>
                  </a:lnTo>
                  <a:lnTo>
                    <a:pt x="740" y="2186"/>
                  </a:lnTo>
                  <a:close/>
                  <a:moveTo>
                    <a:pt x="801" y="1967"/>
                  </a:moveTo>
                  <a:lnTo>
                    <a:pt x="870" y="1932"/>
                  </a:lnTo>
                  <a:lnTo>
                    <a:pt x="870" y="2183"/>
                  </a:lnTo>
                  <a:lnTo>
                    <a:pt x="870" y="2325"/>
                  </a:lnTo>
                  <a:lnTo>
                    <a:pt x="801" y="2325"/>
                  </a:lnTo>
                  <a:lnTo>
                    <a:pt x="801" y="1967"/>
                  </a:lnTo>
                  <a:close/>
                  <a:moveTo>
                    <a:pt x="1088" y="2068"/>
                  </a:moveTo>
                  <a:lnTo>
                    <a:pt x="1088" y="2068"/>
                  </a:lnTo>
                  <a:lnTo>
                    <a:pt x="1082" y="2061"/>
                  </a:lnTo>
                  <a:lnTo>
                    <a:pt x="1075" y="2056"/>
                  </a:lnTo>
                  <a:lnTo>
                    <a:pt x="1067" y="2051"/>
                  </a:lnTo>
                  <a:lnTo>
                    <a:pt x="1060" y="2048"/>
                  </a:lnTo>
                  <a:lnTo>
                    <a:pt x="1052" y="2045"/>
                  </a:lnTo>
                  <a:lnTo>
                    <a:pt x="1044" y="2043"/>
                  </a:lnTo>
                  <a:lnTo>
                    <a:pt x="1027" y="2041"/>
                  </a:lnTo>
                  <a:lnTo>
                    <a:pt x="1027" y="2041"/>
                  </a:lnTo>
                  <a:lnTo>
                    <a:pt x="1015" y="2043"/>
                  </a:lnTo>
                  <a:lnTo>
                    <a:pt x="1002" y="2044"/>
                  </a:lnTo>
                  <a:lnTo>
                    <a:pt x="991" y="2047"/>
                  </a:lnTo>
                  <a:lnTo>
                    <a:pt x="982" y="2051"/>
                  </a:lnTo>
                  <a:lnTo>
                    <a:pt x="972" y="2056"/>
                  </a:lnTo>
                  <a:lnTo>
                    <a:pt x="962" y="2063"/>
                  </a:lnTo>
                  <a:lnTo>
                    <a:pt x="954" y="2072"/>
                  </a:lnTo>
                  <a:lnTo>
                    <a:pt x="947" y="2080"/>
                  </a:lnTo>
                  <a:lnTo>
                    <a:pt x="940" y="2090"/>
                  </a:lnTo>
                  <a:lnTo>
                    <a:pt x="935" y="2101"/>
                  </a:lnTo>
                  <a:lnTo>
                    <a:pt x="929" y="2112"/>
                  </a:lnTo>
                  <a:lnTo>
                    <a:pt x="925" y="2124"/>
                  </a:lnTo>
                  <a:lnTo>
                    <a:pt x="922" y="2138"/>
                  </a:lnTo>
                  <a:lnTo>
                    <a:pt x="920" y="2153"/>
                  </a:lnTo>
                  <a:lnTo>
                    <a:pt x="918" y="2168"/>
                  </a:lnTo>
                  <a:lnTo>
                    <a:pt x="918" y="2183"/>
                  </a:lnTo>
                  <a:lnTo>
                    <a:pt x="918" y="2183"/>
                  </a:lnTo>
                  <a:lnTo>
                    <a:pt x="918" y="2201"/>
                  </a:lnTo>
                  <a:lnTo>
                    <a:pt x="920" y="2216"/>
                  </a:lnTo>
                  <a:lnTo>
                    <a:pt x="922" y="2232"/>
                  </a:lnTo>
                  <a:lnTo>
                    <a:pt x="925" y="2245"/>
                  </a:lnTo>
                  <a:lnTo>
                    <a:pt x="929" y="2259"/>
                  </a:lnTo>
                  <a:lnTo>
                    <a:pt x="933" y="2272"/>
                  </a:lnTo>
                  <a:lnTo>
                    <a:pt x="939" y="2283"/>
                  </a:lnTo>
                  <a:lnTo>
                    <a:pt x="946" y="2292"/>
                  </a:lnTo>
                  <a:lnTo>
                    <a:pt x="954" y="2302"/>
                  </a:lnTo>
                  <a:lnTo>
                    <a:pt x="961" y="2309"/>
                  </a:lnTo>
                  <a:lnTo>
                    <a:pt x="971" y="2316"/>
                  </a:lnTo>
                  <a:lnTo>
                    <a:pt x="980" y="2321"/>
                  </a:lnTo>
                  <a:lnTo>
                    <a:pt x="990" y="2325"/>
                  </a:lnTo>
                  <a:lnTo>
                    <a:pt x="1001" y="2330"/>
                  </a:lnTo>
                  <a:lnTo>
                    <a:pt x="1013" y="2331"/>
                  </a:lnTo>
                  <a:lnTo>
                    <a:pt x="1026" y="2332"/>
                  </a:lnTo>
                  <a:lnTo>
                    <a:pt x="1026" y="2332"/>
                  </a:lnTo>
                  <a:lnTo>
                    <a:pt x="1034" y="2331"/>
                  </a:lnTo>
                  <a:lnTo>
                    <a:pt x="1042" y="2330"/>
                  </a:lnTo>
                  <a:lnTo>
                    <a:pt x="1051" y="2328"/>
                  </a:lnTo>
                  <a:lnTo>
                    <a:pt x="1059" y="2325"/>
                  </a:lnTo>
                  <a:lnTo>
                    <a:pt x="1066" y="2321"/>
                  </a:lnTo>
                  <a:lnTo>
                    <a:pt x="1074" y="2317"/>
                  </a:lnTo>
                  <a:lnTo>
                    <a:pt x="1081" y="2312"/>
                  </a:lnTo>
                  <a:lnTo>
                    <a:pt x="1088" y="2305"/>
                  </a:lnTo>
                  <a:lnTo>
                    <a:pt x="1088" y="2325"/>
                  </a:lnTo>
                  <a:lnTo>
                    <a:pt x="1157" y="2325"/>
                  </a:lnTo>
                  <a:lnTo>
                    <a:pt x="1157" y="1932"/>
                  </a:lnTo>
                  <a:lnTo>
                    <a:pt x="1088" y="1967"/>
                  </a:lnTo>
                  <a:lnTo>
                    <a:pt x="1088" y="2068"/>
                  </a:lnTo>
                  <a:close/>
                  <a:moveTo>
                    <a:pt x="1040" y="2269"/>
                  </a:moveTo>
                  <a:lnTo>
                    <a:pt x="1040" y="2269"/>
                  </a:lnTo>
                  <a:lnTo>
                    <a:pt x="1031" y="2268"/>
                  </a:lnTo>
                  <a:lnTo>
                    <a:pt x="1022" y="2265"/>
                  </a:lnTo>
                  <a:lnTo>
                    <a:pt x="1013" y="2261"/>
                  </a:lnTo>
                  <a:lnTo>
                    <a:pt x="1005" y="2252"/>
                  </a:lnTo>
                  <a:lnTo>
                    <a:pt x="998" y="2241"/>
                  </a:lnTo>
                  <a:lnTo>
                    <a:pt x="993" y="2226"/>
                  </a:lnTo>
                  <a:lnTo>
                    <a:pt x="989" y="2207"/>
                  </a:lnTo>
                  <a:lnTo>
                    <a:pt x="987" y="2182"/>
                  </a:lnTo>
                  <a:lnTo>
                    <a:pt x="987" y="2182"/>
                  </a:lnTo>
                  <a:lnTo>
                    <a:pt x="989" y="2160"/>
                  </a:lnTo>
                  <a:lnTo>
                    <a:pt x="993" y="2143"/>
                  </a:lnTo>
                  <a:lnTo>
                    <a:pt x="998" y="2130"/>
                  </a:lnTo>
                  <a:lnTo>
                    <a:pt x="1005" y="2120"/>
                  </a:lnTo>
                  <a:lnTo>
                    <a:pt x="1012" y="2112"/>
                  </a:lnTo>
                  <a:lnTo>
                    <a:pt x="1022" y="2108"/>
                  </a:lnTo>
                  <a:lnTo>
                    <a:pt x="1030" y="2105"/>
                  </a:lnTo>
                  <a:lnTo>
                    <a:pt x="1040" y="2105"/>
                  </a:lnTo>
                  <a:lnTo>
                    <a:pt x="1040" y="2105"/>
                  </a:lnTo>
                  <a:lnTo>
                    <a:pt x="1048" y="2105"/>
                  </a:lnTo>
                  <a:lnTo>
                    <a:pt x="1056" y="2108"/>
                  </a:lnTo>
                  <a:lnTo>
                    <a:pt x="1064" y="2110"/>
                  </a:lnTo>
                  <a:lnTo>
                    <a:pt x="1070" y="2114"/>
                  </a:lnTo>
                  <a:lnTo>
                    <a:pt x="1075" y="2119"/>
                  </a:lnTo>
                  <a:lnTo>
                    <a:pt x="1081" y="2123"/>
                  </a:lnTo>
                  <a:lnTo>
                    <a:pt x="1088" y="2132"/>
                  </a:lnTo>
                  <a:lnTo>
                    <a:pt x="1088" y="2241"/>
                  </a:lnTo>
                  <a:lnTo>
                    <a:pt x="1088" y="2241"/>
                  </a:lnTo>
                  <a:lnTo>
                    <a:pt x="1080" y="2251"/>
                  </a:lnTo>
                  <a:lnTo>
                    <a:pt x="1070" y="2259"/>
                  </a:lnTo>
                  <a:lnTo>
                    <a:pt x="1064" y="2263"/>
                  </a:lnTo>
                  <a:lnTo>
                    <a:pt x="1056" y="2266"/>
                  </a:lnTo>
                  <a:lnTo>
                    <a:pt x="1049" y="2268"/>
                  </a:lnTo>
                  <a:lnTo>
                    <a:pt x="1040" y="2269"/>
                  </a:lnTo>
                  <a:lnTo>
                    <a:pt x="1040" y="2269"/>
                  </a:lnTo>
                  <a:close/>
                  <a:moveTo>
                    <a:pt x="2585" y="2041"/>
                  </a:moveTo>
                  <a:lnTo>
                    <a:pt x="2585" y="2041"/>
                  </a:lnTo>
                  <a:lnTo>
                    <a:pt x="2578" y="2043"/>
                  </a:lnTo>
                  <a:lnTo>
                    <a:pt x="2570" y="2044"/>
                  </a:lnTo>
                  <a:lnTo>
                    <a:pt x="2554" y="2048"/>
                  </a:lnTo>
                  <a:lnTo>
                    <a:pt x="2538" y="2056"/>
                  </a:lnTo>
                  <a:lnTo>
                    <a:pt x="2525" y="2068"/>
                  </a:lnTo>
                  <a:lnTo>
                    <a:pt x="2525" y="1939"/>
                  </a:lnTo>
                  <a:lnTo>
                    <a:pt x="2456" y="1974"/>
                  </a:lnTo>
                  <a:lnTo>
                    <a:pt x="2456" y="2325"/>
                  </a:lnTo>
                  <a:lnTo>
                    <a:pt x="2525" y="2325"/>
                  </a:lnTo>
                  <a:lnTo>
                    <a:pt x="2525" y="2305"/>
                  </a:lnTo>
                  <a:lnTo>
                    <a:pt x="2525" y="2305"/>
                  </a:lnTo>
                  <a:lnTo>
                    <a:pt x="2530" y="2312"/>
                  </a:lnTo>
                  <a:lnTo>
                    <a:pt x="2538" y="2317"/>
                  </a:lnTo>
                  <a:lnTo>
                    <a:pt x="2545" y="2321"/>
                  </a:lnTo>
                  <a:lnTo>
                    <a:pt x="2554" y="2325"/>
                  </a:lnTo>
                  <a:lnTo>
                    <a:pt x="2561" y="2328"/>
                  </a:lnTo>
                  <a:lnTo>
                    <a:pt x="2570" y="2330"/>
                  </a:lnTo>
                  <a:lnTo>
                    <a:pt x="2578" y="2331"/>
                  </a:lnTo>
                  <a:lnTo>
                    <a:pt x="2587" y="2332"/>
                  </a:lnTo>
                  <a:lnTo>
                    <a:pt x="2587" y="2332"/>
                  </a:lnTo>
                  <a:lnTo>
                    <a:pt x="2599" y="2331"/>
                  </a:lnTo>
                  <a:lnTo>
                    <a:pt x="2612" y="2330"/>
                  </a:lnTo>
                  <a:lnTo>
                    <a:pt x="2623" y="2327"/>
                  </a:lnTo>
                  <a:lnTo>
                    <a:pt x="2634" y="2321"/>
                  </a:lnTo>
                  <a:lnTo>
                    <a:pt x="2643" y="2316"/>
                  </a:lnTo>
                  <a:lnTo>
                    <a:pt x="2652" y="2310"/>
                  </a:lnTo>
                  <a:lnTo>
                    <a:pt x="2660" y="2302"/>
                  </a:lnTo>
                  <a:lnTo>
                    <a:pt x="2667" y="2294"/>
                  </a:lnTo>
                  <a:lnTo>
                    <a:pt x="2674" y="2283"/>
                  </a:lnTo>
                  <a:lnTo>
                    <a:pt x="2679" y="2272"/>
                  </a:lnTo>
                  <a:lnTo>
                    <a:pt x="2683" y="2259"/>
                  </a:lnTo>
                  <a:lnTo>
                    <a:pt x="2687" y="2247"/>
                  </a:lnTo>
                  <a:lnTo>
                    <a:pt x="2691" y="2233"/>
                  </a:lnTo>
                  <a:lnTo>
                    <a:pt x="2693" y="2218"/>
                  </a:lnTo>
                  <a:lnTo>
                    <a:pt x="2694" y="2201"/>
                  </a:lnTo>
                  <a:lnTo>
                    <a:pt x="2696" y="2183"/>
                  </a:lnTo>
                  <a:lnTo>
                    <a:pt x="2696" y="2183"/>
                  </a:lnTo>
                  <a:lnTo>
                    <a:pt x="2694" y="2168"/>
                  </a:lnTo>
                  <a:lnTo>
                    <a:pt x="2693" y="2153"/>
                  </a:lnTo>
                  <a:lnTo>
                    <a:pt x="2690" y="2138"/>
                  </a:lnTo>
                  <a:lnTo>
                    <a:pt x="2687" y="2124"/>
                  </a:lnTo>
                  <a:lnTo>
                    <a:pt x="2683" y="2112"/>
                  </a:lnTo>
                  <a:lnTo>
                    <a:pt x="2678" y="2101"/>
                  </a:lnTo>
                  <a:lnTo>
                    <a:pt x="2672" y="2090"/>
                  </a:lnTo>
                  <a:lnTo>
                    <a:pt x="2665" y="2080"/>
                  </a:lnTo>
                  <a:lnTo>
                    <a:pt x="2658" y="2072"/>
                  </a:lnTo>
                  <a:lnTo>
                    <a:pt x="2650" y="2063"/>
                  </a:lnTo>
                  <a:lnTo>
                    <a:pt x="2640" y="2056"/>
                  </a:lnTo>
                  <a:lnTo>
                    <a:pt x="2631" y="2051"/>
                  </a:lnTo>
                  <a:lnTo>
                    <a:pt x="2621" y="2047"/>
                  </a:lnTo>
                  <a:lnTo>
                    <a:pt x="2610" y="2044"/>
                  </a:lnTo>
                  <a:lnTo>
                    <a:pt x="2598" y="2043"/>
                  </a:lnTo>
                  <a:lnTo>
                    <a:pt x="2585" y="2041"/>
                  </a:lnTo>
                  <a:lnTo>
                    <a:pt x="2585" y="2041"/>
                  </a:lnTo>
                  <a:close/>
                  <a:moveTo>
                    <a:pt x="2573" y="2105"/>
                  </a:moveTo>
                  <a:lnTo>
                    <a:pt x="2573" y="2105"/>
                  </a:lnTo>
                  <a:lnTo>
                    <a:pt x="2583" y="2106"/>
                  </a:lnTo>
                  <a:lnTo>
                    <a:pt x="2592" y="2109"/>
                  </a:lnTo>
                  <a:lnTo>
                    <a:pt x="2600" y="2114"/>
                  </a:lnTo>
                  <a:lnTo>
                    <a:pt x="2609" y="2123"/>
                  </a:lnTo>
                  <a:lnTo>
                    <a:pt x="2616" y="2132"/>
                  </a:lnTo>
                  <a:lnTo>
                    <a:pt x="2620" y="2146"/>
                  </a:lnTo>
                  <a:lnTo>
                    <a:pt x="2624" y="2163"/>
                  </a:lnTo>
                  <a:lnTo>
                    <a:pt x="2625" y="2182"/>
                  </a:lnTo>
                  <a:lnTo>
                    <a:pt x="2625" y="2182"/>
                  </a:lnTo>
                  <a:lnTo>
                    <a:pt x="2624" y="2203"/>
                  </a:lnTo>
                  <a:lnTo>
                    <a:pt x="2621" y="2221"/>
                  </a:lnTo>
                  <a:lnTo>
                    <a:pt x="2618" y="2234"/>
                  </a:lnTo>
                  <a:lnTo>
                    <a:pt x="2613" y="2247"/>
                  </a:lnTo>
                  <a:lnTo>
                    <a:pt x="2605" y="2256"/>
                  </a:lnTo>
                  <a:lnTo>
                    <a:pt x="2596" y="2263"/>
                  </a:lnTo>
                  <a:lnTo>
                    <a:pt x="2587" y="2268"/>
                  </a:lnTo>
                  <a:lnTo>
                    <a:pt x="2574" y="2269"/>
                  </a:lnTo>
                  <a:lnTo>
                    <a:pt x="2574" y="2269"/>
                  </a:lnTo>
                  <a:lnTo>
                    <a:pt x="2565" y="2268"/>
                  </a:lnTo>
                  <a:lnTo>
                    <a:pt x="2556" y="2266"/>
                  </a:lnTo>
                  <a:lnTo>
                    <a:pt x="2549" y="2262"/>
                  </a:lnTo>
                  <a:lnTo>
                    <a:pt x="2543" y="2259"/>
                  </a:lnTo>
                  <a:lnTo>
                    <a:pt x="2532" y="2250"/>
                  </a:lnTo>
                  <a:lnTo>
                    <a:pt x="2525" y="2243"/>
                  </a:lnTo>
                  <a:lnTo>
                    <a:pt x="2525" y="2132"/>
                  </a:lnTo>
                  <a:lnTo>
                    <a:pt x="2525" y="2132"/>
                  </a:lnTo>
                  <a:lnTo>
                    <a:pt x="2529" y="2127"/>
                  </a:lnTo>
                  <a:lnTo>
                    <a:pt x="2534" y="2121"/>
                  </a:lnTo>
                  <a:lnTo>
                    <a:pt x="2540" y="2116"/>
                  </a:lnTo>
                  <a:lnTo>
                    <a:pt x="2545" y="2112"/>
                  </a:lnTo>
                  <a:lnTo>
                    <a:pt x="2552" y="2109"/>
                  </a:lnTo>
                  <a:lnTo>
                    <a:pt x="2559" y="2106"/>
                  </a:lnTo>
                  <a:lnTo>
                    <a:pt x="2566" y="2105"/>
                  </a:lnTo>
                  <a:lnTo>
                    <a:pt x="2573" y="2105"/>
                  </a:lnTo>
                  <a:lnTo>
                    <a:pt x="2573" y="2105"/>
                  </a:lnTo>
                  <a:close/>
                  <a:moveTo>
                    <a:pt x="1805" y="2068"/>
                  </a:moveTo>
                  <a:lnTo>
                    <a:pt x="1805" y="2068"/>
                  </a:lnTo>
                  <a:lnTo>
                    <a:pt x="1799" y="2062"/>
                  </a:lnTo>
                  <a:lnTo>
                    <a:pt x="1792" y="2056"/>
                  </a:lnTo>
                  <a:lnTo>
                    <a:pt x="1784" y="2052"/>
                  </a:lnTo>
                  <a:lnTo>
                    <a:pt x="1777" y="2048"/>
                  </a:lnTo>
                  <a:lnTo>
                    <a:pt x="1769" y="2045"/>
                  </a:lnTo>
                  <a:lnTo>
                    <a:pt x="1761" y="2043"/>
                  </a:lnTo>
                  <a:lnTo>
                    <a:pt x="1753" y="2043"/>
                  </a:lnTo>
                  <a:lnTo>
                    <a:pt x="1744" y="2041"/>
                  </a:lnTo>
                  <a:lnTo>
                    <a:pt x="1744" y="2041"/>
                  </a:lnTo>
                  <a:lnTo>
                    <a:pt x="1732" y="2043"/>
                  </a:lnTo>
                  <a:lnTo>
                    <a:pt x="1719" y="2044"/>
                  </a:lnTo>
                  <a:lnTo>
                    <a:pt x="1708" y="2047"/>
                  </a:lnTo>
                  <a:lnTo>
                    <a:pt x="1699" y="2051"/>
                  </a:lnTo>
                  <a:lnTo>
                    <a:pt x="1689" y="2056"/>
                  </a:lnTo>
                  <a:lnTo>
                    <a:pt x="1679" y="2063"/>
                  </a:lnTo>
                  <a:lnTo>
                    <a:pt x="1671" y="2072"/>
                  </a:lnTo>
                  <a:lnTo>
                    <a:pt x="1664" y="2080"/>
                  </a:lnTo>
                  <a:lnTo>
                    <a:pt x="1657" y="2090"/>
                  </a:lnTo>
                  <a:lnTo>
                    <a:pt x="1652" y="2101"/>
                  </a:lnTo>
                  <a:lnTo>
                    <a:pt x="1646" y="2112"/>
                  </a:lnTo>
                  <a:lnTo>
                    <a:pt x="1642" y="2124"/>
                  </a:lnTo>
                  <a:lnTo>
                    <a:pt x="1639" y="2138"/>
                  </a:lnTo>
                  <a:lnTo>
                    <a:pt x="1637" y="2153"/>
                  </a:lnTo>
                  <a:lnTo>
                    <a:pt x="1635" y="2168"/>
                  </a:lnTo>
                  <a:lnTo>
                    <a:pt x="1635" y="2183"/>
                  </a:lnTo>
                  <a:lnTo>
                    <a:pt x="1635" y="2183"/>
                  </a:lnTo>
                  <a:lnTo>
                    <a:pt x="1635" y="2201"/>
                  </a:lnTo>
                  <a:lnTo>
                    <a:pt x="1637" y="2216"/>
                  </a:lnTo>
                  <a:lnTo>
                    <a:pt x="1639" y="2232"/>
                  </a:lnTo>
                  <a:lnTo>
                    <a:pt x="1642" y="2245"/>
                  </a:lnTo>
                  <a:lnTo>
                    <a:pt x="1646" y="2259"/>
                  </a:lnTo>
                  <a:lnTo>
                    <a:pt x="1650" y="2272"/>
                  </a:lnTo>
                  <a:lnTo>
                    <a:pt x="1657" y="2283"/>
                  </a:lnTo>
                  <a:lnTo>
                    <a:pt x="1663" y="2292"/>
                  </a:lnTo>
                  <a:lnTo>
                    <a:pt x="1671" y="2302"/>
                  </a:lnTo>
                  <a:lnTo>
                    <a:pt x="1678" y="2309"/>
                  </a:lnTo>
                  <a:lnTo>
                    <a:pt x="1688" y="2316"/>
                  </a:lnTo>
                  <a:lnTo>
                    <a:pt x="1697" y="2321"/>
                  </a:lnTo>
                  <a:lnTo>
                    <a:pt x="1707" y="2325"/>
                  </a:lnTo>
                  <a:lnTo>
                    <a:pt x="1718" y="2330"/>
                  </a:lnTo>
                  <a:lnTo>
                    <a:pt x="1730" y="2331"/>
                  </a:lnTo>
                  <a:lnTo>
                    <a:pt x="1743" y="2331"/>
                  </a:lnTo>
                  <a:lnTo>
                    <a:pt x="1743" y="2331"/>
                  </a:lnTo>
                  <a:lnTo>
                    <a:pt x="1751" y="2331"/>
                  </a:lnTo>
                  <a:lnTo>
                    <a:pt x="1759" y="2330"/>
                  </a:lnTo>
                  <a:lnTo>
                    <a:pt x="1768" y="2328"/>
                  </a:lnTo>
                  <a:lnTo>
                    <a:pt x="1776" y="2325"/>
                  </a:lnTo>
                  <a:lnTo>
                    <a:pt x="1784" y="2321"/>
                  </a:lnTo>
                  <a:lnTo>
                    <a:pt x="1791" y="2316"/>
                  </a:lnTo>
                  <a:lnTo>
                    <a:pt x="1798" y="2312"/>
                  </a:lnTo>
                  <a:lnTo>
                    <a:pt x="1805" y="2305"/>
                  </a:lnTo>
                  <a:lnTo>
                    <a:pt x="1805" y="2312"/>
                  </a:lnTo>
                  <a:lnTo>
                    <a:pt x="1805" y="2312"/>
                  </a:lnTo>
                  <a:lnTo>
                    <a:pt x="1805" y="2323"/>
                  </a:lnTo>
                  <a:lnTo>
                    <a:pt x="1804" y="2335"/>
                  </a:lnTo>
                  <a:lnTo>
                    <a:pt x="1801" y="2347"/>
                  </a:lnTo>
                  <a:lnTo>
                    <a:pt x="1798" y="2353"/>
                  </a:lnTo>
                  <a:lnTo>
                    <a:pt x="1794" y="2359"/>
                  </a:lnTo>
                  <a:lnTo>
                    <a:pt x="1790" y="2364"/>
                  </a:lnTo>
                  <a:lnTo>
                    <a:pt x="1784" y="2370"/>
                  </a:lnTo>
                  <a:lnTo>
                    <a:pt x="1776" y="2374"/>
                  </a:lnTo>
                  <a:lnTo>
                    <a:pt x="1768" y="2376"/>
                  </a:lnTo>
                  <a:lnTo>
                    <a:pt x="1758" y="2381"/>
                  </a:lnTo>
                  <a:lnTo>
                    <a:pt x="1746" y="2382"/>
                  </a:lnTo>
                  <a:lnTo>
                    <a:pt x="1732" y="2385"/>
                  </a:lnTo>
                  <a:lnTo>
                    <a:pt x="1717" y="2385"/>
                  </a:lnTo>
                  <a:lnTo>
                    <a:pt x="1714" y="2385"/>
                  </a:lnTo>
                  <a:lnTo>
                    <a:pt x="1737" y="2439"/>
                  </a:lnTo>
                  <a:lnTo>
                    <a:pt x="1739" y="2439"/>
                  </a:lnTo>
                  <a:lnTo>
                    <a:pt x="1739" y="2439"/>
                  </a:lnTo>
                  <a:lnTo>
                    <a:pt x="1755" y="2439"/>
                  </a:lnTo>
                  <a:lnTo>
                    <a:pt x="1770" y="2436"/>
                  </a:lnTo>
                  <a:lnTo>
                    <a:pt x="1786" y="2433"/>
                  </a:lnTo>
                  <a:lnTo>
                    <a:pt x="1798" y="2429"/>
                  </a:lnTo>
                  <a:lnTo>
                    <a:pt x="1810" y="2425"/>
                  </a:lnTo>
                  <a:lnTo>
                    <a:pt x="1821" y="2419"/>
                  </a:lnTo>
                  <a:lnTo>
                    <a:pt x="1831" y="2411"/>
                  </a:lnTo>
                  <a:lnTo>
                    <a:pt x="1841" y="2404"/>
                  </a:lnTo>
                  <a:lnTo>
                    <a:pt x="1849" y="2394"/>
                  </a:lnTo>
                  <a:lnTo>
                    <a:pt x="1855" y="2383"/>
                  </a:lnTo>
                  <a:lnTo>
                    <a:pt x="1861" y="2372"/>
                  </a:lnTo>
                  <a:lnTo>
                    <a:pt x="1866" y="2360"/>
                  </a:lnTo>
                  <a:lnTo>
                    <a:pt x="1870" y="2346"/>
                  </a:lnTo>
                  <a:lnTo>
                    <a:pt x="1872" y="2332"/>
                  </a:lnTo>
                  <a:lnTo>
                    <a:pt x="1874" y="2317"/>
                  </a:lnTo>
                  <a:lnTo>
                    <a:pt x="1874" y="2299"/>
                  </a:lnTo>
                  <a:lnTo>
                    <a:pt x="1874" y="2048"/>
                  </a:lnTo>
                  <a:lnTo>
                    <a:pt x="1805" y="2048"/>
                  </a:lnTo>
                  <a:lnTo>
                    <a:pt x="1805" y="2068"/>
                  </a:lnTo>
                  <a:close/>
                  <a:moveTo>
                    <a:pt x="1805" y="2132"/>
                  </a:moveTo>
                  <a:lnTo>
                    <a:pt x="1805" y="2241"/>
                  </a:lnTo>
                  <a:lnTo>
                    <a:pt x="1805" y="2241"/>
                  </a:lnTo>
                  <a:lnTo>
                    <a:pt x="1797" y="2251"/>
                  </a:lnTo>
                  <a:lnTo>
                    <a:pt x="1786" y="2261"/>
                  </a:lnTo>
                  <a:lnTo>
                    <a:pt x="1780" y="2263"/>
                  </a:lnTo>
                  <a:lnTo>
                    <a:pt x="1773" y="2266"/>
                  </a:lnTo>
                  <a:lnTo>
                    <a:pt x="1765" y="2268"/>
                  </a:lnTo>
                  <a:lnTo>
                    <a:pt x="1757" y="2269"/>
                  </a:lnTo>
                  <a:lnTo>
                    <a:pt x="1757" y="2269"/>
                  </a:lnTo>
                  <a:lnTo>
                    <a:pt x="1747" y="2268"/>
                  </a:lnTo>
                  <a:lnTo>
                    <a:pt x="1739" y="2265"/>
                  </a:lnTo>
                  <a:lnTo>
                    <a:pt x="1729" y="2259"/>
                  </a:lnTo>
                  <a:lnTo>
                    <a:pt x="1722" y="2252"/>
                  </a:lnTo>
                  <a:lnTo>
                    <a:pt x="1715" y="2241"/>
                  </a:lnTo>
                  <a:lnTo>
                    <a:pt x="1710" y="2226"/>
                  </a:lnTo>
                  <a:lnTo>
                    <a:pt x="1706" y="2207"/>
                  </a:lnTo>
                  <a:lnTo>
                    <a:pt x="1704" y="2182"/>
                  </a:lnTo>
                  <a:lnTo>
                    <a:pt x="1704" y="2182"/>
                  </a:lnTo>
                  <a:lnTo>
                    <a:pt x="1706" y="2160"/>
                  </a:lnTo>
                  <a:lnTo>
                    <a:pt x="1710" y="2143"/>
                  </a:lnTo>
                  <a:lnTo>
                    <a:pt x="1715" y="2130"/>
                  </a:lnTo>
                  <a:lnTo>
                    <a:pt x="1722" y="2120"/>
                  </a:lnTo>
                  <a:lnTo>
                    <a:pt x="1729" y="2112"/>
                  </a:lnTo>
                  <a:lnTo>
                    <a:pt x="1739" y="2108"/>
                  </a:lnTo>
                  <a:lnTo>
                    <a:pt x="1747" y="2105"/>
                  </a:lnTo>
                  <a:lnTo>
                    <a:pt x="1757" y="2105"/>
                  </a:lnTo>
                  <a:lnTo>
                    <a:pt x="1757" y="2105"/>
                  </a:lnTo>
                  <a:lnTo>
                    <a:pt x="1765" y="2105"/>
                  </a:lnTo>
                  <a:lnTo>
                    <a:pt x="1773" y="2108"/>
                  </a:lnTo>
                  <a:lnTo>
                    <a:pt x="1781" y="2110"/>
                  </a:lnTo>
                  <a:lnTo>
                    <a:pt x="1787" y="2113"/>
                  </a:lnTo>
                  <a:lnTo>
                    <a:pt x="1792" y="2119"/>
                  </a:lnTo>
                  <a:lnTo>
                    <a:pt x="1798" y="2123"/>
                  </a:lnTo>
                  <a:lnTo>
                    <a:pt x="1805" y="2132"/>
                  </a:lnTo>
                  <a:lnTo>
                    <a:pt x="1805" y="2132"/>
                  </a:lnTo>
                  <a:close/>
                  <a:moveTo>
                    <a:pt x="2088" y="2116"/>
                  </a:moveTo>
                  <a:lnTo>
                    <a:pt x="2088" y="2116"/>
                  </a:lnTo>
                  <a:lnTo>
                    <a:pt x="2104" y="2108"/>
                  </a:lnTo>
                  <a:lnTo>
                    <a:pt x="2121" y="2102"/>
                  </a:lnTo>
                  <a:lnTo>
                    <a:pt x="2139" y="2098"/>
                  </a:lnTo>
                  <a:lnTo>
                    <a:pt x="2158" y="2096"/>
                  </a:lnTo>
                  <a:lnTo>
                    <a:pt x="2158" y="2096"/>
                  </a:lnTo>
                  <a:lnTo>
                    <a:pt x="2170" y="2098"/>
                  </a:lnTo>
                  <a:lnTo>
                    <a:pt x="2180" y="2099"/>
                  </a:lnTo>
                  <a:lnTo>
                    <a:pt x="2188" y="2102"/>
                  </a:lnTo>
                  <a:lnTo>
                    <a:pt x="2195" y="2108"/>
                  </a:lnTo>
                  <a:lnTo>
                    <a:pt x="2201" y="2113"/>
                  </a:lnTo>
                  <a:lnTo>
                    <a:pt x="2205" y="2120"/>
                  </a:lnTo>
                  <a:lnTo>
                    <a:pt x="2208" y="2127"/>
                  </a:lnTo>
                  <a:lnTo>
                    <a:pt x="2208" y="2136"/>
                  </a:lnTo>
                  <a:lnTo>
                    <a:pt x="2208" y="2156"/>
                  </a:lnTo>
                  <a:lnTo>
                    <a:pt x="2208" y="2156"/>
                  </a:lnTo>
                  <a:lnTo>
                    <a:pt x="2195" y="2150"/>
                  </a:lnTo>
                  <a:lnTo>
                    <a:pt x="2180" y="2146"/>
                  </a:lnTo>
                  <a:lnTo>
                    <a:pt x="2165" y="2143"/>
                  </a:lnTo>
                  <a:lnTo>
                    <a:pt x="2148" y="2142"/>
                  </a:lnTo>
                  <a:lnTo>
                    <a:pt x="2148" y="2142"/>
                  </a:lnTo>
                  <a:lnTo>
                    <a:pt x="2129" y="2143"/>
                  </a:lnTo>
                  <a:lnTo>
                    <a:pt x="2110" y="2148"/>
                  </a:lnTo>
                  <a:lnTo>
                    <a:pt x="2092" y="2153"/>
                  </a:lnTo>
                  <a:lnTo>
                    <a:pt x="2082" y="2157"/>
                  </a:lnTo>
                  <a:lnTo>
                    <a:pt x="2074" y="2163"/>
                  </a:lnTo>
                  <a:lnTo>
                    <a:pt x="2067" y="2168"/>
                  </a:lnTo>
                  <a:lnTo>
                    <a:pt x="2060" y="2175"/>
                  </a:lnTo>
                  <a:lnTo>
                    <a:pt x="2053" y="2182"/>
                  </a:lnTo>
                  <a:lnTo>
                    <a:pt x="2048" y="2190"/>
                  </a:lnTo>
                  <a:lnTo>
                    <a:pt x="2043" y="2200"/>
                  </a:lnTo>
                  <a:lnTo>
                    <a:pt x="2041" y="2211"/>
                  </a:lnTo>
                  <a:lnTo>
                    <a:pt x="2039" y="2222"/>
                  </a:lnTo>
                  <a:lnTo>
                    <a:pt x="2038" y="2233"/>
                  </a:lnTo>
                  <a:lnTo>
                    <a:pt x="2038" y="2233"/>
                  </a:lnTo>
                  <a:lnTo>
                    <a:pt x="2039" y="2247"/>
                  </a:lnTo>
                  <a:lnTo>
                    <a:pt x="2041" y="2259"/>
                  </a:lnTo>
                  <a:lnTo>
                    <a:pt x="2043" y="2269"/>
                  </a:lnTo>
                  <a:lnTo>
                    <a:pt x="2048" y="2280"/>
                  </a:lnTo>
                  <a:lnTo>
                    <a:pt x="2052" y="2288"/>
                  </a:lnTo>
                  <a:lnTo>
                    <a:pt x="2059" y="2296"/>
                  </a:lnTo>
                  <a:lnTo>
                    <a:pt x="2064" y="2303"/>
                  </a:lnTo>
                  <a:lnTo>
                    <a:pt x="2072" y="2310"/>
                  </a:lnTo>
                  <a:lnTo>
                    <a:pt x="2079" y="2316"/>
                  </a:lnTo>
                  <a:lnTo>
                    <a:pt x="2088" y="2320"/>
                  </a:lnTo>
                  <a:lnTo>
                    <a:pt x="2105" y="2327"/>
                  </a:lnTo>
                  <a:lnTo>
                    <a:pt x="2123" y="2331"/>
                  </a:lnTo>
                  <a:lnTo>
                    <a:pt x="2141" y="2332"/>
                  </a:lnTo>
                  <a:lnTo>
                    <a:pt x="2141" y="2332"/>
                  </a:lnTo>
                  <a:lnTo>
                    <a:pt x="2157" y="2330"/>
                  </a:lnTo>
                  <a:lnTo>
                    <a:pt x="2166" y="2328"/>
                  </a:lnTo>
                  <a:lnTo>
                    <a:pt x="2174" y="2325"/>
                  </a:lnTo>
                  <a:lnTo>
                    <a:pt x="2184" y="2321"/>
                  </a:lnTo>
                  <a:lnTo>
                    <a:pt x="2192" y="2316"/>
                  </a:lnTo>
                  <a:lnTo>
                    <a:pt x="2201" y="2310"/>
                  </a:lnTo>
                  <a:lnTo>
                    <a:pt x="2208" y="2303"/>
                  </a:lnTo>
                  <a:lnTo>
                    <a:pt x="2208" y="2325"/>
                  </a:lnTo>
                  <a:lnTo>
                    <a:pt x="2276" y="2325"/>
                  </a:lnTo>
                  <a:lnTo>
                    <a:pt x="2276" y="2138"/>
                  </a:lnTo>
                  <a:lnTo>
                    <a:pt x="2276" y="2138"/>
                  </a:lnTo>
                  <a:lnTo>
                    <a:pt x="2276" y="2127"/>
                  </a:lnTo>
                  <a:lnTo>
                    <a:pt x="2275" y="2117"/>
                  </a:lnTo>
                  <a:lnTo>
                    <a:pt x="2272" y="2108"/>
                  </a:lnTo>
                  <a:lnTo>
                    <a:pt x="2270" y="2098"/>
                  </a:lnTo>
                  <a:lnTo>
                    <a:pt x="2264" y="2090"/>
                  </a:lnTo>
                  <a:lnTo>
                    <a:pt x="2260" y="2081"/>
                  </a:lnTo>
                  <a:lnTo>
                    <a:pt x="2253" y="2074"/>
                  </a:lnTo>
                  <a:lnTo>
                    <a:pt x="2246" y="2068"/>
                  </a:lnTo>
                  <a:lnTo>
                    <a:pt x="2239" y="2062"/>
                  </a:lnTo>
                  <a:lnTo>
                    <a:pt x="2231" y="2056"/>
                  </a:lnTo>
                  <a:lnTo>
                    <a:pt x="2221" y="2052"/>
                  </a:lnTo>
                  <a:lnTo>
                    <a:pt x="2212" y="2048"/>
                  </a:lnTo>
                  <a:lnTo>
                    <a:pt x="2201" y="2045"/>
                  </a:lnTo>
                  <a:lnTo>
                    <a:pt x="2190" y="2044"/>
                  </a:lnTo>
                  <a:lnTo>
                    <a:pt x="2177" y="2043"/>
                  </a:lnTo>
                  <a:lnTo>
                    <a:pt x="2165" y="2041"/>
                  </a:lnTo>
                  <a:lnTo>
                    <a:pt x="2165" y="2041"/>
                  </a:lnTo>
                  <a:lnTo>
                    <a:pt x="2150" y="2043"/>
                  </a:lnTo>
                  <a:lnTo>
                    <a:pt x="2137" y="2043"/>
                  </a:lnTo>
                  <a:lnTo>
                    <a:pt x="2123" y="2045"/>
                  </a:lnTo>
                  <a:lnTo>
                    <a:pt x="2110" y="2048"/>
                  </a:lnTo>
                  <a:lnTo>
                    <a:pt x="2097" y="2052"/>
                  </a:lnTo>
                  <a:lnTo>
                    <a:pt x="2085" y="2056"/>
                  </a:lnTo>
                  <a:lnTo>
                    <a:pt x="2072" y="2062"/>
                  </a:lnTo>
                  <a:lnTo>
                    <a:pt x="2060" y="2069"/>
                  </a:lnTo>
                  <a:lnTo>
                    <a:pt x="2088" y="2116"/>
                  </a:lnTo>
                  <a:close/>
                  <a:moveTo>
                    <a:pt x="2107" y="2233"/>
                  </a:moveTo>
                  <a:lnTo>
                    <a:pt x="2107" y="2233"/>
                  </a:lnTo>
                  <a:lnTo>
                    <a:pt x="2107" y="2225"/>
                  </a:lnTo>
                  <a:lnTo>
                    <a:pt x="2110" y="2216"/>
                  </a:lnTo>
                  <a:lnTo>
                    <a:pt x="2114" y="2210"/>
                  </a:lnTo>
                  <a:lnTo>
                    <a:pt x="2119" y="2204"/>
                  </a:lnTo>
                  <a:lnTo>
                    <a:pt x="2126" y="2200"/>
                  </a:lnTo>
                  <a:lnTo>
                    <a:pt x="2134" y="2197"/>
                  </a:lnTo>
                  <a:lnTo>
                    <a:pt x="2144" y="2194"/>
                  </a:lnTo>
                  <a:lnTo>
                    <a:pt x="2154" y="2194"/>
                  </a:lnTo>
                  <a:lnTo>
                    <a:pt x="2154" y="2194"/>
                  </a:lnTo>
                  <a:lnTo>
                    <a:pt x="2169" y="2194"/>
                  </a:lnTo>
                  <a:lnTo>
                    <a:pt x="2183" y="2197"/>
                  </a:lnTo>
                  <a:lnTo>
                    <a:pt x="2195" y="2201"/>
                  </a:lnTo>
                  <a:lnTo>
                    <a:pt x="2208" y="2208"/>
                  </a:lnTo>
                  <a:lnTo>
                    <a:pt x="2208" y="2245"/>
                  </a:lnTo>
                  <a:lnTo>
                    <a:pt x="2208" y="2245"/>
                  </a:lnTo>
                  <a:lnTo>
                    <a:pt x="2205" y="2251"/>
                  </a:lnTo>
                  <a:lnTo>
                    <a:pt x="2199" y="2256"/>
                  </a:lnTo>
                  <a:lnTo>
                    <a:pt x="2194" y="2262"/>
                  </a:lnTo>
                  <a:lnTo>
                    <a:pt x="2187" y="2266"/>
                  </a:lnTo>
                  <a:lnTo>
                    <a:pt x="2180" y="2270"/>
                  </a:lnTo>
                  <a:lnTo>
                    <a:pt x="2172" y="2273"/>
                  </a:lnTo>
                  <a:lnTo>
                    <a:pt x="2163" y="2274"/>
                  </a:lnTo>
                  <a:lnTo>
                    <a:pt x="2154" y="2276"/>
                  </a:lnTo>
                  <a:lnTo>
                    <a:pt x="2154" y="2276"/>
                  </a:lnTo>
                  <a:lnTo>
                    <a:pt x="2144" y="2274"/>
                  </a:lnTo>
                  <a:lnTo>
                    <a:pt x="2134" y="2272"/>
                  </a:lnTo>
                  <a:lnTo>
                    <a:pt x="2126" y="2269"/>
                  </a:lnTo>
                  <a:lnTo>
                    <a:pt x="2119" y="2263"/>
                  </a:lnTo>
                  <a:lnTo>
                    <a:pt x="2114" y="2258"/>
                  </a:lnTo>
                  <a:lnTo>
                    <a:pt x="2110" y="2251"/>
                  </a:lnTo>
                  <a:lnTo>
                    <a:pt x="2108" y="2243"/>
                  </a:lnTo>
                  <a:lnTo>
                    <a:pt x="2107" y="2233"/>
                  </a:lnTo>
                  <a:lnTo>
                    <a:pt x="2107" y="2233"/>
                  </a:lnTo>
                  <a:close/>
                  <a:moveTo>
                    <a:pt x="2915" y="2245"/>
                  </a:moveTo>
                  <a:lnTo>
                    <a:pt x="2915" y="2245"/>
                  </a:lnTo>
                  <a:lnTo>
                    <a:pt x="2905" y="2254"/>
                  </a:lnTo>
                  <a:lnTo>
                    <a:pt x="2893" y="2261"/>
                  </a:lnTo>
                  <a:lnTo>
                    <a:pt x="2886" y="2263"/>
                  </a:lnTo>
                  <a:lnTo>
                    <a:pt x="2878" y="2266"/>
                  </a:lnTo>
                  <a:lnTo>
                    <a:pt x="2869" y="2268"/>
                  </a:lnTo>
                  <a:lnTo>
                    <a:pt x="2861" y="2269"/>
                  </a:lnTo>
                  <a:lnTo>
                    <a:pt x="2861" y="2269"/>
                  </a:lnTo>
                  <a:lnTo>
                    <a:pt x="2854" y="2268"/>
                  </a:lnTo>
                  <a:lnTo>
                    <a:pt x="2846" y="2268"/>
                  </a:lnTo>
                  <a:lnTo>
                    <a:pt x="2836" y="2265"/>
                  </a:lnTo>
                  <a:lnTo>
                    <a:pt x="2825" y="2259"/>
                  </a:lnTo>
                  <a:lnTo>
                    <a:pt x="2816" y="2252"/>
                  </a:lnTo>
                  <a:lnTo>
                    <a:pt x="2811" y="2247"/>
                  </a:lnTo>
                  <a:lnTo>
                    <a:pt x="2807" y="2241"/>
                  </a:lnTo>
                  <a:lnTo>
                    <a:pt x="2805" y="2234"/>
                  </a:lnTo>
                  <a:lnTo>
                    <a:pt x="2802" y="2226"/>
                  </a:lnTo>
                  <a:lnTo>
                    <a:pt x="2800" y="2218"/>
                  </a:lnTo>
                  <a:lnTo>
                    <a:pt x="2799" y="2208"/>
                  </a:lnTo>
                  <a:lnTo>
                    <a:pt x="2969" y="2208"/>
                  </a:lnTo>
                  <a:lnTo>
                    <a:pt x="2969" y="2208"/>
                  </a:lnTo>
                  <a:lnTo>
                    <a:pt x="2970" y="2188"/>
                  </a:lnTo>
                  <a:lnTo>
                    <a:pt x="2970" y="2188"/>
                  </a:lnTo>
                  <a:lnTo>
                    <a:pt x="2970" y="2171"/>
                  </a:lnTo>
                  <a:lnTo>
                    <a:pt x="2967" y="2156"/>
                  </a:lnTo>
                  <a:lnTo>
                    <a:pt x="2966" y="2141"/>
                  </a:lnTo>
                  <a:lnTo>
                    <a:pt x="2962" y="2127"/>
                  </a:lnTo>
                  <a:lnTo>
                    <a:pt x="2958" y="2114"/>
                  </a:lnTo>
                  <a:lnTo>
                    <a:pt x="2952" y="2102"/>
                  </a:lnTo>
                  <a:lnTo>
                    <a:pt x="2945" y="2091"/>
                  </a:lnTo>
                  <a:lnTo>
                    <a:pt x="2938" y="2081"/>
                  </a:lnTo>
                  <a:lnTo>
                    <a:pt x="2930" y="2072"/>
                  </a:lnTo>
                  <a:lnTo>
                    <a:pt x="2922" y="2065"/>
                  </a:lnTo>
                  <a:lnTo>
                    <a:pt x="2912" y="2058"/>
                  </a:lnTo>
                  <a:lnTo>
                    <a:pt x="2901" y="2052"/>
                  </a:lnTo>
                  <a:lnTo>
                    <a:pt x="2890" y="2048"/>
                  </a:lnTo>
                  <a:lnTo>
                    <a:pt x="2879" y="2044"/>
                  </a:lnTo>
                  <a:lnTo>
                    <a:pt x="2867" y="2043"/>
                  </a:lnTo>
                  <a:lnTo>
                    <a:pt x="2853" y="2041"/>
                  </a:lnTo>
                  <a:lnTo>
                    <a:pt x="2853" y="2041"/>
                  </a:lnTo>
                  <a:lnTo>
                    <a:pt x="2840" y="2043"/>
                  </a:lnTo>
                  <a:lnTo>
                    <a:pt x="2828" y="2044"/>
                  </a:lnTo>
                  <a:lnTo>
                    <a:pt x="2816" y="2048"/>
                  </a:lnTo>
                  <a:lnTo>
                    <a:pt x="2803" y="2052"/>
                  </a:lnTo>
                  <a:lnTo>
                    <a:pt x="2792" y="2058"/>
                  </a:lnTo>
                  <a:lnTo>
                    <a:pt x="2783" y="2066"/>
                  </a:lnTo>
                  <a:lnTo>
                    <a:pt x="2773" y="2073"/>
                  </a:lnTo>
                  <a:lnTo>
                    <a:pt x="2765" y="2083"/>
                  </a:lnTo>
                  <a:lnTo>
                    <a:pt x="2756" y="2092"/>
                  </a:lnTo>
                  <a:lnTo>
                    <a:pt x="2749" y="2103"/>
                  </a:lnTo>
                  <a:lnTo>
                    <a:pt x="2744" y="2116"/>
                  </a:lnTo>
                  <a:lnTo>
                    <a:pt x="2738" y="2128"/>
                  </a:lnTo>
                  <a:lnTo>
                    <a:pt x="2734" y="2142"/>
                  </a:lnTo>
                  <a:lnTo>
                    <a:pt x="2731" y="2157"/>
                  </a:lnTo>
                  <a:lnTo>
                    <a:pt x="2730" y="2171"/>
                  </a:lnTo>
                  <a:lnTo>
                    <a:pt x="2729" y="2188"/>
                  </a:lnTo>
                  <a:lnTo>
                    <a:pt x="2729" y="2188"/>
                  </a:lnTo>
                  <a:lnTo>
                    <a:pt x="2730" y="2203"/>
                  </a:lnTo>
                  <a:lnTo>
                    <a:pt x="2731" y="2218"/>
                  </a:lnTo>
                  <a:lnTo>
                    <a:pt x="2734" y="2233"/>
                  </a:lnTo>
                  <a:lnTo>
                    <a:pt x="2738" y="2247"/>
                  </a:lnTo>
                  <a:lnTo>
                    <a:pt x="2744" y="2259"/>
                  </a:lnTo>
                  <a:lnTo>
                    <a:pt x="2749" y="2272"/>
                  </a:lnTo>
                  <a:lnTo>
                    <a:pt x="2756" y="2283"/>
                  </a:lnTo>
                  <a:lnTo>
                    <a:pt x="2765" y="2292"/>
                  </a:lnTo>
                  <a:lnTo>
                    <a:pt x="2774" y="2301"/>
                  </a:lnTo>
                  <a:lnTo>
                    <a:pt x="2784" y="2309"/>
                  </a:lnTo>
                  <a:lnTo>
                    <a:pt x="2795" y="2316"/>
                  </a:lnTo>
                  <a:lnTo>
                    <a:pt x="2806" y="2321"/>
                  </a:lnTo>
                  <a:lnTo>
                    <a:pt x="2818" y="2325"/>
                  </a:lnTo>
                  <a:lnTo>
                    <a:pt x="2832" y="2330"/>
                  </a:lnTo>
                  <a:lnTo>
                    <a:pt x="2846" y="2331"/>
                  </a:lnTo>
                  <a:lnTo>
                    <a:pt x="2861" y="2332"/>
                  </a:lnTo>
                  <a:lnTo>
                    <a:pt x="2861" y="2332"/>
                  </a:lnTo>
                  <a:lnTo>
                    <a:pt x="2875" y="2331"/>
                  </a:lnTo>
                  <a:lnTo>
                    <a:pt x="2887" y="2330"/>
                  </a:lnTo>
                  <a:lnTo>
                    <a:pt x="2901" y="2325"/>
                  </a:lnTo>
                  <a:lnTo>
                    <a:pt x="2913" y="2321"/>
                  </a:lnTo>
                  <a:lnTo>
                    <a:pt x="2926" y="2314"/>
                  </a:lnTo>
                  <a:lnTo>
                    <a:pt x="2937" y="2308"/>
                  </a:lnTo>
                  <a:lnTo>
                    <a:pt x="2948" y="2298"/>
                  </a:lnTo>
                  <a:lnTo>
                    <a:pt x="2959" y="2288"/>
                  </a:lnTo>
                  <a:lnTo>
                    <a:pt x="2915" y="2245"/>
                  </a:lnTo>
                  <a:close/>
                  <a:moveTo>
                    <a:pt x="2800" y="2157"/>
                  </a:moveTo>
                  <a:lnTo>
                    <a:pt x="2800" y="2157"/>
                  </a:lnTo>
                  <a:lnTo>
                    <a:pt x="2802" y="2145"/>
                  </a:lnTo>
                  <a:lnTo>
                    <a:pt x="2805" y="2134"/>
                  </a:lnTo>
                  <a:lnTo>
                    <a:pt x="2809" y="2124"/>
                  </a:lnTo>
                  <a:lnTo>
                    <a:pt x="2816" y="2116"/>
                  </a:lnTo>
                  <a:lnTo>
                    <a:pt x="2822" y="2109"/>
                  </a:lnTo>
                  <a:lnTo>
                    <a:pt x="2831" y="2105"/>
                  </a:lnTo>
                  <a:lnTo>
                    <a:pt x="2840" y="2101"/>
                  </a:lnTo>
                  <a:lnTo>
                    <a:pt x="2851" y="2101"/>
                  </a:lnTo>
                  <a:lnTo>
                    <a:pt x="2851" y="2101"/>
                  </a:lnTo>
                  <a:lnTo>
                    <a:pt x="2864" y="2102"/>
                  </a:lnTo>
                  <a:lnTo>
                    <a:pt x="2875" y="2105"/>
                  </a:lnTo>
                  <a:lnTo>
                    <a:pt x="2883" y="2110"/>
                  </a:lnTo>
                  <a:lnTo>
                    <a:pt x="2890" y="2119"/>
                  </a:lnTo>
                  <a:lnTo>
                    <a:pt x="2896" y="2127"/>
                  </a:lnTo>
                  <a:lnTo>
                    <a:pt x="2900" y="2136"/>
                  </a:lnTo>
                  <a:lnTo>
                    <a:pt x="2902" y="2148"/>
                  </a:lnTo>
                  <a:lnTo>
                    <a:pt x="2904" y="2157"/>
                  </a:lnTo>
                  <a:lnTo>
                    <a:pt x="2800" y="2157"/>
                  </a:lnTo>
                  <a:close/>
                  <a:moveTo>
                    <a:pt x="3578" y="2245"/>
                  </a:moveTo>
                  <a:lnTo>
                    <a:pt x="3578" y="2245"/>
                  </a:lnTo>
                  <a:lnTo>
                    <a:pt x="3567" y="2254"/>
                  </a:lnTo>
                  <a:lnTo>
                    <a:pt x="3556" y="2261"/>
                  </a:lnTo>
                  <a:lnTo>
                    <a:pt x="3548" y="2263"/>
                  </a:lnTo>
                  <a:lnTo>
                    <a:pt x="3541" y="2266"/>
                  </a:lnTo>
                  <a:lnTo>
                    <a:pt x="3533" y="2268"/>
                  </a:lnTo>
                  <a:lnTo>
                    <a:pt x="3523" y="2269"/>
                  </a:lnTo>
                  <a:lnTo>
                    <a:pt x="3523" y="2269"/>
                  </a:lnTo>
                  <a:lnTo>
                    <a:pt x="3516" y="2268"/>
                  </a:lnTo>
                  <a:lnTo>
                    <a:pt x="3508" y="2268"/>
                  </a:lnTo>
                  <a:lnTo>
                    <a:pt x="3498" y="2265"/>
                  </a:lnTo>
                  <a:lnTo>
                    <a:pt x="3488" y="2259"/>
                  </a:lnTo>
                  <a:lnTo>
                    <a:pt x="3479" y="2252"/>
                  </a:lnTo>
                  <a:lnTo>
                    <a:pt x="3475" y="2247"/>
                  </a:lnTo>
                  <a:lnTo>
                    <a:pt x="3471" y="2241"/>
                  </a:lnTo>
                  <a:lnTo>
                    <a:pt x="3468" y="2234"/>
                  </a:lnTo>
                  <a:lnTo>
                    <a:pt x="3465" y="2226"/>
                  </a:lnTo>
                  <a:lnTo>
                    <a:pt x="3462" y="2218"/>
                  </a:lnTo>
                  <a:lnTo>
                    <a:pt x="3461" y="2208"/>
                  </a:lnTo>
                  <a:lnTo>
                    <a:pt x="3632" y="2208"/>
                  </a:lnTo>
                  <a:lnTo>
                    <a:pt x="3632" y="2208"/>
                  </a:lnTo>
                  <a:lnTo>
                    <a:pt x="3633" y="2188"/>
                  </a:lnTo>
                  <a:lnTo>
                    <a:pt x="3633" y="2188"/>
                  </a:lnTo>
                  <a:lnTo>
                    <a:pt x="3632" y="2171"/>
                  </a:lnTo>
                  <a:lnTo>
                    <a:pt x="3630" y="2156"/>
                  </a:lnTo>
                  <a:lnTo>
                    <a:pt x="3628" y="2141"/>
                  </a:lnTo>
                  <a:lnTo>
                    <a:pt x="3625" y="2127"/>
                  </a:lnTo>
                  <a:lnTo>
                    <a:pt x="3619" y="2114"/>
                  </a:lnTo>
                  <a:lnTo>
                    <a:pt x="3614" y="2102"/>
                  </a:lnTo>
                  <a:lnTo>
                    <a:pt x="3608" y="2091"/>
                  </a:lnTo>
                  <a:lnTo>
                    <a:pt x="3602" y="2081"/>
                  </a:lnTo>
                  <a:lnTo>
                    <a:pt x="3593" y="2072"/>
                  </a:lnTo>
                  <a:lnTo>
                    <a:pt x="3584" y="2065"/>
                  </a:lnTo>
                  <a:lnTo>
                    <a:pt x="3574" y="2058"/>
                  </a:lnTo>
                  <a:lnTo>
                    <a:pt x="3564" y="2052"/>
                  </a:lnTo>
                  <a:lnTo>
                    <a:pt x="3553" y="2048"/>
                  </a:lnTo>
                  <a:lnTo>
                    <a:pt x="3541" y="2044"/>
                  </a:lnTo>
                  <a:lnTo>
                    <a:pt x="3528" y="2043"/>
                  </a:lnTo>
                  <a:lnTo>
                    <a:pt x="3516" y="2041"/>
                  </a:lnTo>
                  <a:lnTo>
                    <a:pt x="3516" y="2041"/>
                  </a:lnTo>
                  <a:lnTo>
                    <a:pt x="3502" y="2043"/>
                  </a:lnTo>
                  <a:lnTo>
                    <a:pt x="3490" y="2044"/>
                  </a:lnTo>
                  <a:lnTo>
                    <a:pt x="3477" y="2048"/>
                  </a:lnTo>
                  <a:lnTo>
                    <a:pt x="3466" y="2052"/>
                  </a:lnTo>
                  <a:lnTo>
                    <a:pt x="3455" y="2058"/>
                  </a:lnTo>
                  <a:lnTo>
                    <a:pt x="3444" y="2066"/>
                  </a:lnTo>
                  <a:lnTo>
                    <a:pt x="3436" y="2073"/>
                  </a:lnTo>
                  <a:lnTo>
                    <a:pt x="3426" y="2083"/>
                  </a:lnTo>
                  <a:lnTo>
                    <a:pt x="3418" y="2092"/>
                  </a:lnTo>
                  <a:lnTo>
                    <a:pt x="3411" y="2103"/>
                  </a:lnTo>
                  <a:lnTo>
                    <a:pt x="3406" y="2116"/>
                  </a:lnTo>
                  <a:lnTo>
                    <a:pt x="3400" y="2128"/>
                  </a:lnTo>
                  <a:lnTo>
                    <a:pt x="3397" y="2142"/>
                  </a:lnTo>
                  <a:lnTo>
                    <a:pt x="3393" y="2157"/>
                  </a:lnTo>
                  <a:lnTo>
                    <a:pt x="3392" y="2171"/>
                  </a:lnTo>
                  <a:lnTo>
                    <a:pt x="3392" y="2188"/>
                  </a:lnTo>
                  <a:lnTo>
                    <a:pt x="3392" y="2188"/>
                  </a:lnTo>
                  <a:lnTo>
                    <a:pt x="3392" y="2203"/>
                  </a:lnTo>
                  <a:lnTo>
                    <a:pt x="3393" y="2218"/>
                  </a:lnTo>
                  <a:lnTo>
                    <a:pt x="3396" y="2233"/>
                  </a:lnTo>
                  <a:lnTo>
                    <a:pt x="3400" y="2247"/>
                  </a:lnTo>
                  <a:lnTo>
                    <a:pt x="3406" y="2259"/>
                  </a:lnTo>
                  <a:lnTo>
                    <a:pt x="3413" y="2272"/>
                  </a:lnTo>
                  <a:lnTo>
                    <a:pt x="3420" y="2283"/>
                  </a:lnTo>
                  <a:lnTo>
                    <a:pt x="3428" y="2292"/>
                  </a:lnTo>
                  <a:lnTo>
                    <a:pt x="3436" y="2301"/>
                  </a:lnTo>
                  <a:lnTo>
                    <a:pt x="3446" y="2309"/>
                  </a:lnTo>
                  <a:lnTo>
                    <a:pt x="3457" y="2316"/>
                  </a:lnTo>
                  <a:lnTo>
                    <a:pt x="3469" y="2321"/>
                  </a:lnTo>
                  <a:lnTo>
                    <a:pt x="3482" y="2325"/>
                  </a:lnTo>
                  <a:lnTo>
                    <a:pt x="3494" y="2330"/>
                  </a:lnTo>
                  <a:lnTo>
                    <a:pt x="3509" y="2331"/>
                  </a:lnTo>
                  <a:lnTo>
                    <a:pt x="3523" y="2332"/>
                  </a:lnTo>
                  <a:lnTo>
                    <a:pt x="3523" y="2332"/>
                  </a:lnTo>
                  <a:lnTo>
                    <a:pt x="3537" y="2331"/>
                  </a:lnTo>
                  <a:lnTo>
                    <a:pt x="3551" y="2330"/>
                  </a:lnTo>
                  <a:lnTo>
                    <a:pt x="3563" y="2325"/>
                  </a:lnTo>
                  <a:lnTo>
                    <a:pt x="3575" y="2321"/>
                  </a:lnTo>
                  <a:lnTo>
                    <a:pt x="3588" y="2314"/>
                  </a:lnTo>
                  <a:lnTo>
                    <a:pt x="3600" y="2308"/>
                  </a:lnTo>
                  <a:lnTo>
                    <a:pt x="3611" y="2298"/>
                  </a:lnTo>
                  <a:lnTo>
                    <a:pt x="3621" y="2288"/>
                  </a:lnTo>
                  <a:lnTo>
                    <a:pt x="3578" y="2245"/>
                  </a:lnTo>
                  <a:close/>
                  <a:moveTo>
                    <a:pt x="3462" y="2157"/>
                  </a:moveTo>
                  <a:lnTo>
                    <a:pt x="3462" y="2157"/>
                  </a:lnTo>
                  <a:lnTo>
                    <a:pt x="3464" y="2145"/>
                  </a:lnTo>
                  <a:lnTo>
                    <a:pt x="3468" y="2134"/>
                  </a:lnTo>
                  <a:lnTo>
                    <a:pt x="3472" y="2124"/>
                  </a:lnTo>
                  <a:lnTo>
                    <a:pt x="3477" y="2116"/>
                  </a:lnTo>
                  <a:lnTo>
                    <a:pt x="3486" y="2109"/>
                  </a:lnTo>
                  <a:lnTo>
                    <a:pt x="3494" y="2105"/>
                  </a:lnTo>
                  <a:lnTo>
                    <a:pt x="3504" y="2101"/>
                  </a:lnTo>
                  <a:lnTo>
                    <a:pt x="3515" y="2101"/>
                  </a:lnTo>
                  <a:lnTo>
                    <a:pt x="3515" y="2101"/>
                  </a:lnTo>
                  <a:lnTo>
                    <a:pt x="3527" y="2102"/>
                  </a:lnTo>
                  <a:lnTo>
                    <a:pt x="3537" y="2105"/>
                  </a:lnTo>
                  <a:lnTo>
                    <a:pt x="3546" y="2110"/>
                  </a:lnTo>
                  <a:lnTo>
                    <a:pt x="3553" y="2119"/>
                  </a:lnTo>
                  <a:lnTo>
                    <a:pt x="3559" y="2127"/>
                  </a:lnTo>
                  <a:lnTo>
                    <a:pt x="3563" y="2136"/>
                  </a:lnTo>
                  <a:lnTo>
                    <a:pt x="3566" y="2148"/>
                  </a:lnTo>
                  <a:lnTo>
                    <a:pt x="3567" y="2157"/>
                  </a:lnTo>
                  <a:lnTo>
                    <a:pt x="3462" y="2157"/>
                  </a:lnTo>
                  <a:close/>
                  <a:moveTo>
                    <a:pt x="3297" y="2229"/>
                  </a:moveTo>
                  <a:lnTo>
                    <a:pt x="3297" y="2229"/>
                  </a:lnTo>
                  <a:lnTo>
                    <a:pt x="3297" y="2239"/>
                  </a:lnTo>
                  <a:lnTo>
                    <a:pt x="3298" y="2245"/>
                  </a:lnTo>
                  <a:lnTo>
                    <a:pt x="3301" y="2252"/>
                  </a:lnTo>
                  <a:lnTo>
                    <a:pt x="3304" y="2258"/>
                  </a:lnTo>
                  <a:lnTo>
                    <a:pt x="3308" y="2262"/>
                  </a:lnTo>
                  <a:lnTo>
                    <a:pt x="3313" y="2265"/>
                  </a:lnTo>
                  <a:lnTo>
                    <a:pt x="3319" y="2266"/>
                  </a:lnTo>
                  <a:lnTo>
                    <a:pt x="3327" y="2266"/>
                  </a:lnTo>
                  <a:lnTo>
                    <a:pt x="3327" y="2266"/>
                  </a:lnTo>
                  <a:lnTo>
                    <a:pt x="3337" y="2266"/>
                  </a:lnTo>
                  <a:lnTo>
                    <a:pt x="3348" y="2263"/>
                  </a:lnTo>
                  <a:lnTo>
                    <a:pt x="3359" y="2259"/>
                  </a:lnTo>
                  <a:lnTo>
                    <a:pt x="3369" y="2254"/>
                  </a:lnTo>
                  <a:lnTo>
                    <a:pt x="3360" y="2319"/>
                  </a:lnTo>
                  <a:lnTo>
                    <a:pt x="3360" y="2319"/>
                  </a:lnTo>
                  <a:lnTo>
                    <a:pt x="3348" y="2324"/>
                  </a:lnTo>
                  <a:lnTo>
                    <a:pt x="3333" y="2328"/>
                  </a:lnTo>
                  <a:lnTo>
                    <a:pt x="3317" y="2331"/>
                  </a:lnTo>
                  <a:lnTo>
                    <a:pt x="3302" y="2332"/>
                  </a:lnTo>
                  <a:lnTo>
                    <a:pt x="3302" y="2332"/>
                  </a:lnTo>
                  <a:lnTo>
                    <a:pt x="3293" y="2331"/>
                  </a:lnTo>
                  <a:lnTo>
                    <a:pt x="3283" y="2330"/>
                  </a:lnTo>
                  <a:lnTo>
                    <a:pt x="3275" y="2327"/>
                  </a:lnTo>
                  <a:lnTo>
                    <a:pt x="3268" y="2324"/>
                  </a:lnTo>
                  <a:lnTo>
                    <a:pt x="3261" y="2320"/>
                  </a:lnTo>
                  <a:lnTo>
                    <a:pt x="3254" y="2316"/>
                  </a:lnTo>
                  <a:lnTo>
                    <a:pt x="3250" y="2310"/>
                  </a:lnTo>
                  <a:lnTo>
                    <a:pt x="3244" y="2303"/>
                  </a:lnTo>
                  <a:lnTo>
                    <a:pt x="3238" y="2291"/>
                  </a:lnTo>
                  <a:lnTo>
                    <a:pt x="3232" y="2276"/>
                  </a:lnTo>
                  <a:lnTo>
                    <a:pt x="3229" y="2262"/>
                  </a:lnTo>
                  <a:lnTo>
                    <a:pt x="3228" y="2247"/>
                  </a:lnTo>
                  <a:lnTo>
                    <a:pt x="3228" y="2112"/>
                  </a:lnTo>
                  <a:lnTo>
                    <a:pt x="3185" y="2112"/>
                  </a:lnTo>
                  <a:lnTo>
                    <a:pt x="3185" y="2048"/>
                  </a:lnTo>
                  <a:lnTo>
                    <a:pt x="3228" y="2048"/>
                  </a:lnTo>
                  <a:lnTo>
                    <a:pt x="3228" y="1976"/>
                  </a:lnTo>
                  <a:lnTo>
                    <a:pt x="3297" y="1942"/>
                  </a:lnTo>
                  <a:lnTo>
                    <a:pt x="3297" y="2048"/>
                  </a:lnTo>
                  <a:lnTo>
                    <a:pt x="3359" y="2048"/>
                  </a:lnTo>
                  <a:lnTo>
                    <a:pt x="3359" y="2112"/>
                  </a:lnTo>
                  <a:lnTo>
                    <a:pt x="3297" y="2112"/>
                  </a:lnTo>
                  <a:lnTo>
                    <a:pt x="3297" y="2229"/>
                  </a:lnTo>
                  <a:close/>
                  <a:moveTo>
                    <a:pt x="3163" y="2319"/>
                  </a:moveTo>
                  <a:lnTo>
                    <a:pt x="3163" y="2319"/>
                  </a:lnTo>
                  <a:lnTo>
                    <a:pt x="3151" y="2324"/>
                  </a:lnTo>
                  <a:lnTo>
                    <a:pt x="3137" y="2328"/>
                  </a:lnTo>
                  <a:lnTo>
                    <a:pt x="3122" y="2331"/>
                  </a:lnTo>
                  <a:lnTo>
                    <a:pt x="3107" y="2332"/>
                  </a:lnTo>
                  <a:lnTo>
                    <a:pt x="3107" y="2332"/>
                  </a:lnTo>
                  <a:lnTo>
                    <a:pt x="3096" y="2331"/>
                  </a:lnTo>
                  <a:lnTo>
                    <a:pt x="3087" y="2330"/>
                  </a:lnTo>
                  <a:lnTo>
                    <a:pt x="3079" y="2327"/>
                  </a:lnTo>
                  <a:lnTo>
                    <a:pt x="3071" y="2324"/>
                  </a:lnTo>
                  <a:lnTo>
                    <a:pt x="3065" y="2320"/>
                  </a:lnTo>
                  <a:lnTo>
                    <a:pt x="3058" y="2316"/>
                  </a:lnTo>
                  <a:lnTo>
                    <a:pt x="3053" y="2310"/>
                  </a:lnTo>
                  <a:lnTo>
                    <a:pt x="3049" y="2303"/>
                  </a:lnTo>
                  <a:lnTo>
                    <a:pt x="3040" y="2291"/>
                  </a:lnTo>
                  <a:lnTo>
                    <a:pt x="3036" y="2276"/>
                  </a:lnTo>
                  <a:lnTo>
                    <a:pt x="3032" y="2262"/>
                  </a:lnTo>
                  <a:lnTo>
                    <a:pt x="3032" y="2247"/>
                  </a:lnTo>
                  <a:lnTo>
                    <a:pt x="3032" y="2112"/>
                  </a:lnTo>
                  <a:lnTo>
                    <a:pt x="2989" y="2112"/>
                  </a:lnTo>
                  <a:lnTo>
                    <a:pt x="2989" y="2048"/>
                  </a:lnTo>
                  <a:lnTo>
                    <a:pt x="3032" y="2048"/>
                  </a:lnTo>
                  <a:lnTo>
                    <a:pt x="3032" y="1976"/>
                  </a:lnTo>
                  <a:lnTo>
                    <a:pt x="3101" y="1942"/>
                  </a:lnTo>
                  <a:lnTo>
                    <a:pt x="3101" y="2048"/>
                  </a:lnTo>
                  <a:lnTo>
                    <a:pt x="3159" y="2048"/>
                  </a:lnTo>
                  <a:lnTo>
                    <a:pt x="3159" y="2112"/>
                  </a:lnTo>
                  <a:lnTo>
                    <a:pt x="3101" y="2112"/>
                  </a:lnTo>
                  <a:lnTo>
                    <a:pt x="3101" y="2229"/>
                  </a:lnTo>
                  <a:lnTo>
                    <a:pt x="3101" y="2229"/>
                  </a:lnTo>
                  <a:lnTo>
                    <a:pt x="3101" y="2239"/>
                  </a:lnTo>
                  <a:lnTo>
                    <a:pt x="3102" y="2245"/>
                  </a:lnTo>
                  <a:lnTo>
                    <a:pt x="3105" y="2252"/>
                  </a:lnTo>
                  <a:lnTo>
                    <a:pt x="3108" y="2258"/>
                  </a:lnTo>
                  <a:lnTo>
                    <a:pt x="3112" y="2262"/>
                  </a:lnTo>
                  <a:lnTo>
                    <a:pt x="3118" y="2265"/>
                  </a:lnTo>
                  <a:lnTo>
                    <a:pt x="3123" y="2266"/>
                  </a:lnTo>
                  <a:lnTo>
                    <a:pt x="3130" y="2266"/>
                  </a:lnTo>
                  <a:lnTo>
                    <a:pt x="3130" y="2266"/>
                  </a:lnTo>
                  <a:lnTo>
                    <a:pt x="3141" y="2266"/>
                  </a:lnTo>
                  <a:lnTo>
                    <a:pt x="3152" y="2263"/>
                  </a:lnTo>
                  <a:lnTo>
                    <a:pt x="3162" y="2259"/>
                  </a:lnTo>
                  <a:lnTo>
                    <a:pt x="3171" y="2254"/>
                  </a:lnTo>
                  <a:lnTo>
                    <a:pt x="3163" y="2319"/>
                  </a:lnTo>
                  <a:close/>
                  <a:moveTo>
                    <a:pt x="3840" y="2125"/>
                  </a:moveTo>
                  <a:lnTo>
                    <a:pt x="3840" y="2125"/>
                  </a:lnTo>
                  <a:lnTo>
                    <a:pt x="3830" y="2119"/>
                  </a:lnTo>
                  <a:lnTo>
                    <a:pt x="3819" y="2114"/>
                  </a:lnTo>
                  <a:lnTo>
                    <a:pt x="3807" y="2112"/>
                  </a:lnTo>
                  <a:lnTo>
                    <a:pt x="3795" y="2110"/>
                  </a:lnTo>
                  <a:lnTo>
                    <a:pt x="3795" y="2110"/>
                  </a:lnTo>
                  <a:lnTo>
                    <a:pt x="3784" y="2112"/>
                  </a:lnTo>
                  <a:lnTo>
                    <a:pt x="3773" y="2114"/>
                  </a:lnTo>
                  <a:lnTo>
                    <a:pt x="3764" y="2120"/>
                  </a:lnTo>
                  <a:lnTo>
                    <a:pt x="3757" y="2127"/>
                  </a:lnTo>
                  <a:lnTo>
                    <a:pt x="3752" y="2135"/>
                  </a:lnTo>
                  <a:lnTo>
                    <a:pt x="3749" y="2146"/>
                  </a:lnTo>
                  <a:lnTo>
                    <a:pt x="3746" y="2160"/>
                  </a:lnTo>
                  <a:lnTo>
                    <a:pt x="3745" y="2175"/>
                  </a:lnTo>
                  <a:lnTo>
                    <a:pt x="3745" y="2325"/>
                  </a:lnTo>
                  <a:lnTo>
                    <a:pt x="3677" y="2325"/>
                  </a:lnTo>
                  <a:lnTo>
                    <a:pt x="3677" y="2048"/>
                  </a:lnTo>
                  <a:lnTo>
                    <a:pt x="3745" y="2048"/>
                  </a:lnTo>
                  <a:lnTo>
                    <a:pt x="3745" y="2072"/>
                  </a:lnTo>
                  <a:lnTo>
                    <a:pt x="3745" y="2072"/>
                  </a:lnTo>
                  <a:lnTo>
                    <a:pt x="3752" y="2065"/>
                  </a:lnTo>
                  <a:lnTo>
                    <a:pt x="3759" y="2058"/>
                  </a:lnTo>
                  <a:lnTo>
                    <a:pt x="3766" y="2054"/>
                  </a:lnTo>
                  <a:lnTo>
                    <a:pt x="3774" y="2050"/>
                  </a:lnTo>
                  <a:lnTo>
                    <a:pt x="3781" y="2045"/>
                  </a:lnTo>
                  <a:lnTo>
                    <a:pt x="3789" y="2044"/>
                  </a:lnTo>
                  <a:lnTo>
                    <a:pt x="3797" y="2043"/>
                  </a:lnTo>
                  <a:lnTo>
                    <a:pt x="3807" y="2041"/>
                  </a:lnTo>
                  <a:lnTo>
                    <a:pt x="3807" y="2041"/>
                  </a:lnTo>
                  <a:lnTo>
                    <a:pt x="3821" y="2043"/>
                  </a:lnTo>
                  <a:lnTo>
                    <a:pt x="3835" y="2047"/>
                  </a:lnTo>
                  <a:lnTo>
                    <a:pt x="3847" y="2051"/>
                  </a:lnTo>
                  <a:lnTo>
                    <a:pt x="3858" y="2058"/>
                  </a:lnTo>
                  <a:lnTo>
                    <a:pt x="3840" y="2125"/>
                  </a:lnTo>
                  <a:close/>
                  <a:moveTo>
                    <a:pt x="740" y="1982"/>
                  </a:moveTo>
                  <a:lnTo>
                    <a:pt x="740" y="2008"/>
                  </a:lnTo>
                  <a:lnTo>
                    <a:pt x="671" y="2008"/>
                  </a:lnTo>
                  <a:lnTo>
                    <a:pt x="671" y="1939"/>
                  </a:lnTo>
                  <a:lnTo>
                    <a:pt x="740" y="1939"/>
                  </a:lnTo>
                  <a:lnTo>
                    <a:pt x="740" y="1982"/>
                  </a:lnTo>
                  <a:close/>
                  <a:moveTo>
                    <a:pt x="1218" y="2048"/>
                  </a:moveTo>
                  <a:lnTo>
                    <a:pt x="1286" y="2048"/>
                  </a:lnTo>
                  <a:lnTo>
                    <a:pt x="1286" y="2190"/>
                  </a:lnTo>
                  <a:lnTo>
                    <a:pt x="1286" y="2325"/>
                  </a:lnTo>
                  <a:lnTo>
                    <a:pt x="1218" y="2325"/>
                  </a:lnTo>
                  <a:lnTo>
                    <a:pt x="1218" y="2048"/>
                  </a:lnTo>
                  <a:close/>
                  <a:moveTo>
                    <a:pt x="1286" y="1974"/>
                  </a:moveTo>
                  <a:lnTo>
                    <a:pt x="1286" y="2008"/>
                  </a:lnTo>
                  <a:lnTo>
                    <a:pt x="1218" y="2008"/>
                  </a:lnTo>
                  <a:lnTo>
                    <a:pt x="1218" y="1939"/>
                  </a:lnTo>
                  <a:lnTo>
                    <a:pt x="1286" y="1939"/>
                  </a:lnTo>
                  <a:lnTo>
                    <a:pt x="1286" y="1974"/>
                  </a:lnTo>
                  <a:close/>
                  <a:moveTo>
                    <a:pt x="3173" y="2553"/>
                  </a:moveTo>
                  <a:lnTo>
                    <a:pt x="3173" y="2553"/>
                  </a:lnTo>
                  <a:lnTo>
                    <a:pt x="3166" y="2547"/>
                  </a:lnTo>
                  <a:lnTo>
                    <a:pt x="3159" y="2542"/>
                  </a:lnTo>
                  <a:lnTo>
                    <a:pt x="3152" y="2538"/>
                  </a:lnTo>
                  <a:lnTo>
                    <a:pt x="3144" y="2534"/>
                  </a:lnTo>
                  <a:lnTo>
                    <a:pt x="3137" y="2531"/>
                  </a:lnTo>
                  <a:lnTo>
                    <a:pt x="3129" y="2530"/>
                  </a:lnTo>
                  <a:lnTo>
                    <a:pt x="3111" y="2527"/>
                  </a:lnTo>
                  <a:lnTo>
                    <a:pt x="3111" y="2527"/>
                  </a:lnTo>
                  <a:lnTo>
                    <a:pt x="3098" y="2528"/>
                  </a:lnTo>
                  <a:lnTo>
                    <a:pt x="3087" y="2530"/>
                  </a:lnTo>
                  <a:lnTo>
                    <a:pt x="3076" y="2534"/>
                  </a:lnTo>
                  <a:lnTo>
                    <a:pt x="3065" y="2538"/>
                  </a:lnTo>
                  <a:lnTo>
                    <a:pt x="3056" y="2543"/>
                  </a:lnTo>
                  <a:lnTo>
                    <a:pt x="3047" y="2549"/>
                  </a:lnTo>
                  <a:lnTo>
                    <a:pt x="3039" y="2557"/>
                  </a:lnTo>
                  <a:lnTo>
                    <a:pt x="3031" y="2565"/>
                  </a:lnTo>
                  <a:lnTo>
                    <a:pt x="3025" y="2575"/>
                  </a:lnTo>
                  <a:lnTo>
                    <a:pt x="3018" y="2586"/>
                  </a:lnTo>
                  <a:lnTo>
                    <a:pt x="3014" y="2597"/>
                  </a:lnTo>
                  <a:lnTo>
                    <a:pt x="3010" y="2611"/>
                  </a:lnTo>
                  <a:lnTo>
                    <a:pt x="3006" y="2623"/>
                  </a:lnTo>
                  <a:lnTo>
                    <a:pt x="3004" y="2639"/>
                  </a:lnTo>
                  <a:lnTo>
                    <a:pt x="3003" y="2654"/>
                  </a:lnTo>
                  <a:lnTo>
                    <a:pt x="3002" y="2670"/>
                  </a:lnTo>
                  <a:lnTo>
                    <a:pt x="3002" y="2670"/>
                  </a:lnTo>
                  <a:lnTo>
                    <a:pt x="3003" y="2687"/>
                  </a:lnTo>
                  <a:lnTo>
                    <a:pt x="3004" y="2702"/>
                  </a:lnTo>
                  <a:lnTo>
                    <a:pt x="3006" y="2717"/>
                  </a:lnTo>
                  <a:lnTo>
                    <a:pt x="3010" y="2732"/>
                  </a:lnTo>
                  <a:lnTo>
                    <a:pt x="3013" y="2745"/>
                  </a:lnTo>
                  <a:lnTo>
                    <a:pt x="3018" y="2757"/>
                  </a:lnTo>
                  <a:lnTo>
                    <a:pt x="3024" y="2768"/>
                  </a:lnTo>
                  <a:lnTo>
                    <a:pt x="3031" y="2778"/>
                  </a:lnTo>
                  <a:lnTo>
                    <a:pt x="3038" y="2787"/>
                  </a:lnTo>
                  <a:lnTo>
                    <a:pt x="3046" y="2794"/>
                  </a:lnTo>
                  <a:lnTo>
                    <a:pt x="3054" y="2801"/>
                  </a:lnTo>
                  <a:lnTo>
                    <a:pt x="3064" y="2807"/>
                  </a:lnTo>
                  <a:lnTo>
                    <a:pt x="3075" y="2812"/>
                  </a:lnTo>
                  <a:lnTo>
                    <a:pt x="3086" y="2815"/>
                  </a:lnTo>
                  <a:lnTo>
                    <a:pt x="3097" y="2816"/>
                  </a:lnTo>
                  <a:lnTo>
                    <a:pt x="3109" y="2818"/>
                  </a:lnTo>
                  <a:lnTo>
                    <a:pt x="3109" y="2818"/>
                  </a:lnTo>
                  <a:lnTo>
                    <a:pt x="3118" y="2816"/>
                  </a:lnTo>
                  <a:lnTo>
                    <a:pt x="3127" y="2815"/>
                  </a:lnTo>
                  <a:lnTo>
                    <a:pt x="3135" y="2814"/>
                  </a:lnTo>
                  <a:lnTo>
                    <a:pt x="3142" y="2811"/>
                  </a:lnTo>
                  <a:lnTo>
                    <a:pt x="3151" y="2807"/>
                  </a:lnTo>
                  <a:lnTo>
                    <a:pt x="3159" y="2803"/>
                  </a:lnTo>
                  <a:lnTo>
                    <a:pt x="3166" y="2797"/>
                  </a:lnTo>
                  <a:lnTo>
                    <a:pt x="3173" y="2790"/>
                  </a:lnTo>
                  <a:lnTo>
                    <a:pt x="3173" y="2811"/>
                  </a:lnTo>
                  <a:lnTo>
                    <a:pt x="3242" y="2811"/>
                  </a:lnTo>
                  <a:lnTo>
                    <a:pt x="3242" y="2418"/>
                  </a:lnTo>
                  <a:lnTo>
                    <a:pt x="3173" y="2452"/>
                  </a:lnTo>
                  <a:lnTo>
                    <a:pt x="3173" y="2553"/>
                  </a:lnTo>
                  <a:close/>
                  <a:moveTo>
                    <a:pt x="3124" y="2754"/>
                  </a:moveTo>
                  <a:lnTo>
                    <a:pt x="3124" y="2754"/>
                  </a:lnTo>
                  <a:lnTo>
                    <a:pt x="3115" y="2753"/>
                  </a:lnTo>
                  <a:lnTo>
                    <a:pt x="3107" y="2750"/>
                  </a:lnTo>
                  <a:lnTo>
                    <a:pt x="3097" y="2746"/>
                  </a:lnTo>
                  <a:lnTo>
                    <a:pt x="3089" y="2738"/>
                  </a:lnTo>
                  <a:lnTo>
                    <a:pt x="3082" y="2727"/>
                  </a:lnTo>
                  <a:lnTo>
                    <a:pt x="3076" y="2712"/>
                  </a:lnTo>
                  <a:lnTo>
                    <a:pt x="3073" y="2692"/>
                  </a:lnTo>
                  <a:lnTo>
                    <a:pt x="3072" y="2667"/>
                  </a:lnTo>
                  <a:lnTo>
                    <a:pt x="3072" y="2667"/>
                  </a:lnTo>
                  <a:lnTo>
                    <a:pt x="3073" y="2647"/>
                  </a:lnTo>
                  <a:lnTo>
                    <a:pt x="3076" y="2629"/>
                  </a:lnTo>
                  <a:lnTo>
                    <a:pt x="3082" y="2615"/>
                  </a:lnTo>
                  <a:lnTo>
                    <a:pt x="3089" y="2605"/>
                  </a:lnTo>
                  <a:lnTo>
                    <a:pt x="3097" y="2599"/>
                  </a:lnTo>
                  <a:lnTo>
                    <a:pt x="3105" y="2593"/>
                  </a:lnTo>
                  <a:lnTo>
                    <a:pt x="3115" y="2592"/>
                  </a:lnTo>
                  <a:lnTo>
                    <a:pt x="3123" y="2590"/>
                  </a:lnTo>
                  <a:lnTo>
                    <a:pt x="3123" y="2590"/>
                  </a:lnTo>
                  <a:lnTo>
                    <a:pt x="3133" y="2592"/>
                  </a:lnTo>
                  <a:lnTo>
                    <a:pt x="3141" y="2593"/>
                  </a:lnTo>
                  <a:lnTo>
                    <a:pt x="3148" y="2596"/>
                  </a:lnTo>
                  <a:lnTo>
                    <a:pt x="3155" y="2600"/>
                  </a:lnTo>
                  <a:lnTo>
                    <a:pt x="3160" y="2604"/>
                  </a:lnTo>
                  <a:lnTo>
                    <a:pt x="3166" y="2608"/>
                  </a:lnTo>
                  <a:lnTo>
                    <a:pt x="3173" y="2618"/>
                  </a:lnTo>
                  <a:lnTo>
                    <a:pt x="3173" y="2727"/>
                  </a:lnTo>
                  <a:lnTo>
                    <a:pt x="3173" y="2727"/>
                  </a:lnTo>
                  <a:lnTo>
                    <a:pt x="3164" y="2736"/>
                  </a:lnTo>
                  <a:lnTo>
                    <a:pt x="3155" y="2745"/>
                  </a:lnTo>
                  <a:lnTo>
                    <a:pt x="3148" y="2749"/>
                  </a:lnTo>
                  <a:lnTo>
                    <a:pt x="3141" y="2752"/>
                  </a:lnTo>
                  <a:lnTo>
                    <a:pt x="3133" y="2753"/>
                  </a:lnTo>
                  <a:lnTo>
                    <a:pt x="3124" y="2754"/>
                  </a:lnTo>
                  <a:lnTo>
                    <a:pt x="3124" y="2754"/>
                  </a:lnTo>
                  <a:close/>
                  <a:moveTo>
                    <a:pt x="840" y="2611"/>
                  </a:moveTo>
                  <a:lnTo>
                    <a:pt x="840" y="2611"/>
                  </a:lnTo>
                  <a:lnTo>
                    <a:pt x="830" y="2605"/>
                  </a:lnTo>
                  <a:lnTo>
                    <a:pt x="819" y="2600"/>
                  </a:lnTo>
                  <a:lnTo>
                    <a:pt x="807" y="2597"/>
                  </a:lnTo>
                  <a:lnTo>
                    <a:pt x="794" y="2596"/>
                  </a:lnTo>
                  <a:lnTo>
                    <a:pt x="794" y="2596"/>
                  </a:lnTo>
                  <a:lnTo>
                    <a:pt x="783" y="2597"/>
                  </a:lnTo>
                  <a:lnTo>
                    <a:pt x="772" y="2600"/>
                  </a:lnTo>
                  <a:lnTo>
                    <a:pt x="764" y="2605"/>
                  </a:lnTo>
                  <a:lnTo>
                    <a:pt x="757" y="2612"/>
                  </a:lnTo>
                  <a:lnTo>
                    <a:pt x="751" y="2621"/>
                  </a:lnTo>
                  <a:lnTo>
                    <a:pt x="749" y="2632"/>
                  </a:lnTo>
                  <a:lnTo>
                    <a:pt x="746" y="2645"/>
                  </a:lnTo>
                  <a:lnTo>
                    <a:pt x="745" y="2661"/>
                  </a:lnTo>
                  <a:lnTo>
                    <a:pt x="745" y="2811"/>
                  </a:lnTo>
                  <a:lnTo>
                    <a:pt x="677" y="2811"/>
                  </a:lnTo>
                  <a:lnTo>
                    <a:pt x="677" y="2534"/>
                  </a:lnTo>
                  <a:lnTo>
                    <a:pt x="745" y="2534"/>
                  </a:lnTo>
                  <a:lnTo>
                    <a:pt x="745" y="2557"/>
                  </a:lnTo>
                  <a:lnTo>
                    <a:pt x="745" y="2557"/>
                  </a:lnTo>
                  <a:lnTo>
                    <a:pt x="751" y="2550"/>
                  </a:lnTo>
                  <a:lnTo>
                    <a:pt x="758" y="2543"/>
                  </a:lnTo>
                  <a:lnTo>
                    <a:pt x="765" y="2539"/>
                  </a:lnTo>
                  <a:lnTo>
                    <a:pt x="774" y="2535"/>
                  </a:lnTo>
                  <a:lnTo>
                    <a:pt x="780" y="2531"/>
                  </a:lnTo>
                  <a:lnTo>
                    <a:pt x="789" y="2530"/>
                  </a:lnTo>
                  <a:lnTo>
                    <a:pt x="798" y="2528"/>
                  </a:lnTo>
                  <a:lnTo>
                    <a:pt x="807" y="2527"/>
                  </a:lnTo>
                  <a:lnTo>
                    <a:pt x="807" y="2527"/>
                  </a:lnTo>
                  <a:lnTo>
                    <a:pt x="820" y="2528"/>
                  </a:lnTo>
                  <a:lnTo>
                    <a:pt x="834" y="2532"/>
                  </a:lnTo>
                  <a:lnTo>
                    <a:pt x="848" y="2538"/>
                  </a:lnTo>
                  <a:lnTo>
                    <a:pt x="859" y="2545"/>
                  </a:lnTo>
                  <a:lnTo>
                    <a:pt x="840" y="2611"/>
                  </a:lnTo>
                  <a:close/>
                  <a:moveTo>
                    <a:pt x="301" y="2534"/>
                  </a:moveTo>
                  <a:lnTo>
                    <a:pt x="368" y="2534"/>
                  </a:lnTo>
                  <a:lnTo>
                    <a:pt x="290" y="2811"/>
                  </a:lnTo>
                  <a:lnTo>
                    <a:pt x="230" y="2811"/>
                  </a:lnTo>
                  <a:lnTo>
                    <a:pt x="200" y="2696"/>
                  </a:lnTo>
                  <a:lnTo>
                    <a:pt x="200" y="2696"/>
                  </a:lnTo>
                  <a:lnTo>
                    <a:pt x="185" y="2636"/>
                  </a:lnTo>
                  <a:lnTo>
                    <a:pt x="185" y="2636"/>
                  </a:lnTo>
                  <a:lnTo>
                    <a:pt x="178" y="2665"/>
                  </a:lnTo>
                  <a:lnTo>
                    <a:pt x="170" y="2698"/>
                  </a:lnTo>
                  <a:lnTo>
                    <a:pt x="138" y="2811"/>
                  </a:lnTo>
                  <a:lnTo>
                    <a:pt x="79" y="2811"/>
                  </a:lnTo>
                  <a:lnTo>
                    <a:pt x="79" y="2810"/>
                  </a:lnTo>
                  <a:lnTo>
                    <a:pt x="0" y="2534"/>
                  </a:lnTo>
                  <a:lnTo>
                    <a:pt x="72" y="2534"/>
                  </a:lnTo>
                  <a:lnTo>
                    <a:pt x="97" y="2637"/>
                  </a:lnTo>
                  <a:lnTo>
                    <a:pt x="97" y="2637"/>
                  </a:lnTo>
                  <a:lnTo>
                    <a:pt x="103" y="2670"/>
                  </a:lnTo>
                  <a:lnTo>
                    <a:pt x="110" y="2705"/>
                  </a:lnTo>
                  <a:lnTo>
                    <a:pt x="110" y="2705"/>
                  </a:lnTo>
                  <a:lnTo>
                    <a:pt x="119" y="2670"/>
                  </a:lnTo>
                  <a:lnTo>
                    <a:pt x="127" y="2636"/>
                  </a:lnTo>
                  <a:lnTo>
                    <a:pt x="156" y="2534"/>
                  </a:lnTo>
                  <a:lnTo>
                    <a:pt x="215" y="2534"/>
                  </a:lnTo>
                  <a:lnTo>
                    <a:pt x="244" y="2636"/>
                  </a:lnTo>
                  <a:lnTo>
                    <a:pt x="244" y="2636"/>
                  </a:lnTo>
                  <a:lnTo>
                    <a:pt x="252" y="2669"/>
                  </a:lnTo>
                  <a:lnTo>
                    <a:pt x="261" y="2706"/>
                  </a:lnTo>
                  <a:lnTo>
                    <a:pt x="261" y="2706"/>
                  </a:lnTo>
                  <a:lnTo>
                    <a:pt x="266" y="2674"/>
                  </a:lnTo>
                  <a:lnTo>
                    <a:pt x="274" y="2636"/>
                  </a:lnTo>
                  <a:lnTo>
                    <a:pt x="301" y="2534"/>
                  </a:lnTo>
                  <a:close/>
                  <a:moveTo>
                    <a:pt x="507" y="2527"/>
                  </a:moveTo>
                  <a:lnTo>
                    <a:pt x="507" y="2527"/>
                  </a:lnTo>
                  <a:lnTo>
                    <a:pt x="495" y="2528"/>
                  </a:lnTo>
                  <a:lnTo>
                    <a:pt x="481" y="2530"/>
                  </a:lnTo>
                  <a:lnTo>
                    <a:pt x="469" y="2534"/>
                  </a:lnTo>
                  <a:lnTo>
                    <a:pt x="458" y="2538"/>
                  </a:lnTo>
                  <a:lnTo>
                    <a:pt x="447" y="2543"/>
                  </a:lnTo>
                  <a:lnTo>
                    <a:pt x="436" y="2550"/>
                  </a:lnTo>
                  <a:lnTo>
                    <a:pt x="426" y="2559"/>
                  </a:lnTo>
                  <a:lnTo>
                    <a:pt x="418" y="2568"/>
                  </a:lnTo>
                  <a:lnTo>
                    <a:pt x="410" y="2578"/>
                  </a:lnTo>
                  <a:lnTo>
                    <a:pt x="403" y="2589"/>
                  </a:lnTo>
                  <a:lnTo>
                    <a:pt x="396" y="2601"/>
                  </a:lnTo>
                  <a:lnTo>
                    <a:pt x="392" y="2614"/>
                  </a:lnTo>
                  <a:lnTo>
                    <a:pt x="387" y="2627"/>
                  </a:lnTo>
                  <a:lnTo>
                    <a:pt x="385" y="2641"/>
                  </a:lnTo>
                  <a:lnTo>
                    <a:pt x="382" y="2656"/>
                  </a:lnTo>
                  <a:lnTo>
                    <a:pt x="382" y="2673"/>
                  </a:lnTo>
                  <a:lnTo>
                    <a:pt x="382" y="2673"/>
                  </a:lnTo>
                  <a:lnTo>
                    <a:pt x="382" y="2688"/>
                  </a:lnTo>
                  <a:lnTo>
                    <a:pt x="385" y="2703"/>
                  </a:lnTo>
                  <a:lnTo>
                    <a:pt x="387" y="2717"/>
                  </a:lnTo>
                  <a:lnTo>
                    <a:pt x="392" y="2731"/>
                  </a:lnTo>
                  <a:lnTo>
                    <a:pt x="396" y="2743"/>
                  </a:lnTo>
                  <a:lnTo>
                    <a:pt x="403" y="2756"/>
                  </a:lnTo>
                  <a:lnTo>
                    <a:pt x="410" y="2767"/>
                  </a:lnTo>
                  <a:lnTo>
                    <a:pt x="418" y="2776"/>
                  </a:lnTo>
                  <a:lnTo>
                    <a:pt x="426" y="2786"/>
                  </a:lnTo>
                  <a:lnTo>
                    <a:pt x="436" y="2794"/>
                  </a:lnTo>
                  <a:lnTo>
                    <a:pt x="447" y="2801"/>
                  </a:lnTo>
                  <a:lnTo>
                    <a:pt x="458" y="2807"/>
                  </a:lnTo>
                  <a:lnTo>
                    <a:pt x="469" y="2811"/>
                  </a:lnTo>
                  <a:lnTo>
                    <a:pt x="481" y="2815"/>
                  </a:lnTo>
                  <a:lnTo>
                    <a:pt x="495" y="2816"/>
                  </a:lnTo>
                  <a:lnTo>
                    <a:pt x="507" y="2818"/>
                  </a:lnTo>
                  <a:lnTo>
                    <a:pt x="507" y="2818"/>
                  </a:lnTo>
                  <a:lnTo>
                    <a:pt x="521" y="2816"/>
                  </a:lnTo>
                  <a:lnTo>
                    <a:pt x="535" y="2815"/>
                  </a:lnTo>
                  <a:lnTo>
                    <a:pt x="547" y="2811"/>
                  </a:lnTo>
                  <a:lnTo>
                    <a:pt x="558" y="2807"/>
                  </a:lnTo>
                  <a:lnTo>
                    <a:pt x="569" y="2801"/>
                  </a:lnTo>
                  <a:lnTo>
                    <a:pt x="580" y="2794"/>
                  </a:lnTo>
                  <a:lnTo>
                    <a:pt x="590" y="2786"/>
                  </a:lnTo>
                  <a:lnTo>
                    <a:pt x="598" y="2776"/>
                  </a:lnTo>
                  <a:lnTo>
                    <a:pt x="607" y="2767"/>
                  </a:lnTo>
                  <a:lnTo>
                    <a:pt x="614" y="2756"/>
                  </a:lnTo>
                  <a:lnTo>
                    <a:pt x="619" y="2743"/>
                  </a:lnTo>
                  <a:lnTo>
                    <a:pt x="625" y="2731"/>
                  </a:lnTo>
                  <a:lnTo>
                    <a:pt x="629" y="2717"/>
                  </a:lnTo>
                  <a:lnTo>
                    <a:pt x="632" y="2703"/>
                  </a:lnTo>
                  <a:lnTo>
                    <a:pt x="634" y="2688"/>
                  </a:lnTo>
                  <a:lnTo>
                    <a:pt x="634" y="2673"/>
                  </a:lnTo>
                  <a:lnTo>
                    <a:pt x="634" y="2673"/>
                  </a:lnTo>
                  <a:lnTo>
                    <a:pt x="634" y="2656"/>
                  </a:lnTo>
                  <a:lnTo>
                    <a:pt x="632" y="2641"/>
                  </a:lnTo>
                  <a:lnTo>
                    <a:pt x="629" y="2627"/>
                  </a:lnTo>
                  <a:lnTo>
                    <a:pt x="625" y="2614"/>
                  </a:lnTo>
                  <a:lnTo>
                    <a:pt x="619" y="2601"/>
                  </a:lnTo>
                  <a:lnTo>
                    <a:pt x="614" y="2589"/>
                  </a:lnTo>
                  <a:lnTo>
                    <a:pt x="607" y="2578"/>
                  </a:lnTo>
                  <a:lnTo>
                    <a:pt x="598" y="2568"/>
                  </a:lnTo>
                  <a:lnTo>
                    <a:pt x="590" y="2559"/>
                  </a:lnTo>
                  <a:lnTo>
                    <a:pt x="580" y="2550"/>
                  </a:lnTo>
                  <a:lnTo>
                    <a:pt x="569" y="2543"/>
                  </a:lnTo>
                  <a:lnTo>
                    <a:pt x="558" y="2538"/>
                  </a:lnTo>
                  <a:lnTo>
                    <a:pt x="547" y="2534"/>
                  </a:lnTo>
                  <a:lnTo>
                    <a:pt x="535" y="2530"/>
                  </a:lnTo>
                  <a:lnTo>
                    <a:pt x="521" y="2528"/>
                  </a:lnTo>
                  <a:lnTo>
                    <a:pt x="507" y="2527"/>
                  </a:lnTo>
                  <a:lnTo>
                    <a:pt x="507" y="2527"/>
                  </a:lnTo>
                  <a:close/>
                  <a:moveTo>
                    <a:pt x="507" y="2753"/>
                  </a:moveTo>
                  <a:lnTo>
                    <a:pt x="507" y="2753"/>
                  </a:lnTo>
                  <a:lnTo>
                    <a:pt x="495" y="2752"/>
                  </a:lnTo>
                  <a:lnTo>
                    <a:pt x="484" y="2747"/>
                  </a:lnTo>
                  <a:lnTo>
                    <a:pt x="476" y="2741"/>
                  </a:lnTo>
                  <a:lnTo>
                    <a:pt x="467" y="2731"/>
                  </a:lnTo>
                  <a:lnTo>
                    <a:pt x="461" y="2720"/>
                  </a:lnTo>
                  <a:lnTo>
                    <a:pt x="455" y="2706"/>
                  </a:lnTo>
                  <a:lnTo>
                    <a:pt x="452" y="2690"/>
                  </a:lnTo>
                  <a:lnTo>
                    <a:pt x="452" y="2673"/>
                  </a:lnTo>
                  <a:lnTo>
                    <a:pt x="452" y="2673"/>
                  </a:lnTo>
                  <a:lnTo>
                    <a:pt x="452" y="2655"/>
                  </a:lnTo>
                  <a:lnTo>
                    <a:pt x="455" y="2639"/>
                  </a:lnTo>
                  <a:lnTo>
                    <a:pt x="461" y="2626"/>
                  </a:lnTo>
                  <a:lnTo>
                    <a:pt x="467" y="2614"/>
                  </a:lnTo>
                  <a:lnTo>
                    <a:pt x="476" y="2604"/>
                  </a:lnTo>
                  <a:lnTo>
                    <a:pt x="484" y="2597"/>
                  </a:lnTo>
                  <a:lnTo>
                    <a:pt x="495" y="2593"/>
                  </a:lnTo>
                  <a:lnTo>
                    <a:pt x="507" y="2592"/>
                  </a:lnTo>
                  <a:lnTo>
                    <a:pt x="507" y="2592"/>
                  </a:lnTo>
                  <a:lnTo>
                    <a:pt x="520" y="2593"/>
                  </a:lnTo>
                  <a:lnTo>
                    <a:pt x="531" y="2597"/>
                  </a:lnTo>
                  <a:lnTo>
                    <a:pt x="541" y="2604"/>
                  </a:lnTo>
                  <a:lnTo>
                    <a:pt x="549" y="2614"/>
                  </a:lnTo>
                  <a:lnTo>
                    <a:pt x="556" y="2626"/>
                  </a:lnTo>
                  <a:lnTo>
                    <a:pt x="560" y="2639"/>
                  </a:lnTo>
                  <a:lnTo>
                    <a:pt x="563" y="2655"/>
                  </a:lnTo>
                  <a:lnTo>
                    <a:pt x="564" y="2673"/>
                  </a:lnTo>
                  <a:lnTo>
                    <a:pt x="564" y="2673"/>
                  </a:lnTo>
                  <a:lnTo>
                    <a:pt x="563" y="2690"/>
                  </a:lnTo>
                  <a:lnTo>
                    <a:pt x="560" y="2706"/>
                  </a:lnTo>
                  <a:lnTo>
                    <a:pt x="556" y="2720"/>
                  </a:lnTo>
                  <a:lnTo>
                    <a:pt x="549" y="2731"/>
                  </a:lnTo>
                  <a:lnTo>
                    <a:pt x="541" y="2741"/>
                  </a:lnTo>
                  <a:lnTo>
                    <a:pt x="531" y="2747"/>
                  </a:lnTo>
                  <a:lnTo>
                    <a:pt x="520" y="2752"/>
                  </a:lnTo>
                  <a:lnTo>
                    <a:pt x="507" y="2753"/>
                  </a:lnTo>
                  <a:lnTo>
                    <a:pt x="507" y="2753"/>
                  </a:lnTo>
                  <a:close/>
                  <a:moveTo>
                    <a:pt x="2835" y="2611"/>
                  </a:moveTo>
                  <a:lnTo>
                    <a:pt x="2835" y="2611"/>
                  </a:lnTo>
                  <a:lnTo>
                    <a:pt x="2824" y="2605"/>
                  </a:lnTo>
                  <a:lnTo>
                    <a:pt x="2813" y="2600"/>
                  </a:lnTo>
                  <a:lnTo>
                    <a:pt x="2800" y="2597"/>
                  </a:lnTo>
                  <a:lnTo>
                    <a:pt x="2789" y="2596"/>
                  </a:lnTo>
                  <a:lnTo>
                    <a:pt x="2789" y="2596"/>
                  </a:lnTo>
                  <a:lnTo>
                    <a:pt x="2777" y="2597"/>
                  </a:lnTo>
                  <a:lnTo>
                    <a:pt x="2767" y="2600"/>
                  </a:lnTo>
                  <a:lnTo>
                    <a:pt x="2759" y="2605"/>
                  </a:lnTo>
                  <a:lnTo>
                    <a:pt x="2752" y="2612"/>
                  </a:lnTo>
                  <a:lnTo>
                    <a:pt x="2747" y="2621"/>
                  </a:lnTo>
                  <a:lnTo>
                    <a:pt x="2743" y="2632"/>
                  </a:lnTo>
                  <a:lnTo>
                    <a:pt x="2740" y="2645"/>
                  </a:lnTo>
                  <a:lnTo>
                    <a:pt x="2740" y="2661"/>
                  </a:lnTo>
                  <a:lnTo>
                    <a:pt x="2740" y="2811"/>
                  </a:lnTo>
                  <a:lnTo>
                    <a:pt x="2671" y="2811"/>
                  </a:lnTo>
                  <a:lnTo>
                    <a:pt x="2671" y="2534"/>
                  </a:lnTo>
                  <a:lnTo>
                    <a:pt x="2740" y="2534"/>
                  </a:lnTo>
                  <a:lnTo>
                    <a:pt x="2740" y="2557"/>
                  </a:lnTo>
                  <a:lnTo>
                    <a:pt x="2740" y="2557"/>
                  </a:lnTo>
                  <a:lnTo>
                    <a:pt x="2745" y="2550"/>
                  </a:lnTo>
                  <a:lnTo>
                    <a:pt x="2752" y="2543"/>
                  </a:lnTo>
                  <a:lnTo>
                    <a:pt x="2759" y="2539"/>
                  </a:lnTo>
                  <a:lnTo>
                    <a:pt x="2767" y="2535"/>
                  </a:lnTo>
                  <a:lnTo>
                    <a:pt x="2776" y="2531"/>
                  </a:lnTo>
                  <a:lnTo>
                    <a:pt x="2784" y="2530"/>
                  </a:lnTo>
                  <a:lnTo>
                    <a:pt x="2792" y="2528"/>
                  </a:lnTo>
                  <a:lnTo>
                    <a:pt x="2800" y="2527"/>
                  </a:lnTo>
                  <a:lnTo>
                    <a:pt x="2800" y="2527"/>
                  </a:lnTo>
                  <a:lnTo>
                    <a:pt x="2814" y="2528"/>
                  </a:lnTo>
                  <a:lnTo>
                    <a:pt x="2828" y="2532"/>
                  </a:lnTo>
                  <a:lnTo>
                    <a:pt x="2842" y="2538"/>
                  </a:lnTo>
                  <a:lnTo>
                    <a:pt x="2853" y="2545"/>
                  </a:lnTo>
                  <a:lnTo>
                    <a:pt x="2835" y="2611"/>
                  </a:lnTo>
                  <a:close/>
                  <a:moveTo>
                    <a:pt x="2294" y="2534"/>
                  </a:moveTo>
                  <a:lnTo>
                    <a:pt x="2362" y="2534"/>
                  </a:lnTo>
                  <a:lnTo>
                    <a:pt x="2283" y="2811"/>
                  </a:lnTo>
                  <a:lnTo>
                    <a:pt x="2224" y="2811"/>
                  </a:lnTo>
                  <a:lnTo>
                    <a:pt x="2194" y="2696"/>
                  </a:lnTo>
                  <a:lnTo>
                    <a:pt x="2194" y="2696"/>
                  </a:lnTo>
                  <a:lnTo>
                    <a:pt x="2179" y="2636"/>
                  </a:lnTo>
                  <a:lnTo>
                    <a:pt x="2179" y="2636"/>
                  </a:lnTo>
                  <a:lnTo>
                    <a:pt x="2172" y="2665"/>
                  </a:lnTo>
                  <a:lnTo>
                    <a:pt x="2163" y="2698"/>
                  </a:lnTo>
                  <a:lnTo>
                    <a:pt x="2133" y="2811"/>
                  </a:lnTo>
                  <a:lnTo>
                    <a:pt x="2074" y="2811"/>
                  </a:lnTo>
                  <a:lnTo>
                    <a:pt x="2072" y="2810"/>
                  </a:lnTo>
                  <a:lnTo>
                    <a:pt x="1995" y="2534"/>
                  </a:lnTo>
                  <a:lnTo>
                    <a:pt x="2066" y="2534"/>
                  </a:lnTo>
                  <a:lnTo>
                    <a:pt x="2092" y="2637"/>
                  </a:lnTo>
                  <a:lnTo>
                    <a:pt x="2092" y="2637"/>
                  </a:lnTo>
                  <a:lnTo>
                    <a:pt x="2099" y="2670"/>
                  </a:lnTo>
                  <a:lnTo>
                    <a:pt x="2105" y="2705"/>
                  </a:lnTo>
                  <a:lnTo>
                    <a:pt x="2105" y="2705"/>
                  </a:lnTo>
                  <a:lnTo>
                    <a:pt x="2112" y="2670"/>
                  </a:lnTo>
                  <a:lnTo>
                    <a:pt x="2122" y="2636"/>
                  </a:lnTo>
                  <a:lnTo>
                    <a:pt x="2151" y="2534"/>
                  </a:lnTo>
                  <a:lnTo>
                    <a:pt x="2209" y="2534"/>
                  </a:lnTo>
                  <a:lnTo>
                    <a:pt x="2238" y="2636"/>
                  </a:lnTo>
                  <a:lnTo>
                    <a:pt x="2238" y="2636"/>
                  </a:lnTo>
                  <a:lnTo>
                    <a:pt x="2246" y="2669"/>
                  </a:lnTo>
                  <a:lnTo>
                    <a:pt x="2254" y="2706"/>
                  </a:lnTo>
                  <a:lnTo>
                    <a:pt x="2254" y="2706"/>
                  </a:lnTo>
                  <a:lnTo>
                    <a:pt x="2261" y="2674"/>
                  </a:lnTo>
                  <a:lnTo>
                    <a:pt x="2270" y="2636"/>
                  </a:lnTo>
                  <a:lnTo>
                    <a:pt x="2294" y="2534"/>
                  </a:lnTo>
                  <a:close/>
                  <a:moveTo>
                    <a:pt x="2501" y="2527"/>
                  </a:moveTo>
                  <a:lnTo>
                    <a:pt x="2501" y="2527"/>
                  </a:lnTo>
                  <a:lnTo>
                    <a:pt x="2489" y="2528"/>
                  </a:lnTo>
                  <a:lnTo>
                    <a:pt x="2475" y="2530"/>
                  </a:lnTo>
                  <a:lnTo>
                    <a:pt x="2463" y="2534"/>
                  </a:lnTo>
                  <a:lnTo>
                    <a:pt x="2452" y="2538"/>
                  </a:lnTo>
                  <a:lnTo>
                    <a:pt x="2441" y="2543"/>
                  </a:lnTo>
                  <a:lnTo>
                    <a:pt x="2430" y="2552"/>
                  </a:lnTo>
                  <a:lnTo>
                    <a:pt x="2420" y="2559"/>
                  </a:lnTo>
                  <a:lnTo>
                    <a:pt x="2412" y="2568"/>
                  </a:lnTo>
                  <a:lnTo>
                    <a:pt x="2403" y="2578"/>
                  </a:lnTo>
                  <a:lnTo>
                    <a:pt x="2396" y="2589"/>
                  </a:lnTo>
                  <a:lnTo>
                    <a:pt x="2390" y="2601"/>
                  </a:lnTo>
                  <a:lnTo>
                    <a:pt x="2385" y="2614"/>
                  </a:lnTo>
                  <a:lnTo>
                    <a:pt x="2381" y="2627"/>
                  </a:lnTo>
                  <a:lnTo>
                    <a:pt x="2377" y="2643"/>
                  </a:lnTo>
                  <a:lnTo>
                    <a:pt x="2376" y="2656"/>
                  </a:lnTo>
                  <a:lnTo>
                    <a:pt x="2376" y="2673"/>
                  </a:lnTo>
                  <a:lnTo>
                    <a:pt x="2376" y="2673"/>
                  </a:lnTo>
                  <a:lnTo>
                    <a:pt x="2376" y="2688"/>
                  </a:lnTo>
                  <a:lnTo>
                    <a:pt x="2377" y="2703"/>
                  </a:lnTo>
                  <a:lnTo>
                    <a:pt x="2381" y="2717"/>
                  </a:lnTo>
                  <a:lnTo>
                    <a:pt x="2385" y="2731"/>
                  </a:lnTo>
                  <a:lnTo>
                    <a:pt x="2390" y="2743"/>
                  </a:lnTo>
                  <a:lnTo>
                    <a:pt x="2396" y="2756"/>
                  </a:lnTo>
                  <a:lnTo>
                    <a:pt x="2403" y="2767"/>
                  </a:lnTo>
                  <a:lnTo>
                    <a:pt x="2412" y="2776"/>
                  </a:lnTo>
                  <a:lnTo>
                    <a:pt x="2420" y="2786"/>
                  </a:lnTo>
                  <a:lnTo>
                    <a:pt x="2430" y="2794"/>
                  </a:lnTo>
                  <a:lnTo>
                    <a:pt x="2441" y="2801"/>
                  </a:lnTo>
                  <a:lnTo>
                    <a:pt x="2452" y="2807"/>
                  </a:lnTo>
                  <a:lnTo>
                    <a:pt x="2463" y="2811"/>
                  </a:lnTo>
                  <a:lnTo>
                    <a:pt x="2475" y="2815"/>
                  </a:lnTo>
                  <a:lnTo>
                    <a:pt x="2489" y="2816"/>
                  </a:lnTo>
                  <a:lnTo>
                    <a:pt x="2501" y="2818"/>
                  </a:lnTo>
                  <a:lnTo>
                    <a:pt x="2501" y="2818"/>
                  </a:lnTo>
                  <a:lnTo>
                    <a:pt x="2515" y="2816"/>
                  </a:lnTo>
                  <a:lnTo>
                    <a:pt x="2529" y="2815"/>
                  </a:lnTo>
                  <a:lnTo>
                    <a:pt x="2541" y="2811"/>
                  </a:lnTo>
                  <a:lnTo>
                    <a:pt x="2552" y="2807"/>
                  </a:lnTo>
                  <a:lnTo>
                    <a:pt x="2563" y="2801"/>
                  </a:lnTo>
                  <a:lnTo>
                    <a:pt x="2574" y="2794"/>
                  </a:lnTo>
                  <a:lnTo>
                    <a:pt x="2584" y="2786"/>
                  </a:lnTo>
                  <a:lnTo>
                    <a:pt x="2592" y="2776"/>
                  </a:lnTo>
                  <a:lnTo>
                    <a:pt x="2600" y="2767"/>
                  </a:lnTo>
                  <a:lnTo>
                    <a:pt x="2607" y="2756"/>
                  </a:lnTo>
                  <a:lnTo>
                    <a:pt x="2613" y="2743"/>
                  </a:lnTo>
                  <a:lnTo>
                    <a:pt x="2618" y="2731"/>
                  </a:lnTo>
                  <a:lnTo>
                    <a:pt x="2623" y="2717"/>
                  </a:lnTo>
                  <a:lnTo>
                    <a:pt x="2625" y="2703"/>
                  </a:lnTo>
                  <a:lnTo>
                    <a:pt x="2628" y="2688"/>
                  </a:lnTo>
                  <a:lnTo>
                    <a:pt x="2628" y="2673"/>
                  </a:lnTo>
                  <a:lnTo>
                    <a:pt x="2628" y="2673"/>
                  </a:lnTo>
                  <a:lnTo>
                    <a:pt x="2628" y="2656"/>
                  </a:lnTo>
                  <a:lnTo>
                    <a:pt x="2625" y="2643"/>
                  </a:lnTo>
                  <a:lnTo>
                    <a:pt x="2623" y="2627"/>
                  </a:lnTo>
                  <a:lnTo>
                    <a:pt x="2618" y="2614"/>
                  </a:lnTo>
                  <a:lnTo>
                    <a:pt x="2613" y="2601"/>
                  </a:lnTo>
                  <a:lnTo>
                    <a:pt x="2607" y="2589"/>
                  </a:lnTo>
                  <a:lnTo>
                    <a:pt x="2600" y="2578"/>
                  </a:lnTo>
                  <a:lnTo>
                    <a:pt x="2592" y="2568"/>
                  </a:lnTo>
                  <a:lnTo>
                    <a:pt x="2584" y="2559"/>
                  </a:lnTo>
                  <a:lnTo>
                    <a:pt x="2574" y="2552"/>
                  </a:lnTo>
                  <a:lnTo>
                    <a:pt x="2563" y="2543"/>
                  </a:lnTo>
                  <a:lnTo>
                    <a:pt x="2552" y="2538"/>
                  </a:lnTo>
                  <a:lnTo>
                    <a:pt x="2541" y="2534"/>
                  </a:lnTo>
                  <a:lnTo>
                    <a:pt x="2529" y="2530"/>
                  </a:lnTo>
                  <a:lnTo>
                    <a:pt x="2515" y="2528"/>
                  </a:lnTo>
                  <a:lnTo>
                    <a:pt x="2501" y="2527"/>
                  </a:lnTo>
                  <a:lnTo>
                    <a:pt x="2501" y="2527"/>
                  </a:lnTo>
                  <a:close/>
                  <a:moveTo>
                    <a:pt x="2501" y="2753"/>
                  </a:moveTo>
                  <a:lnTo>
                    <a:pt x="2501" y="2753"/>
                  </a:lnTo>
                  <a:lnTo>
                    <a:pt x="2489" y="2752"/>
                  </a:lnTo>
                  <a:lnTo>
                    <a:pt x="2479" y="2747"/>
                  </a:lnTo>
                  <a:lnTo>
                    <a:pt x="2470" y="2741"/>
                  </a:lnTo>
                  <a:lnTo>
                    <a:pt x="2461" y="2731"/>
                  </a:lnTo>
                  <a:lnTo>
                    <a:pt x="2454" y="2720"/>
                  </a:lnTo>
                  <a:lnTo>
                    <a:pt x="2449" y="2706"/>
                  </a:lnTo>
                  <a:lnTo>
                    <a:pt x="2446" y="2690"/>
                  </a:lnTo>
                  <a:lnTo>
                    <a:pt x="2446" y="2673"/>
                  </a:lnTo>
                  <a:lnTo>
                    <a:pt x="2446" y="2673"/>
                  </a:lnTo>
                  <a:lnTo>
                    <a:pt x="2446" y="2655"/>
                  </a:lnTo>
                  <a:lnTo>
                    <a:pt x="2449" y="2640"/>
                  </a:lnTo>
                  <a:lnTo>
                    <a:pt x="2454" y="2626"/>
                  </a:lnTo>
                  <a:lnTo>
                    <a:pt x="2461" y="2614"/>
                  </a:lnTo>
                  <a:lnTo>
                    <a:pt x="2470" y="2604"/>
                  </a:lnTo>
                  <a:lnTo>
                    <a:pt x="2479" y="2597"/>
                  </a:lnTo>
                  <a:lnTo>
                    <a:pt x="2489" y="2593"/>
                  </a:lnTo>
                  <a:lnTo>
                    <a:pt x="2501" y="2592"/>
                  </a:lnTo>
                  <a:lnTo>
                    <a:pt x="2501" y="2592"/>
                  </a:lnTo>
                  <a:lnTo>
                    <a:pt x="2514" y="2593"/>
                  </a:lnTo>
                  <a:lnTo>
                    <a:pt x="2525" y="2597"/>
                  </a:lnTo>
                  <a:lnTo>
                    <a:pt x="2534" y="2604"/>
                  </a:lnTo>
                  <a:lnTo>
                    <a:pt x="2543" y="2614"/>
                  </a:lnTo>
                  <a:lnTo>
                    <a:pt x="2549" y="2626"/>
                  </a:lnTo>
                  <a:lnTo>
                    <a:pt x="2554" y="2640"/>
                  </a:lnTo>
                  <a:lnTo>
                    <a:pt x="2556" y="2655"/>
                  </a:lnTo>
                  <a:lnTo>
                    <a:pt x="2558" y="2673"/>
                  </a:lnTo>
                  <a:lnTo>
                    <a:pt x="2558" y="2673"/>
                  </a:lnTo>
                  <a:lnTo>
                    <a:pt x="2556" y="2690"/>
                  </a:lnTo>
                  <a:lnTo>
                    <a:pt x="2554" y="2706"/>
                  </a:lnTo>
                  <a:lnTo>
                    <a:pt x="2549" y="2720"/>
                  </a:lnTo>
                  <a:lnTo>
                    <a:pt x="2543" y="2731"/>
                  </a:lnTo>
                  <a:lnTo>
                    <a:pt x="2534" y="2741"/>
                  </a:lnTo>
                  <a:lnTo>
                    <a:pt x="2525" y="2747"/>
                  </a:lnTo>
                  <a:lnTo>
                    <a:pt x="2514" y="2752"/>
                  </a:lnTo>
                  <a:lnTo>
                    <a:pt x="2501" y="2753"/>
                  </a:lnTo>
                  <a:lnTo>
                    <a:pt x="2501" y="2753"/>
                  </a:lnTo>
                  <a:close/>
                  <a:moveTo>
                    <a:pt x="1045" y="2625"/>
                  </a:moveTo>
                  <a:lnTo>
                    <a:pt x="1129" y="2811"/>
                  </a:lnTo>
                  <a:lnTo>
                    <a:pt x="1053" y="2811"/>
                  </a:lnTo>
                  <a:lnTo>
                    <a:pt x="996" y="2683"/>
                  </a:lnTo>
                  <a:lnTo>
                    <a:pt x="958" y="2728"/>
                  </a:lnTo>
                  <a:lnTo>
                    <a:pt x="958" y="2811"/>
                  </a:lnTo>
                  <a:lnTo>
                    <a:pt x="891" y="2811"/>
                  </a:lnTo>
                  <a:lnTo>
                    <a:pt x="891" y="2452"/>
                  </a:lnTo>
                  <a:lnTo>
                    <a:pt x="958" y="2418"/>
                  </a:lnTo>
                  <a:lnTo>
                    <a:pt x="958" y="2640"/>
                  </a:lnTo>
                  <a:lnTo>
                    <a:pt x="958" y="2640"/>
                  </a:lnTo>
                  <a:lnTo>
                    <a:pt x="984" y="2604"/>
                  </a:lnTo>
                  <a:lnTo>
                    <a:pt x="1040" y="2534"/>
                  </a:lnTo>
                  <a:lnTo>
                    <a:pt x="1120" y="2534"/>
                  </a:lnTo>
                  <a:lnTo>
                    <a:pt x="1045" y="2625"/>
                  </a:lnTo>
                  <a:close/>
                  <a:moveTo>
                    <a:pt x="1371" y="2811"/>
                  </a:moveTo>
                  <a:lnTo>
                    <a:pt x="1302" y="2811"/>
                  </a:lnTo>
                  <a:lnTo>
                    <a:pt x="1302" y="2534"/>
                  </a:lnTo>
                  <a:lnTo>
                    <a:pt x="1371" y="2534"/>
                  </a:lnTo>
                  <a:lnTo>
                    <a:pt x="1371" y="2557"/>
                  </a:lnTo>
                  <a:lnTo>
                    <a:pt x="1371" y="2557"/>
                  </a:lnTo>
                  <a:lnTo>
                    <a:pt x="1377" y="2550"/>
                  </a:lnTo>
                  <a:lnTo>
                    <a:pt x="1384" y="2545"/>
                  </a:lnTo>
                  <a:lnTo>
                    <a:pt x="1393" y="2539"/>
                  </a:lnTo>
                  <a:lnTo>
                    <a:pt x="1401" y="2535"/>
                  </a:lnTo>
                  <a:lnTo>
                    <a:pt x="1411" y="2532"/>
                  </a:lnTo>
                  <a:lnTo>
                    <a:pt x="1420" y="2530"/>
                  </a:lnTo>
                  <a:lnTo>
                    <a:pt x="1430" y="2528"/>
                  </a:lnTo>
                  <a:lnTo>
                    <a:pt x="1441" y="2527"/>
                  </a:lnTo>
                  <a:lnTo>
                    <a:pt x="1441" y="2527"/>
                  </a:lnTo>
                  <a:lnTo>
                    <a:pt x="1453" y="2528"/>
                  </a:lnTo>
                  <a:lnTo>
                    <a:pt x="1464" y="2530"/>
                  </a:lnTo>
                  <a:lnTo>
                    <a:pt x="1474" y="2532"/>
                  </a:lnTo>
                  <a:lnTo>
                    <a:pt x="1485" y="2535"/>
                  </a:lnTo>
                  <a:lnTo>
                    <a:pt x="1493" y="2541"/>
                  </a:lnTo>
                  <a:lnTo>
                    <a:pt x="1502" y="2546"/>
                  </a:lnTo>
                  <a:lnTo>
                    <a:pt x="1510" y="2552"/>
                  </a:lnTo>
                  <a:lnTo>
                    <a:pt x="1517" y="2560"/>
                  </a:lnTo>
                  <a:lnTo>
                    <a:pt x="1522" y="2568"/>
                  </a:lnTo>
                  <a:lnTo>
                    <a:pt x="1528" y="2578"/>
                  </a:lnTo>
                  <a:lnTo>
                    <a:pt x="1532" y="2587"/>
                  </a:lnTo>
                  <a:lnTo>
                    <a:pt x="1536" y="2600"/>
                  </a:lnTo>
                  <a:lnTo>
                    <a:pt x="1539" y="2612"/>
                  </a:lnTo>
                  <a:lnTo>
                    <a:pt x="1540" y="2625"/>
                  </a:lnTo>
                  <a:lnTo>
                    <a:pt x="1542" y="2639"/>
                  </a:lnTo>
                  <a:lnTo>
                    <a:pt x="1543" y="2654"/>
                  </a:lnTo>
                  <a:lnTo>
                    <a:pt x="1543" y="2811"/>
                  </a:lnTo>
                  <a:lnTo>
                    <a:pt x="1474" y="2811"/>
                  </a:lnTo>
                  <a:lnTo>
                    <a:pt x="1474" y="2658"/>
                  </a:lnTo>
                  <a:lnTo>
                    <a:pt x="1474" y="2658"/>
                  </a:lnTo>
                  <a:lnTo>
                    <a:pt x="1473" y="2643"/>
                  </a:lnTo>
                  <a:lnTo>
                    <a:pt x="1471" y="2627"/>
                  </a:lnTo>
                  <a:lnTo>
                    <a:pt x="1467" y="2616"/>
                  </a:lnTo>
                  <a:lnTo>
                    <a:pt x="1462" y="2607"/>
                  </a:lnTo>
                  <a:lnTo>
                    <a:pt x="1455" y="2600"/>
                  </a:lnTo>
                  <a:lnTo>
                    <a:pt x="1446" y="2594"/>
                  </a:lnTo>
                  <a:lnTo>
                    <a:pt x="1435" y="2592"/>
                  </a:lnTo>
                  <a:lnTo>
                    <a:pt x="1423" y="2590"/>
                  </a:lnTo>
                  <a:lnTo>
                    <a:pt x="1423" y="2590"/>
                  </a:lnTo>
                  <a:lnTo>
                    <a:pt x="1412" y="2592"/>
                  </a:lnTo>
                  <a:lnTo>
                    <a:pt x="1401" y="2594"/>
                  </a:lnTo>
                  <a:lnTo>
                    <a:pt x="1391" y="2600"/>
                  </a:lnTo>
                  <a:lnTo>
                    <a:pt x="1384" y="2608"/>
                  </a:lnTo>
                  <a:lnTo>
                    <a:pt x="1379" y="2616"/>
                  </a:lnTo>
                  <a:lnTo>
                    <a:pt x="1375" y="2629"/>
                  </a:lnTo>
                  <a:lnTo>
                    <a:pt x="1372" y="2643"/>
                  </a:lnTo>
                  <a:lnTo>
                    <a:pt x="1371" y="2658"/>
                  </a:lnTo>
                  <a:lnTo>
                    <a:pt x="1371" y="2811"/>
                  </a:lnTo>
                  <a:close/>
                  <a:moveTo>
                    <a:pt x="1759" y="2553"/>
                  </a:moveTo>
                  <a:lnTo>
                    <a:pt x="1759" y="2553"/>
                  </a:lnTo>
                  <a:lnTo>
                    <a:pt x="1753" y="2547"/>
                  </a:lnTo>
                  <a:lnTo>
                    <a:pt x="1746" y="2542"/>
                  </a:lnTo>
                  <a:lnTo>
                    <a:pt x="1739" y="2538"/>
                  </a:lnTo>
                  <a:lnTo>
                    <a:pt x="1730" y="2534"/>
                  </a:lnTo>
                  <a:lnTo>
                    <a:pt x="1722" y="2531"/>
                  </a:lnTo>
                  <a:lnTo>
                    <a:pt x="1714" y="2530"/>
                  </a:lnTo>
                  <a:lnTo>
                    <a:pt x="1706" y="2528"/>
                  </a:lnTo>
                  <a:lnTo>
                    <a:pt x="1697" y="2527"/>
                  </a:lnTo>
                  <a:lnTo>
                    <a:pt x="1697" y="2527"/>
                  </a:lnTo>
                  <a:lnTo>
                    <a:pt x="1685" y="2528"/>
                  </a:lnTo>
                  <a:lnTo>
                    <a:pt x="1674" y="2530"/>
                  </a:lnTo>
                  <a:lnTo>
                    <a:pt x="1663" y="2532"/>
                  </a:lnTo>
                  <a:lnTo>
                    <a:pt x="1652" y="2538"/>
                  </a:lnTo>
                  <a:lnTo>
                    <a:pt x="1642" y="2542"/>
                  </a:lnTo>
                  <a:lnTo>
                    <a:pt x="1634" y="2549"/>
                  </a:lnTo>
                  <a:lnTo>
                    <a:pt x="1626" y="2557"/>
                  </a:lnTo>
                  <a:lnTo>
                    <a:pt x="1617" y="2565"/>
                  </a:lnTo>
                  <a:lnTo>
                    <a:pt x="1610" y="2575"/>
                  </a:lnTo>
                  <a:lnTo>
                    <a:pt x="1605" y="2586"/>
                  </a:lnTo>
                  <a:lnTo>
                    <a:pt x="1599" y="2597"/>
                  </a:lnTo>
                  <a:lnTo>
                    <a:pt x="1595" y="2611"/>
                  </a:lnTo>
                  <a:lnTo>
                    <a:pt x="1593" y="2623"/>
                  </a:lnTo>
                  <a:lnTo>
                    <a:pt x="1590" y="2639"/>
                  </a:lnTo>
                  <a:lnTo>
                    <a:pt x="1588" y="2654"/>
                  </a:lnTo>
                  <a:lnTo>
                    <a:pt x="1588" y="2669"/>
                  </a:lnTo>
                  <a:lnTo>
                    <a:pt x="1588" y="2669"/>
                  </a:lnTo>
                  <a:lnTo>
                    <a:pt x="1588" y="2687"/>
                  </a:lnTo>
                  <a:lnTo>
                    <a:pt x="1590" y="2702"/>
                  </a:lnTo>
                  <a:lnTo>
                    <a:pt x="1593" y="2717"/>
                  </a:lnTo>
                  <a:lnTo>
                    <a:pt x="1595" y="2732"/>
                  </a:lnTo>
                  <a:lnTo>
                    <a:pt x="1599" y="2745"/>
                  </a:lnTo>
                  <a:lnTo>
                    <a:pt x="1605" y="2757"/>
                  </a:lnTo>
                  <a:lnTo>
                    <a:pt x="1610" y="2768"/>
                  </a:lnTo>
                  <a:lnTo>
                    <a:pt x="1617" y="2778"/>
                  </a:lnTo>
                  <a:lnTo>
                    <a:pt x="1624" y="2787"/>
                  </a:lnTo>
                  <a:lnTo>
                    <a:pt x="1633" y="2794"/>
                  </a:lnTo>
                  <a:lnTo>
                    <a:pt x="1641" y="2801"/>
                  </a:lnTo>
                  <a:lnTo>
                    <a:pt x="1650" y="2807"/>
                  </a:lnTo>
                  <a:lnTo>
                    <a:pt x="1662" y="2811"/>
                  </a:lnTo>
                  <a:lnTo>
                    <a:pt x="1673" y="2815"/>
                  </a:lnTo>
                  <a:lnTo>
                    <a:pt x="1684" y="2816"/>
                  </a:lnTo>
                  <a:lnTo>
                    <a:pt x="1696" y="2818"/>
                  </a:lnTo>
                  <a:lnTo>
                    <a:pt x="1696" y="2818"/>
                  </a:lnTo>
                  <a:lnTo>
                    <a:pt x="1704" y="2816"/>
                  </a:lnTo>
                  <a:lnTo>
                    <a:pt x="1714" y="2815"/>
                  </a:lnTo>
                  <a:lnTo>
                    <a:pt x="1722" y="2814"/>
                  </a:lnTo>
                  <a:lnTo>
                    <a:pt x="1730" y="2811"/>
                  </a:lnTo>
                  <a:lnTo>
                    <a:pt x="1737" y="2807"/>
                  </a:lnTo>
                  <a:lnTo>
                    <a:pt x="1746" y="2803"/>
                  </a:lnTo>
                  <a:lnTo>
                    <a:pt x="1753" y="2797"/>
                  </a:lnTo>
                  <a:lnTo>
                    <a:pt x="1759" y="2790"/>
                  </a:lnTo>
                  <a:lnTo>
                    <a:pt x="1759" y="2797"/>
                  </a:lnTo>
                  <a:lnTo>
                    <a:pt x="1759" y="2797"/>
                  </a:lnTo>
                  <a:lnTo>
                    <a:pt x="1759" y="2808"/>
                  </a:lnTo>
                  <a:lnTo>
                    <a:pt x="1758" y="2821"/>
                  </a:lnTo>
                  <a:lnTo>
                    <a:pt x="1754" y="2833"/>
                  </a:lnTo>
                  <a:lnTo>
                    <a:pt x="1751" y="2838"/>
                  </a:lnTo>
                  <a:lnTo>
                    <a:pt x="1748" y="2844"/>
                  </a:lnTo>
                  <a:lnTo>
                    <a:pt x="1743" y="2850"/>
                  </a:lnTo>
                  <a:lnTo>
                    <a:pt x="1737" y="2855"/>
                  </a:lnTo>
                  <a:lnTo>
                    <a:pt x="1730" y="2859"/>
                  </a:lnTo>
                  <a:lnTo>
                    <a:pt x="1722" y="2863"/>
                  </a:lnTo>
                  <a:lnTo>
                    <a:pt x="1711" y="2866"/>
                  </a:lnTo>
                  <a:lnTo>
                    <a:pt x="1700" y="2869"/>
                  </a:lnTo>
                  <a:lnTo>
                    <a:pt x="1686" y="2870"/>
                  </a:lnTo>
                  <a:lnTo>
                    <a:pt x="1670" y="2870"/>
                  </a:lnTo>
                  <a:lnTo>
                    <a:pt x="1667" y="2870"/>
                  </a:lnTo>
                  <a:lnTo>
                    <a:pt x="1692" y="2924"/>
                  </a:lnTo>
                  <a:lnTo>
                    <a:pt x="1693" y="2924"/>
                  </a:lnTo>
                  <a:lnTo>
                    <a:pt x="1693" y="2924"/>
                  </a:lnTo>
                  <a:lnTo>
                    <a:pt x="1710" y="2924"/>
                  </a:lnTo>
                  <a:lnTo>
                    <a:pt x="1725" y="2923"/>
                  </a:lnTo>
                  <a:lnTo>
                    <a:pt x="1739" y="2918"/>
                  </a:lnTo>
                  <a:lnTo>
                    <a:pt x="1753" y="2916"/>
                  </a:lnTo>
                  <a:lnTo>
                    <a:pt x="1765" y="2910"/>
                  </a:lnTo>
                  <a:lnTo>
                    <a:pt x="1776" y="2905"/>
                  </a:lnTo>
                  <a:lnTo>
                    <a:pt x="1786" y="2898"/>
                  </a:lnTo>
                  <a:lnTo>
                    <a:pt x="1794" y="2890"/>
                  </a:lnTo>
                  <a:lnTo>
                    <a:pt x="1802" y="2880"/>
                  </a:lnTo>
                  <a:lnTo>
                    <a:pt x="1809" y="2870"/>
                  </a:lnTo>
                  <a:lnTo>
                    <a:pt x="1815" y="2858"/>
                  </a:lnTo>
                  <a:lnTo>
                    <a:pt x="1819" y="2845"/>
                  </a:lnTo>
                  <a:lnTo>
                    <a:pt x="1823" y="2833"/>
                  </a:lnTo>
                  <a:lnTo>
                    <a:pt x="1826" y="2818"/>
                  </a:lnTo>
                  <a:lnTo>
                    <a:pt x="1827" y="2803"/>
                  </a:lnTo>
                  <a:lnTo>
                    <a:pt x="1827" y="2786"/>
                  </a:lnTo>
                  <a:lnTo>
                    <a:pt x="1827" y="2534"/>
                  </a:lnTo>
                  <a:lnTo>
                    <a:pt x="1759" y="2534"/>
                  </a:lnTo>
                  <a:lnTo>
                    <a:pt x="1759" y="2553"/>
                  </a:lnTo>
                  <a:close/>
                  <a:moveTo>
                    <a:pt x="1759" y="2618"/>
                  </a:moveTo>
                  <a:lnTo>
                    <a:pt x="1759" y="2727"/>
                  </a:lnTo>
                  <a:lnTo>
                    <a:pt x="1759" y="2727"/>
                  </a:lnTo>
                  <a:lnTo>
                    <a:pt x="1750" y="2736"/>
                  </a:lnTo>
                  <a:lnTo>
                    <a:pt x="1740" y="2746"/>
                  </a:lnTo>
                  <a:lnTo>
                    <a:pt x="1733" y="2749"/>
                  </a:lnTo>
                  <a:lnTo>
                    <a:pt x="1726" y="2752"/>
                  </a:lnTo>
                  <a:lnTo>
                    <a:pt x="1719" y="2753"/>
                  </a:lnTo>
                  <a:lnTo>
                    <a:pt x="1710" y="2754"/>
                  </a:lnTo>
                  <a:lnTo>
                    <a:pt x="1710" y="2754"/>
                  </a:lnTo>
                  <a:lnTo>
                    <a:pt x="1701" y="2753"/>
                  </a:lnTo>
                  <a:lnTo>
                    <a:pt x="1692" y="2750"/>
                  </a:lnTo>
                  <a:lnTo>
                    <a:pt x="1684" y="2746"/>
                  </a:lnTo>
                  <a:lnTo>
                    <a:pt x="1675" y="2738"/>
                  </a:lnTo>
                  <a:lnTo>
                    <a:pt x="1668" y="2727"/>
                  </a:lnTo>
                  <a:lnTo>
                    <a:pt x="1663" y="2712"/>
                  </a:lnTo>
                  <a:lnTo>
                    <a:pt x="1660" y="2692"/>
                  </a:lnTo>
                  <a:lnTo>
                    <a:pt x="1659" y="2667"/>
                  </a:lnTo>
                  <a:lnTo>
                    <a:pt x="1659" y="2667"/>
                  </a:lnTo>
                  <a:lnTo>
                    <a:pt x="1660" y="2647"/>
                  </a:lnTo>
                  <a:lnTo>
                    <a:pt x="1663" y="2629"/>
                  </a:lnTo>
                  <a:lnTo>
                    <a:pt x="1668" y="2615"/>
                  </a:lnTo>
                  <a:lnTo>
                    <a:pt x="1675" y="2605"/>
                  </a:lnTo>
                  <a:lnTo>
                    <a:pt x="1684" y="2599"/>
                  </a:lnTo>
                  <a:lnTo>
                    <a:pt x="1692" y="2593"/>
                  </a:lnTo>
                  <a:lnTo>
                    <a:pt x="1701" y="2592"/>
                  </a:lnTo>
                  <a:lnTo>
                    <a:pt x="1710" y="2590"/>
                  </a:lnTo>
                  <a:lnTo>
                    <a:pt x="1710" y="2590"/>
                  </a:lnTo>
                  <a:lnTo>
                    <a:pt x="1719" y="2592"/>
                  </a:lnTo>
                  <a:lnTo>
                    <a:pt x="1728" y="2593"/>
                  </a:lnTo>
                  <a:lnTo>
                    <a:pt x="1735" y="2596"/>
                  </a:lnTo>
                  <a:lnTo>
                    <a:pt x="1741" y="2600"/>
                  </a:lnTo>
                  <a:lnTo>
                    <a:pt x="1747" y="2604"/>
                  </a:lnTo>
                  <a:lnTo>
                    <a:pt x="1751" y="2608"/>
                  </a:lnTo>
                  <a:lnTo>
                    <a:pt x="1759" y="2618"/>
                  </a:lnTo>
                  <a:lnTo>
                    <a:pt x="1759" y="2618"/>
                  </a:lnTo>
                  <a:close/>
                  <a:moveTo>
                    <a:pt x="1172" y="2534"/>
                  </a:moveTo>
                  <a:lnTo>
                    <a:pt x="1241" y="2534"/>
                  </a:lnTo>
                  <a:lnTo>
                    <a:pt x="1241" y="2656"/>
                  </a:lnTo>
                  <a:lnTo>
                    <a:pt x="1241" y="2811"/>
                  </a:lnTo>
                  <a:lnTo>
                    <a:pt x="1172" y="2811"/>
                  </a:lnTo>
                  <a:lnTo>
                    <a:pt x="1172" y="2534"/>
                  </a:lnTo>
                  <a:close/>
                  <a:moveTo>
                    <a:pt x="1241" y="2459"/>
                  </a:moveTo>
                  <a:lnTo>
                    <a:pt x="1241" y="2494"/>
                  </a:lnTo>
                  <a:lnTo>
                    <a:pt x="1172" y="2494"/>
                  </a:lnTo>
                  <a:lnTo>
                    <a:pt x="1172" y="2425"/>
                  </a:lnTo>
                  <a:lnTo>
                    <a:pt x="1241" y="2425"/>
                  </a:lnTo>
                  <a:lnTo>
                    <a:pt x="1241" y="2459"/>
                  </a:lnTo>
                  <a:close/>
                  <a:moveTo>
                    <a:pt x="2885" y="2452"/>
                  </a:moveTo>
                  <a:lnTo>
                    <a:pt x="2953" y="2418"/>
                  </a:lnTo>
                  <a:lnTo>
                    <a:pt x="2953" y="2669"/>
                  </a:lnTo>
                  <a:lnTo>
                    <a:pt x="2953" y="2811"/>
                  </a:lnTo>
                  <a:lnTo>
                    <a:pt x="2885" y="2811"/>
                  </a:lnTo>
                  <a:lnTo>
                    <a:pt x="2885" y="2452"/>
                  </a:lnTo>
                  <a:close/>
                  <a:moveTo>
                    <a:pt x="496" y="946"/>
                  </a:moveTo>
                  <a:lnTo>
                    <a:pt x="1062" y="946"/>
                  </a:lnTo>
                  <a:lnTo>
                    <a:pt x="1062" y="618"/>
                  </a:lnTo>
                  <a:lnTo>
                    <a:pt x="496" y="618"/>
                  </a:lnTo>
                  <a:lnTo>
                    <a:pt x="496" y="360"/>
                  </a:lnTo>
                  <a:lnTo>
                    <a:pt x="1122" y="360"/>
                  </a:lnTo>
                  <a:lnTo>
                    <a:pt x="914" y="0"/>
                  </a:lnTo>
                  <a:lnTo>
                    <a:pt x="28" y="0"/>
                  </a:lnTo>
                  <a:lnTo>
                    <a:pt x="28" y="1564"/>
                  </a:lnTo>
                  <a:lnTo>
                    <a:pt x="1278" y="1564"/>
                  </a:lnTo>
                  <a:lnTo>
                    <a:pt x="1278" y="1204"/>
                  </a:lnTo>
                  <a:lnTo>
                    <a:pt x="496" y="1204"/>
                  </a:lnTo>
                  <a:lnTo>
                    <a:pt x="496" y="946"/>
                  </a:lnTo>
                  <a:close/>
                  <a:moveTo>
                    <a:pt x="2111" y="0"/>
                  </a:moveTo>
                  <a:lnTo>
                    <a:pt x="1845" y="510"/>
                  </a:lnTo>
                  <a:lnTo>
                    <a:pt x="1580" y="0"/>
                  </a:lnTo>
                  <a:lnTo>
                    <a:pt x="1062" y="0"/>
                  </a:lnTo>
                  <a:lnTo>
                    <a:pt x="1608" y="946"/>
                  </a:lnTo>
                  <a:lnTo>
                    <a:pt x="1608" y="1564"/>
                  </a:lnTo>
                  <a:lnTo>
                    <a:pt x="2075" y="1564"/>
                  </a:lnTo>
                  <a:lnTo>
                    <a:pt x="2075" y="946"/>
                  </a:lnTo>
                  <a:lnTo>
                    <a:pt x="2623" y="0"/>
                  </a:lnTo>
                  <a:lnTo>
                    <a:pt x="2111"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979">
                <a:latin typeface="EYInterstate Light" panose="02000506000000020004" pitchFamily="2" charset="0"/>
              </a:endParaRPr>
            </a:p>
          </p:txBody>
        </p:sp>
      </p:grpSp>
      <p:sp>
        <p:nvSpPr>
          <p:cNvPr id="12" name="Subtitle 2"/>
          <p:cNvSpPr>
            <a:spLocks noGrp="1"/>
          </p:cNvSpPr>
          <p:nvPr>
            <p:ph type="subTitle" idx="1"/>
          </p:nvPr>
        </p:nvSpPr>
        <p:spPr>
          <a:xfrm>
            <a:off x="339403" y="336056"/>
            <a:ext cx="4074452" cy="6931158"/>
          </a:xfrm>
          <a:prstGeom prst="rect">
            <a:avLst/>
          </a:prstGeom>
        </p:spPr>
        <p:txBody>
          <a:bodyPr lIns="0" tIns="0" rIns="0" bIns="0"/>
          <a:lstStyle>
            <a:lvl1pPr marL="0" indent="0" algn="l">
              <a:buNone/>
              <a:defRPr sz="990">
                <a:solidFill>
                  <a:schemeClr val="bg1"/>
                </a:solidFill>
                <a:latin typeface="EYInterstate Light" panose="02000506000000020004" pitchFamily="2" charset="0"/>
                <a:cs typeface="Arial" pitchFamily="34" charset="0"/>
              </a:defRPr>
            </a:lvl1pPr>
            <a:lvl2pPr marL="0" indent="0" algn="l">
              <a:buNone/>
              <a:defRPr sz="1758">
                <a:solidFill>
                  <a:schemeClr val="tx1">
                    <a:lumMod val="75000"/>
                    <a:lumOff val="25000"/>
                  </a:schemeClr>
                </a:solidFill>
              </a:defRPr>
            </a:lvl2pPr>
            <a:lvl3pPr marL="1005102" indent="0" algn="ctr">
              <a:buNone/>
              <a:defRPr>
                <a:solidFill>
                  <a:schemeClr val="tx1">
                    <a:tint val="75000"/>
                  </a:schemeClr>
                </a:solidFill>
              </a:defRPr>
            </a:lvl3pPr>
            <a:lvl4pPr marL="1507653" indent="0" algn="ctr">
              <a:buNone/>
              <a:defRPr>
                <a:solidFill>
                  <a:schemeClr val="tx1">
                    <a:tint val="75000"/>
                  </a:schemeClr>
                </a:solidFill>
              </a:defRPr>
            </a:lvl4pPr>
            <a:lvl5pPr marL="2010205" indent="0" algn="ctr">
              <a:buNone/>
              <a:defRPr>
                <a:solidFill>
                  <a:schemeClr val="tx1">
                    <a:tint val="75000"/>
                  </a:schemeClr>
                </a:solidFill>
              </a:defRPr>
            </a:lvl5pPr>
            <a:lvl6pPr marL="2512755" indent="0" algn="ctr">
              <a:buNone/>
              <a:defRPr>
                <a:solidFill>
                  <a:schemeClr val="tx1">
                    <a:tint val="75000"/>
                  </a:schemeClr>
                </a:solidFill>
              </a:defRPr>
            </a:lvl6pPr>
            <a:lvl7pPr marL="3015306" indent="0" algn="ctr">
              <a:buNone/>
              <a:defRPr>
                <a:solidFill>
                  <a:schemeClr val="tx1">
                    <a:tint val="75000"/>
                  </a:schemeClr>
                </a:solidFill>
              </a:defRPr>
            </a:lvl7pPr>
            <a:lvl8pPr marL="3517858" indent="0" algn="ctr">
              <a:buNone/>
              <a:defRPr>
                <a:solidFill>
                  <a:schemeClr val="tx1">
                    <a:tint val="75000"/>
                  </a:schemeClr>
                </a:solidFill>
              </a:defRPr>
            </a:lvl8pPr>
            <a:lvl9pPr marL="4020410" indent="0" algn="ctr">
              <a:buNone/>
              <a:defRPr>
                <a:solidFill>
                  <a:schemeClr val="tx1">
                    <a:tint val="75000"/>
                  </a:schemeClr>
                </a:solidFill>
              </a:defRPr>
            </a:lvl9pPr>
          </a:lstStyle>
          <a:p>
            <a:pPr lvl="0"/>
            <a:r>
              <a:rPr lang="en-US"/>
              <a:t>Click to edit Master subtitle style</a:t>
            </a:r>
            <a:endParaRPr lang="en-GB"/>
          </a:p>
        </p:txBody>
      </p:sp>
    </p:spTree>
    <p:extLst>
      <p:ext uri="{BB962C8B-B14F-4D97-AF65-F5344CB8AC3E}">
        <p14:creationId xmlns:p14="http://schemas.microsoft.com/office/powerpoint/2010/main" val="181891742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Appendix_Bios">
    <p:spTree>
      <p:nvGrpSpPr>
        <p:cNvPr id="1" name=""/>
        <p:cNvGrpSpPr/>
        <p:nvPr/>
      </p:nvGrpSpPr>
      <p:grpSpPr>
        <a:xfrm>
          <a:off x="0" y="0"/>
          <a:ext cx="0" cy="0"/>
          <a:chOff x="0" y="0"/>
          <a:chExt cx="0" cy="0"/>
        </a:xfrm>
      </p:grpSpPr>
      <p:sp>
        <p:nvSpPr>
          <p:cNvPr id="9" name="Rectangle 8"/>
          <p:cNvSpPr/>
          <p:nvPr userDrawn="1"/>
        </p:nvSpPr>
        <p:spPr>
          <a:xfrm>
            <a:off x="885234" y="1347753"/>
            <a:ext cx="6070671" cy="1335095"/>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322">
              <a:solidFill>
                <a:schemeClr val="tx1"/>
              </a:solidFill>
              <a:latin typeface="EYInterstate Light" panose="02000506000000020004" pitchFamily="2" charset="0"/>
            </a:endParaRPr>
          </a:p>
        </p:txBody>
      </p:sp>
      <p:sp>
        <p:nvSpPr>
          <p:cNvPr id="2" name="Title 1"/>
          <p:cNvSpPr>
            <a:spLocks noGrp="1"/>
          </p:cNvSpPr>
          <p:nvPr>
            <p:ph type="title"/>
          </p:nvPr>
        </p:nvSpPr>
        <p:spPr>
          <a:xfrm>
            <a:off x="885233" y="336056"/>
            <a:ext cx="12098655" cy="834848"/>
          </a:xfrm>
          <a:prstGeom prst="rect">
            <a:avLst/>
          </a:prstGeom>
        </p:spPr>
        <p:txBody>
          <a:bodyPr lIns="0" tIns="0" rIns="0" bIns="0"/>
          <a:lstStyle>
            <a:lvl1pPr>
              <a:lnSpc>
                <a:spcPct val="85000"/>
              </a:lnSpc>
              <a:defRPr sz="2424" b="1">
                <a:solidFill>
                  <a:schemeClr val="tx2"/>
                </a:solidFill>
                <a:latin typeface="EYInterstate" panose="02000503020000020004" pitchFamily="2" charset="0"/>
              </a:defRPr>
            </a:lvl1pPr>
          </a:lstStyle>
          <a:p>
            <a:r>
              <a:rPr lang="en-US"/>
              <a:t>Click to edit Master title style</a:t>
            </a:r>
            <a:endParaRPr lang="en-GB"/>
          </a:p>
        </p:txBody>
      </p:sp>
      <p:sp>
        <p:nvSpPr>
          <p:cNvPr id="3" name="Content Placeholder 2"/>
          <p:cNvSpPr>
            <a:spLocks noGrp="1"/>
          </p:cNvSpPr>
          <p:nvPr>
            <p:ph idx="1"/>
          </p:nvPr>
        </p:nvSpPr>
        <p:spPr>
          <a:xfrm>
            <a:off x="2014331" y="1460808"/>
            <a:ext cx="4748432" cy="1108985"/>
          </a:xfrm>
          <a:prstGeom prst="rect">
            <a:avLst/>
          </a:prstGeom>
        </p:spPr>
        <p:txBody>
          <a:bodyPr lIns="0" tIns="0" rIns="0" bIns="0"/>
          <a:lstStyle>
            <a:lvl1pPr marL="0" indent="0">
              <a:spcBef>
                <a:spcPts val="0"/>
              </a:spcBef>
              <a:buFont typeface="Arial" panose="020B0604020202020204" pitchFamily="34" charset="0"/>
              <a:buNone/>
              <a:defRPr sz="1542" b="1">
                <a:solidFill>
                  <a:schemeClr val="tx1"/>
                </a:solidFill>
                <a:latin typeface="EYInterstate" panose="02000503020000020004" pitchFamily="2" charset="0"/>
              </a:defRPr>
            </a:lvl1pPr>
            <a:lvl2pPr marL="0" indent="0">
              <a:spcBef>
                <a:spcPts val="0"/>
              </a:spcBef>
              <a:spcAft>
                <a:spcPts val="331"/>
              </a:spcAft>
              <a:buFont typeface="Wingdings 3" panose="05040102010807070707" pitchFamily="18" charset="2"/>
              <a:buNone/>
              <a:defRPr i="1">
                <a:solidFill>
                  <a:schemeClr val="tx1"/>
                </a:solidFill>
                <a:latin typeface="EYInterstate" panose="02000503020000020004" pitchFamily="2" charset="0"/>
              </a:defRPr>
            </a:lvl2pPr>
            <a:lvl3pPr marL="0" indent="0">
              <a:spcBef>
                <a:spcPts val="0"/>
              </a:spcBef>
              <a:buFont typeface="Wingdings 3" panose="05040102010807070707" pitchFamily="18" charset="2"/>
              <a:buNone/>
              <a:defRPr sz="1101">
                <a:solidFill>
                  <a:schemeClr val="tx1"/>
                </a:solidFill>
                <a:latin typeface="EYInterstate Light" panose="02000506000000020004" pitchFamily="2" charset="0"/>
              </a:defRPr>
            </a:lvl3pPr>
            <a:lvl4pPr marL="0" indent="0">
              <a:spcBef>
                <a:spcPts val="0"/>
              </a:spcBef>
              <a:buFont typeface="Wingdings 3" panose="05040102010807070707" pitchFamily="18" charset="2"/>
              <a:buNone/>
              <a:defRPr sz="1101">
                <a:solidFill>
                  <a:schemeClr val="tx1"/>
                </a:solidFill>
                <a:latin typeface="EYInterstate Light" panose="02000506000000020004" pitchFamily="2" charset="0"/>
              </a:defRPr>
            </a:lvl4pPr>
            <a:lvl5pPr marL="0" indent="0">
              <a:spcBef>
                <a:spcPts val="0"/>
              </a:spcBef>
              <a:buFont typeface="Wingdings 3" panose="05040102010807070707" pitchFamily="18" charset="2"/>
              <a:buNone/>
              <a:defRPr sz="1101">
                <a:solidFill>
                  <a:schemeClr val="tx1"/>
                </a:solidFill>
                <a:latin typeface="EYInterstate Light" panose="02000506000000020004"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Picture Placeholder 7"/>
          <p:cNvSpPr>
            <a:spLocks noGrp="1"/>
          </p:cNvSpPr>
          <p:nvPr>
            <p:ph type="pic" sz="quarter" idx="10"/>
          </p:nvPr>
        </p:nvSpPr>
        <p:spPr>
          <a:xfrm>
            <a:off x="996318" y="1460808"/>
            <a:ext cx="906927" cy="1108985"/>
          </a:xfrm>
          <a:prstGeom prst="rect">
            <a:avLst/>
          </a:prstGeom>
          <a:solidFill>
            <a:schemeClr val="tx2"/>
          </a:solidFill>
        </p:spPr>
        <p:txBody>
          <a:bodyPr/>
          <a:lstStyle>
            <a:lvl1pPr>
              <a:defRPr>
                <a:latin typeface="EYInterstate Light" panose="02000506000000020004" pitchFamily="2" charset="0"/>
              </a:defRPr>
            </a:lvl1pPr>
          </a:lstStyle>
          <a:p>
            <a:endParaRPr lang="en-US"/>
          </a:p>
        </p:txBody>
      </p:sp>
      <p:sp>
        <p:nvSpPr>
          <p:cNvPr id="10" name="Content Placeholder 2"/>
          <p:cNvSpPr>
            <a:spLocks noGrp="1"/>
          </p:cNvSpPr>
          <p:nvPr>
            <p:ph idx="11"/>
          </p:nvPr>
        </p:nvSpPr>
        <p:spPr>
          <a:xfrm>
            <a:off x="885233" y="2925611"/>
            <a:ext cx="6070670" cy="4341603"/>
          </a:xfrm>
          <a:prstGeom prst="rect">
            <a:avLst/>
          </a:prstGeom>
        </p:spPr>
        <p:txBody>
          <a:bodyPr lIns="0" tIns="0" rIns="0" bIns="0"/>
          <a:lstStyle>
            <a:lvl1pPr marL="0" indent="0">
              <a:spcBef>
                <a:spcPts val="1101"/>
              </a:spcBef>
              <a:spcAft>
                <a:spcPts val="0"/>
              </a:spcAft>
              <a:buFont typeface="Arial" panose="020B0604020202020204" pitchFamily="34" charset="0"/>
              <a:buNone/>
              <a:defRPr sz="1101" b="1">
                <a:solidFill>
                  <a:schemeClr val="tx2"/>
                </a:solidFill>
                <a:latin typeface="EYInterstate" panose="02000503020000020004" pitchFamily="2" charset="0"/>
              </a:defRPr>
            </a:lvl1pPr>
            <a:lvl2pPr marL="0" indent="0">
              <a:spcBef>
                <a:spcPts val="331"/>
              </a:spcBef>
              <a:spcAft>
                <a:spcPts val="0"/>
              </a:spcAft>
              <a:buFont typeface="Wingdings 3" panose="05040102010807070707" pitchFamily="18" charset="2"/>
              <a:buNone/>
              <a:defRPr sz="1101" i="0">
                <a:solidFill>
                  <a:schemeClr val="tx2"/>
                </a:solidFill>
                <a:latin typeface="EYInterstate Light" panose="02000506000000020004" pitchFamily="2" charset="0"/>
              </a:defRPr>
            </a:lvl2pPr>
            <a:lvl3pPr marL="188929" indent="-188929">
              <a:spcBef>
                <a:spcPts val="165"/>
              </a:spcBef>
              <a:spcAft>
                <a:spcPts val="0"/>
              </a:spcAft>
              <a:buFont typeface="Wingdings 3" panose="05040102010807070707" pitchFamily="18" charset="2"/>
              <a:buChar char="u"/>
              <a:defRPr sz="1101" i="0">
                <a:solidFill>
                  <a:schemeClr val="tx2"/>
                </a:solidFill>
                <a:latin typeface="EYInterstate Light" panose="02000506000000020004" pitchFamily="2" charset="0"/>
              </a:defRPr>
            </a:lvl3pPr>
            <a:lvl4pPr marL="377859" indent="-188929">
              <a:spcBef>
                <a:spcPts val="165"/>
              </a:spcBef>
              <a:spcAft>
                <a:spcPts val="0"/>
              </a:spcAft>
              <a:buFont typeface="Wingdings 3" panose="05040102010807070707" pitchFamily="18" charset="2"/>
              <a:buChar char="u"/>
              <a:defRPr sz="1101" i="0">
                <a:solidFill>
                  <a:schemeClr val="tx2"/>
                </a:solidFill>
                <a:latin typeface="EYInterstate Light" panose="02000506000000020004" pitchFamily="2" charset="0"/>
              </a:defRPr>
            </a:lvl4pPr>
            <a:lvl5pPr marL="570286" indent="-188929">
              <a:spcBef>
                <a:spcPts val="165"/>
              </a:spcBef>
              <a:spcAft>
                <a:spcPts val="0"/>
              </a:spcAft>
              <a:buFont typeface="Wingdings 3" panose="05040102010807070707" pitchFamily="18" charset="2"/>
              <a:buChar char="u"/>
              <a:defRPr sz="1101" i="0">
                <a:solidFill>
                  <a:schemeClr val="tx2"/>
                </a:solidFill>
                <a:latin typeface="EYInterstate Light" panose="02000506000000020004"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Rectangle 14">
            <a:extLst>
              <a:ext uri="{FF2B5EF4-FFF2-40B4-BE49-F238E27FC236}">
                <a16:creationId xmlns:a16="http://schemas.microsoft.com/office/drawing/2014/main" id="{435A19E3-1051-423C-9EC7-B2898B8DDC07}"/>
              </a:ext>
            </a:extLst>
          </p:cNvPr>
          <p:cNvSpPr/>
          <p:nvPr userDrawn="1"/>
        </p:nvSpPr>
        <p:spPr>
          <a:xfrm>
            <a:off x="339400" y="336056"/>
            <a:ext cx="215838" cy="6931158"/>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319">
              <a:solidFill>
                <a:schemeClr val="tx1"/>
              </a:solidFill>
              <a:latin typeface="EYInterstate Light" panose="02000506000000020004" pitchFamily="2" charset="0"/>
            </a:endParaRPr>
          </a:p>
        </p:txBody>
      </p:sp>
    </p:spTree>
    <p:extLst>
      <p:ext uri="{BB962C8B-B14F-4D97-AF65-F5344CB8AC3E}">
        <p14:creationId xmlns:p14="http://schemas.microsoft.com/office/powerpoint/2010/main" val="239429390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Title only, no line">
    <p:spTree>
      <p:nvGrpSpPr>
        <p:cNvPr id="1" name=""/>
        <p:cNvGrpSpPr/>
        <p:nvPr/>
      </p:nvGrpSpPr>
      <p:grpSpPr>
        <a:xfrm>
          <a:off x="0" y="0"/>
          <a:ext cx="0" cy="0"/>
          <a:chOff x="0" y="0"/>
          <a:chExt cx="0" cy="0"/>
        </a:xfrm>
      </p:grpSpPr>
      <p:sp>
        <p:nvSpPr>
          <p:cNvPr id="2" name="Title 1"/>
          <p:cNvSpPr>
            <a:spLocks noGrp="1"/>
          </p:cNvSpPr>
          <p:nvPr>
            <p:ph type="title"/>
          </p:nvPr>
        </p:nvSpPr>
        <p:spPr>
          <a:xfrm>
            <a:off x="672149" y="222273"/>
            <a:ext cx="12098655" cy="948631"/>
          </a:xfrm>
          <a:prstGeom prst="rect">
            <a:avLst/>
          </a:prstGeom>
        </p:spPr>
        <p:txBody>
          <a:bodyPr/>
          <a:lstStyle>
            <a:lvl1pPr>
              <a:defRPr>
                <a:solidFill>
                  <a:schemeClr val="bg1"/>
                </a:solidFill>
                <a:latin typeface="EYInterstate Light" panose="02000506000000020004" pitchFamily="2" charset="0"/>
              </a:defRPr>
            </a:lvl1pPr>
          </a:lstStyle>
          <a:p>
            <a:r>
              <a:rPr lang="en-US"/>
              <a:t>Click to edit Master title style</a:t>
            </a:r>
            <a:endParaRPr lang="en-GB"/>
          </a:p>
        </p:txBody>
      </p:sp>
      <p:sp>
        <p:nvSpPr>
          <p:cNvPr id="3" name="Rectangle 2">
            <a:extLst>
              <a:ext uri="{FF2B5EF4-FFF2-40B4-BE49-F238E27FC236}">
                <a16:creationId xmlns:a16="http://schemas.microsoft.com/office/drawing/2014/main" id="{656CFA7B-7C6A-4E41-B248-29BC667BC5A2}"/>
              </a:ext>
            </a:extLst>
          </p:cNvPr>
          <p:cNvSpPr/>
          <p:nvPr userDrawn="1"/>
        </p:nvSpPr>
        <p:spPr>
          <a:xfrm>
            <a:off x="339400" y="336056"/>
            <a:ext cx="215838" cy="6931158"/>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319">
              <a:solidFill>
                <a:schemeClr val="tx1"/>
              </a:solidFill>
              <a:latin typeface="EYInterstate Light" panose="02000506000000020004" pitchFamily="2" charset="0"/>
            </a:endParaRPr>
          </a:p>
        </p:txBody>
      </p:sp>
    </p:spTree>
    <p:extLst>
      <p:ext uri="{BB962C8B-B14F-4D97-AF65-F5344CB8AC3E}">
        <p14:creationId xmlns:p14="http://schemas.microsoft.com/office/powerpoint/2010/main" val="401806693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Custom Layout">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A8BBA6AB-52DA-1F4F-A9F2-32A0449550D3}"/>
              </a:ext>
            </a:extLst>
          </p:cNvPr>
          <p:cNvSpPr/>
          <p:nvPr userDrawn="1"/>
        </p:nvSpPr>
        <p:spPr>
          <a:xfrm>
            <a:off x="943904" y="428151"/>
            <a:ext cx="1260000" cy="10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itle 4">
            <a:extLst>
              <a:ext uri="{FF2B5EF4-FFF2-40B4-BE49-F238E27FC236}">
                <a16:creationId xmlns:a16="http://schemas.microsoft.com/office/drawing/2014/main" id="{CEA215F3-869A-0348-BB46-F05B965212F4}"/>
              </a:ext>
            </a:extLst>
          </p:cNvPr>
          <p:cNvSpPr>
            <a:spLocks noGrp="1"/>
          </p:cNvSpPr>
          <p:nvPr>
            <p:ph type="title"/>
          </p:nvPr>
        </p:nvSpPr>
        <p:spPr>
          <a:xfrm>
            <a:off x="943904" y="608400"/>
            <a:ext cx="12098656" cy="811646"/>
          </a:xfrm>
          <a:prstGeom prst="rect">
            <a:avLst/>
          </a:prstGeom>
        </p:spPr>
        <p:txBody>
          <a:bodyPr lIns="0"/>
          <a:lstStyle>
            <a:lvl1pPr>
              <a:defRPr sz="2400"/>
            </a:lvl1pPr>
          </a:lstStyle>
          <a:p>
            <a:r>
              <a:rPr lang="en-US"/>
              <a:t>Click to edit Master title style</a:t>
            </a:r>
            <a:endParaRPr lang="en-GB"/>
          </a:p>
        </p:txBody>
      </p:sp>
    </p:spTree>
    <p:extLst>
      <p:ext uri="{BB962C8B-B14F-4D97-AF65-F5344CB8AC3E}">
        <p14:creationId xmlns:p14="http://schemas.microsoft.com/office/powerpoint/2010/main" val="3330059883"/>
      </p:ext>
    </p:extLst>
  </p:cSld>
  <p:clrMapOvr>
    <a:overrideClrMapping bg1="dk1" tx1="lt1" bg2="dk2" tx2="lt2" accent1="accent1" accent2="accent2" accent3="accent3" accent4="accent4" accent5="accent5" accent6="accent6" hlink="hlink" folHlink="folHlink"/>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2_Body Page 2">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nvPr>
        </p:nvGraphicFramePr>
        <p:xfrm>
          <a:off x="1751" y="1753"/>
          <a:ext cx="1750" cy="1750"/>
        </p:xfrm>
        <a:graphic>
          <a:graphicData uri="http://schemas.openxmlformats.org/presentationml/2006/ole">
            <mc:AlternateContent xmlns:mc="http://schemas.openxmlformats.org/markup-compatibility/2006">
              <mc:Choice xmlns:v="urn:schemas-microsoft-com:vml" Requires="v">
                <p:oleObj spid="_x0000_s11266" name="think-cell Slide" r:id="rId4" imgW="270" imgH="270" progId="TCLayout.ActiveDocument.1">
                  <p:embed/>
                </p:oleObj>
              </mc:Choice>
              <mc:Fallback>
                <p:oleObj name="think-cell Slide" r:id="rId4" imgW="270" imgH="270" progId="TCLayout.ActiveDocument.1">
                  <p:embed/>
                  <p:pic>
                    <p:nvPicPr>
                      <p:cNvPr id="6" name="Object 5" hidden="1"/>
                      <p:cNvPicPr/>
                      <p:nvPr/>
                    </p:nvPicPr>
                    <p:blipFill>
                      <a:blip r:embed="rId5"/>
                      <a:stretch>
                        <a:fillRect/>
                      </a:stretch>
                    </p:blipFill>
                    <p:spPr>
                      <a:xfrm>
                        <a:off x="1751" y="1753"/>
                        <a:ext cx="1750" cy="1750"/>
                      </a:xfrm>
                      <a:prstGeom prst="rect">
                        <a:avLst/>
                      </a:prstGeom>
                    </p:spPr>
                  </p:pic>
                </p:oleObj>
              </mc:Fallback>
            </mc:AlternateContent>
          </a:graphicData>
        </a:graphic>
      </p:graphicFrame>
      <p:sp>
        <p:nvSpPr>
          <p:cNvPr id="7" name="Content Placeholder 6"/>
          <p:cNvSpPr>
            <a:spLocks noGrp="1"/>
          </p:cNvSpPr>
          <p:nvPr>
            <p:ph sz="quarter" idx="11" hasCustomPrompt="1"/>
          </p:nvPr>
        </p:nvSpPr>
        <p:spPr>
          <a:xfrm>
            <a:off x="633369" y="1764298"/>
            <a:ext cx="12557525" cy="1289484"/>
          </a:xfrm>
          <a:prstGeom prst="rect">
            <a:avLst/>
          </a:prstGeom>
        </p:spPr>
        <p:txBody>
          <a:bodyPr wrap="square" lIns="45720" tIns="45720" rIns="45720" bIns="45720">
            <a:spAutoFit/>
          </a:bodyPr>
          <a:lstStyle>
            <a:lvl1pPr marL="314882" indent="-314882">
              <a:spcBef>
                <a:spcPts val="662"/>
              </a:spcBef>
              <a:spcAft>
                <a:spcPts val="0"/>
              </a:spcAft>
              <a:buClr>
                <a:schemeClr val="tx1">
                  <a:lumMod val="65000"/>
                  <a:lumOff val="35000"/>
                </a:schemeClr>
              </a:buClr>
              <a:buSzPct val="70000"/>
              <a:buFont typeface="Arial" panose="020B0604020202020204" pitchFamily="34" charset="0"/>
              <a:buChar char="►"/>
              <a:defRPr sz="1763">
                <a:solidFill>
                  <a:schemeClr val="tx1">
                    <a:lumMod val="75000"/>
                    <a:lumOff val="25000"/>
                  </a:schemeClr>
                </a:solidFill>
                <a:latin typeface="EYInterstate Light" panose="02000506000000020004" pitchFamily="2" charset="0"/>
              </a:defRPr>
            </a:lvl1pPr>
            <a:lvl2pPr marL="759216" indent="-255404">
              <a:spcBef>
                <a:spcPts val="331"/>
              </a:spcBef>
              <a:spcAft>
                <a:spcPts val="0"/>
              </a:spcAft>
              <a:buClr>
                <a:schemeClr val="tx1">
                  <a:lumMod val="65000"/>
                  <a:lumOff val="35000"/>
                </a:schemeClr>
              </a:buClr>
              <a:buSzPct val="100000"/>
              <a:buFont typeface="Arial" panose="020B0604020202020204" pitchFamily="34" charset="0"/>
              <a:buChar char="–"/>
              <a:defRPr sz="1542">
                <a:solidFill>
                  <a:schemeClr val="tx1">
                    <a:lumMod val="75000"/>
                    <a:lumOff val="25000"/>
                  </a:schemeClr>
                </a:solidFill>
                <a:latin typeface="EYInterstate Light" panose="02000506000000020004" pitchFamily="2" charset="0"/>
              </a:defRPr>
            </a:lvl2pPr>
            <a:lvl3pPr marL="1137073" indent="-194178">
              <a:spcBef>
                <a:spcPts val="331"/>
              </a:spcBef>
              <a:spcAft>
                <a:spcPts val="0"/>
              </a:spcAft>
              <a:buClr>
                <a:schemeClr val="tx1">
                  <a:lumMod val="65000"/>
                  <a:lumOff val="35000"/>
                </a:schemeClr>
              </a:buClr>
              <a:buSzPct val="70000"/>
              <a:buFont typeface="Arial" panose="020B0604020202020204" pitchFamily="34" charset="0"/>
              <a:buChar char="●"/>
              <a:defRPr sz="1322">
                <a:solidFill>
                  <a:schemeClr val="tx1">
                    <a:lumMod val="75000"/>
                    <a:lumOff val="25000"/>
                  </a:schemeClr>
                </a:solidFill>
                <a:latin typeface="EYInterstate Light" panose="02000506000000020004" pitchFamily="2" charset="0"/>
              </a:defRPr>
            </a:lvl3pPr>
            <a:lvl4pPr marL="1516682" indent="-194178">
              <a:spcBef>
                <a:spcPts val="331"/>
              </a:spcBef>
              <a:spcAft>
                <a:spcPts val="0"/>
              </a:spcAft>
              <a:buClr>
                <a:schemeClr val="tx1">
                  <a:lumMod val="65000"/>
                  <a:lumOff val="35000"/>
                </a:schemeClr>
              </a:buClr>
              <a:buSzPct val="70000"/>
              <a:buFont typeface="Arial" panose="020B0604020202020204" pitchFamily="34" charset="0"/>
              <a:buChar char="►"/>
              <a:defRPr sz="1101">
                <a:solidFill>
                  <a:schemeClr val="tx1">
                    <a:lumMod val="75000"/>
                    <a:lumOff val="25000"/>
                  </a:schemeClr>
                </a:solidFill>
                <a:latin typeface="EYInterstate Light" panose="02000506000000020004" pitchFamily="2" charset="0"/>
              </a:defRPr>
            </a:lvl4pPr>
            <a:lvl5pPr marL="1831563" indent="-195926">
              <a:spcBef>
                <a:spcPts val="331"/>
              </a:spcBef>
              <a:spcAft>
                <a:spcPts val="0"/>
              </a:spcAft>
              <a:buClr>
                <a:schemeClr val="tx1">
                  <a:lumMod val="65000"/>
                  <a:lumOff val="35000"/>
                </a:schemeClr>
              </a:buClr>
              <a:buSzPct val="100000"/>
              <a:buFont typeface="Arial" panose="020B0604020202020204" pitchFamily="34" charset="0"/>
              <a:buChar char="–"/>
              <a:defRPr sz="882">
                <a:solidFill>
                  <a:schemeClr val="tx1">
                    <a:lumMod val="75000"/>
                    <a:lumOff val="25000"/>
                  </a:schemeClr>
                </a:solidFill>
                <a:latin typeface="EYInterstate Light" panose="02000506000000020004"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7">
            <a:extLst>
              <a:ext uri="{FF2B5EF4-FFF2-40B4-BE49-F238E27FC236}">
                <a16:creationId xmlns:a16="http://schemas.microsoft.com/office/drawing/2014/main" id="{EC69065B-9513-4E7C-9E5D-3C027C556812}"/>
              </a:ext>
            </a:extLst>
          </p:cNvPr>
          <p:cNvSpPr>
            <a:spLocks noGrp="1"/>
          </p:cNvSpPr>
          <p:nvPr>
            <p:ph type="body" sz="quarter" idx="12"/>
          </p:nvPr>
        </p:nvSpPr>
        <p:spPr>
          <a:xfrm>
            <a:off x="633370" y="348981"/>
            <a:ext cx="10688939" cy="373130"/>
          </a:xfrm>
          <a:prstGeom prst="rect">
            <a:avLst/>
          </a:prstGeom>
        </p:spPr>
        <p:txBody>
          <a:bodyPr wrap="square" lIns="45720" tIns="45720" rIns="45720" bIns="45720">
            <a:spAutoFit/>
          </a:bodyPr>
          <a:lstStyle>
            <a:lvl1pPr>
              <a:defRPr sz="1763" i="1">
                <a:solidFill>
                  <a:schemeClr val="tx2"/>
                </a:solidFill>
                <a:latin typeface="EYInterstate Light" panose="02000506000000020004" pitchFamily="2" charset="0"/>
              </a:defRPr>
            </a:lvl1pPr>
            <a:lvl2pPr>
              <a:defRPr sz="1542" i="1">
                <a:solidFill>
                  <a:schemeClr val="bg1"/>
                </a:solidFill>
              </a:defRPr>
            </a:lvl2pPr>
            <a:lvl3pPr>
              <a:defRPr sz="1542" i="1">
                <a:solidFill>
                  <a:schemeClr val="bg1"/>
                </a:solidFill>
              </a:defRPr>
            </a:lvl3pPr>
            <a:lvl4pPr>
              <a:defRPr sz="1542" i="1">
                <a:solidFill>
                  <a:schemeClr val="bg1"/>
                </a:solidFill>
              </a:defRPr>
            </a:lvl4pPr>
            <a:lvl5pPr>
              <a:defRPr sz="1542" i="1">
                <a:solidFill>
                  <a:schemeClr val="bg1"/>
                </a:solidFill>
              </a:defRPr>
            </a:lvl5pPr>
          </a:lstStyle>
          <a:p>
            <a:pPr lvl="0"/>
            <a:r>
              <a:rPr lang="en-US"/>
              <a:t>Click to edit Master text styles</a:t>
            </a:r>
          </a:p>
        </p:txBody>
      </p:sp>
      <p:sp>
        <p:nvSpPr>
          <p:cNvPr id="5" name="Rectangle 4">
            <a:extLst>
              <a:ext uri="{FF2B5EF4-FFF2-40B4-BE49-F238E27FC236}">
                <a16:creationId xmlns:a16="http://schemas.microsoft.com/office/drawing/2014/main" id="{FFD9A9A9-BDC8-4AF3-B1D3-74B23377C458}"/>
              </a:ext>
            </a:extLst>
          </p:cNvPr>
          <p:cNvSpPr/>
          <p:nvPr userDrawn="1"/>
        </p:nvSpPr>
        <p:spPr>
          <a:xfrm>
            <a:off x="339400" y="336056"/>
            <a:ext cx="215838" cy="6931158"/>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319">
              <a:solidFill>
                <a:schemeClr val="tx1"/>
              </a:solidFill>
              <a:latin typeface="EYInterstate Light" panose="02000506000000020004" pitchFamily="2" charset="0"/>
            </a:endParaRPr>
          </a:p>
        </p:txBody>
      </p:sp>
    </p:spTree>
    <p:extLst>
      <p:ext uri="{BB962C8B-B14F-4D97-AF65-F5344CB8AC3E}">
        <p14:creationId xmlns:p14="http://schemas.microsoft.com/office/powerpoint/2010/main" val="213788725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Appendix_Bios">
    <p:spTree>
      <p:nvGrpSpPr>
        <p:cNvPr id="1" name=""/>
        <p:cNvGrpSpPr/>
        <p:nvPr/>
      </p:nvGrpSpPr>
      <p:grpSpPr>
        <a:xfrm>
          <a:off x="0" y="0"/>
          <a:ext cx="0" cy="0"/>
          <a:chOff x="0" y="0"/>
          <a:chExt cx="0" cy="0"/>
        </a:xfrm>
      </p:grpSpPr>
      <p:sp>
        <p:nvSpPr>
          <p:cNvPr id="9" name="Rectangle 8"/>
          <p:cNvSpPr/>
          <p:nvPr userDrawn="1"/>
        </p:nvSpPr>
        <p:spPr>
          <a:xfrm>
            <a:off x="885234" y="1347753"/>
            <a:ext cx="6070671" cy="1335095"/>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322">
              <a:solidFill>
                <a:schemeClr val="tx1"/>
              </a:solidFill>
              <a:latin typeface="EYInterstate Light" panose="02000506000000020004" pitchFamily="2" charset="0"/>
            </a:endParaRPr>
          </a:p>
        </p:txBody>
      </p:sp>
      <p:sp>
        <p:nvSpPr>
          <p:cNvPr id="2" name="Title 1"/>
          <p:cNvSpPr>
            <a:spLocks noGrp="1"/>
          </p:cNvSpPr>
          <p:nvPr>
            <p:ph type="title"/>
          </p:nvPr>
        </p:nvSpPr>
        <p:spPr>
          <a:xfrm>
            <a:off x="885233" y="336056"/>
            <a:ext cx="12098655" cy="834848"/>
          </a:xfrm>
          <a:prstGeom prst="rect">
            <a:avLst/>
          </a:prstGeom>
        </p:spPr>
        <p:txBody>
          <a:bodyPr lIns="0" tIns="0" rIns="0" bIns="0"/>
          <a:lstStyle>
            <a:lvl1pPr>
              <a:lnSpc>
                <a:spcPct val="85000"/>
              </a:lnSpc>
              <a:defRPr sz="2424" b="1">
                <a:solidFill>
                  <a:schemeClr val="tx2"/>
                </a:solidFill>
                <a:latin typeface="EYInterstate" panose="02000503020000020004" pitchFamily="2" charset="0"/>
              </a:defRPr>
            </a:lvl1pPr>
          </a:lstStyle>
          <a:p>
            <a:r>
              <a:rPr lang="en-US"/>
              <a:t>Click to edit Master title style</a:t>
            </a:r>
            <a:endParaRPr lang="en-GB"/>
          </a:p>
        </p:txBody>
      </p:sp>
      <p:sp>
        <p:nvSpPr>
          <p:cNvPr id="3" name="Content Placeholder 2"/>
          <p:cNvSpPr>
            <a:spLocks noGrp="1"/>
          </p:cNvSpPr>
          <p:nvPr>
            <p:ph idx="1"/>
          </p:nvPr>
        </p:nvSpPr>
        <p:spPr>
          <a:xfrm>
            <a:off x="2014331" y="1460808"/>
            <a:ext cx="4748432" cy="1108985"/>
          </a:xfrm>
          <a:prstGeom prst="rect">
            <a:avLst/>
          </a:prstGeom>
        </p:spPr>
        <p:txBody>
          <a:bodyPr lIns="0" tIns="0" rIns="0" bIns="0"/>
          <a:lstStyle>
            <a:lvl1pPr marL="0" indent="0">
              <a:spcBef>
                <a:spcPts val="0"/>
              </a:spcBef>
              <a:buFont typeface="Arial" panose="020B0604020202020204" pitchFamily="34" charset="0"/>
              <a:buNone/>
              <a:defRPr sz="1542" b="1">
                <a:solidFill>
                  <a:schemeClr val="tx1"/>
                </a:solidFill>
                <a:latin typeface="EYInterstate" panose="02000503020000020004" pitchFamily="2" charset="0"/>
              </a:defRPr>
            </a:lvl1pPr>
            <a:lvl2pPr marL="0" indent="0">
              <a:spcBef>
                <a:spcPts val="0"/>
              </a:spcBef>
              <a:spcAft>
                <a:spcPts val="331"/>
              </a:spcAft>
              <a:buFont typeface="Wingdings 3" panose="05040102010807070707" pitchFamily="18" charset="2"/>
              <a:buNone/>
              <a:defRPr i="1">
                <a:solidFill>
                  <a:schemeClr val="tx1"/>
                </a:solidFill>
                <a:latin typeface="EYInterstate" panose="02000503020000020004" pitchFamily="2" charset="0"/>
              </a:defRPr>
            </a:lvl2pPr>
            <a:lvl3pPr marL="0" indent="0">
              <a:spcBef>
                <a:spcPts val="0"/>
              </a:spcBef>
              <a:buFont typeface="Wingdings 3" panose="05040102010807070707" pitchFamily="18" charset="2"/>
              <a:buNone/>
              <a:defRPr sz="1101">
                <a:solidFill>
                  <a:schemeClr val="tx1"/>
                </a:solidFill>
                <a:latin typeface="EYInterstate Light" panose="02000506000000020004" pitchFamily="2" charset="0"/>
              </a:defRPr>
            </a:lvl3pPr>
            <a:lvl4pPr marL="0" indent="0">
              <a:spcBef>
                <a:spcPts val="0"/>
              </a:spcBef>
              <a:buFont typeface="Wingdings 3" panose="05040102010807070707" pitchFamily="18" charset="2"/>
              <a:buNone/>
              <a:defRPr sz="1101">
                <a:solidFill>
                  <a:schemeClr val="tx1"/>
                </a:solidFill>
                <a:latin typeface="EYInterstate Light" panose="02000506000000020004" pitchFamily="2" charset="0"/>
              </a:defRPr>
            </a:lvl4pPr>
            <a:lvl5pPr marL="0" indent="0">
              <a:spcBef>
                <a:spcPts val="0"/>
              </a:spcBef>
              <a:buFont typeface="Wingdings 3" panose="05040102010807070707" pitchFamily="18" charset="2"/>
              <a:buNone/>
              <a:defRPr sz="1101">
                <a:solidFill>
                  <a:schemeClr val="tx1"/>
                </a:solidFill>
                <a:latin typeface="EYInterstate Light" panose="02000506000000020004"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Picture Placeholder 7"/>
          <p:cNvSpPr>
            <a:spLocks noGrp="1"/>
          </p:cNvSpPr>
          <p:nvPr>
            <p:ph type="pic" sz="quarter" idx="10"/>
          </p:nvPr>
        </p:nvSpPr>
        <p:spPr>
          <a:xfrm>
            <a:off x="996318" y="1460808"/>
            <a:ext cx="906927" cy="1108985"/>
          </a:xfrm>
          <a:prstGeom prst="rect">
            <a:avLst/>
          </a:prstGeom>
          <a:solidFill>
            <a:schemeClr val="tx2"/>
          </a:solidFill>
        </p:spPr>
        <p:txBody>
          <a:bodyPr/>
          <a:lstStyle>
            <a:lvl1pPr>
              <a:defRPr>
                <a:latin typeface="EYInterstate Light" panose="02000506000000020004" pitchFamily="2" charset="0"/>
              </a:defRPr>
            </a:lvl1pPr>
          </a:lstStyle>
          <a:p>
            <a:endParaRPr lang="en-US"/>
          </a:p>
        </p:txBody>
      </p:sp>
      <p:sp>
        <p:nvSpPr>
          <p:cNvPr id="10" name="Content Placeholder 2"/>
          <p:cNvSpPr>
            <a:spLocks noGrp="1"/>
          </p:cNvSpPr>
          <p:nvPr>
            <p:ph idx="11"/>
          </p:nvPr>
        </p:nvSpPr>
        <p:spPr>
          <a:xfrm>
            <a:off x="885233" y="2925611"/>
            <a:ext cx="6070670" cy="4341603"/>
          </a:xfrm>
          <a:prstGeom prst="rect">
            <a:avLst/>
          </a:prstGeom>
        </p:spPr>
        <p:txBody>
          <a:bodyPr lIns="0" tIns="0" rIns="0" bIns="0"/>
          <a:lstStyle>
            <a:lvl1pPr marL="0" indent="0">
              <a:spcBef>
                <a:spcPts val="1101"/>
              </a:spcBef>
              <a:spcAft>
                <a:spcPts val="0"/>
              </a:spcAft>
              <a:buFont typeface="Arial" panose="020B0604020202020204" pitchFamily="34" charset="0"/>
              <a:buNone/>
              <a:defRPr sz="1101" b="1">
                <a:solidFill>
                  <a:schemeClr val="tx2"/>
                </a:solidFill>
                <a:latin typeface="EYInterstate" panose="02000503020000020004" pitchFamily="2" charset="0"/>
              </a:defRPr>
            </a:lvl1pPr>
            <a:lvl2pPr marL="0" indent="0">
              <a:spcBef>
                <a:spcPts val="331"/>
              </a:spcBef>
              <a:spcAft>
                <a:spcPts val="0"/>
              </a:spcAft>
              <a:buFont typeface="Wingdings 3" panose="05040102010807070707" pitchFamily="18" charset="2"/>
              <a:buNone/>
              <a:defRPr sz="1101" i="0">
                <a:solidFill>
                  <a:schemeClr val="tx2"/>
                </a:solidFill>
                <a:latin typeface="EYInterstate Light" panose="02000506000000020004" pitchFamily="2" charset="0"/>
              </a:defRPr>
            </a:lvl2pPr>
            <a:lvl3pPr marL="188929" indent="-188929">
              <a:spcBef>
                <a:spcPts val="165"/>
              </a:spcBef>
              <a:spcAft>
                <a:spcPts val="0"/>
              </a:spcAft>
              <a:buFont typeface="Wingdings 3" panose="05040102010807070707" pitchFamily="18" charset="2"/>
              <a:buChar char="u"/>
              <a:defRPr sz="1101" i="0">
                <a:solidFill>
                  <a:schemeClr val="tx2"/>
                </a:solidFill>
                <a:latin typeface="EYInterstate Light" panose="02000506000000020004" pitchFamily="2" charset="0"/>
              </a:defRPr>
            </a:lvl3pPr>
            <a:lvl4pPr marL="377859" indent="-188929">
              <a:spcBef>
                <a:spcPts val="165"/>
              </a:spcBef>
              <a:spcAft>
                <a:spcPts val="0"/>
              </a:spcAft>
              <a:buFont typeface="Wingdings 3" panose="05040102010807070707" pitchFamily="18" charset="2"/>
              <a:buChar char="u"/>
              <a:defRPr sz="1101" i="0">
                <a:solidFill>
                  <a:schemeClr val="tx2"/>
                </a:solidFill>
                <a:latin typeface="EYInterstate Light" panose="02000506000000020004" pitchFamily="2" charset="0"/>
              </a:defRPr>
            </a:lvl4pPr>
            <a:lvl5pPr marL="570286" indent="-188929">
              <a:spcBef>
                <a:spcPts val="165"/>
              </a:spcBef>
              <a:spcAft>
                <a:spcPts val="0"/>
              </a:spcAft>
              <a:buFont typeface="Wingdings 3" panose="05040102010807070707" pitchFamily="18" charset="2"/>
              <a:buChar char="u"/>
              <a:defRPr sz="1101" i="0">
                <a:solidFill>
                  <a:schemeClr val="tx2"/>
                </a:solidFill>
                <a:latin typeface="EYInterstate Light" panose="02000506000000020004"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Rectangle 10"/>
          <p:cNvSpPr/>
          <p:nvPr userDrawn="1"/>
        </p:nvSpPr>
        <p:spPr>
          <a:xfrm>
            <a:off x="7076620" y="1347753"/>
            <a:ext cx="6070671" cy="1335095"/>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322">
              <a:solidFill>
                <a:schemeClr val="tx1"/>
              </a:solidFill>
              <a:latin typeface="EYInterstate Light" panose="02000506000000020004" pitchFamily="2" charset="0"/>
            </a:endParaRPr>
          </a:p>
        </p:txBody>
      </p:sp>
      <p:sp>
        <p:nvSpPr>
          <p:cNvPr id="12" name="Content Placeholder 2"/>
          <p:cNvSpPr>
            <a:spLocks noGrp="1"/>
          </p:cNvSpPr>
          <p:nvPr>
            <p:ph idx="12"/>
          </p:nvPr>
        </p:nvSpPr>
        <p:spPr>
          <a:xfrm>
            <a:off x="8205718" y="1460808"/>
            <a:ext cx="4748432" cy="1108985"/>
          </a:xfrm>
          <a:prstGeom prst="rect">
            <a:avLst/>
          </a:prstGeom>
        </p:spPr>
        <p:txBody>
          <a:bodyPr lIns="0" tIns="0" rIns="0" bIns="0"/>
          <a:lstStyle>
            <a:lvl1pPr marL="0" indent="0">
              <a:spcBef>
                <a:spcPts val="0"/>
              </a:spcBef>
              <a:buFont typeface="Arial" panose="020B0604020202020204" pitchFamily="34" charset="0"/>
              <a:buNone/>
              <a:defRPr sz="1542" b="1">
                <a:solidFill>
                  <a:schemeClr val="tx1"/>
                </a:solidFill>
                <a:latin typeface="EYInterstate" panose="02000503020000020004" pitchFamily="2" charset="0"/>
              </a:defRPr>
            </a:lvl1pPr>
            <a:lvl2pPr marL="0" indent="0">
              <a:spcBef>
                <a:spcPts val="0"/>
              </a:spcBef>
              <a:spcAft>
                <a:spcPts val="331"/>
              </a:spcAft>
              <a:buFont typeface="Wingdings 3" panose="05040102010807070707" pitchFamily="18" charset="2"/>
              <a:buNone/>
              <a:defRPr i="1">
                <a:solidFill>
                  <a:schemeClr val="tx1"/>
                </a:solidFill>
                <a:latin typeface="EYInterstate" panose="02000503020000020004" pitchFamily="2" charset="0"/>
              </a:defRPr>
            </a:lvl2pPr>
            <a:lvl3pPr marL="0" indent="0">
              <a:spcBef>
                <a:spcPts val="0"/>
              </a:spcBef>
              <a:buFont typeface="Wingdings 3" panose="05040102010807070707" pitchFamily="18" charset="2"/>
              <a:buNone/>
              <a:defRPr sz="1101">
                <a:solidFill>
                  <a:schemeClr val="tx1"/>
                </a:solidFill>
                <a:latin typeface="EYInterstate Light" panose="02000506000000020004" pitchFamily="2" charset="0"/>
              </a:defRPr>
            </a:lvl3pPr>
            <a:lvl4pPr marL="0" indent="0">
              <a:spcBef>
                <a:spcPts val="0"/>
              </a:spcBef>
              <a:buFont typeface="Wingdings 3" panose="05040102010807070707" pitchFamily="18" charset="2"/>
              <a:buNone/>
              <a:defRPr sz="1101">
                <a:solidFill>
                  <a:schemeClr val="tx1"/>
                </a:solidFill>
                <a:latin typeface="EYInterstate Light" panose="02000506000000020004" pitchFamily="2" charset="0"/>
              </a:defRPr>
            </a:lvl4pPr>
            <a:lvl5pPr marL="0" indent="0">
              <a:spcBef>
                <a:spcPts val="0"/>
              </a:spcBef>
              <a:buFont typeface="Wingdings 3" panose="05040102010807070707" pitchFamily="18" charset="2"/>
              <a:buNone/>
              <a:defRPr sz="1101">
                <a:solidFill>
                  <a:schemeClr val="tx1"/>
                </a:solidFill>
                <a:latin typeface="EYInterstate Light" panose="02000506000000020004"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Picture Placeholder 7"/>
          <p:cNvSpPr>
            <a:spLocks noGrp="1"/>
          </p:cNvSpPr>
          <p:nvPr>
            <p:ph type="pic" sz="quarter" idx="13"/>
          </p:nvPr>
        </p:nvSpPr>
        <p:spPr>
          <a:xfrm>
            <a:off x="7187705" y="1460808"/>
            <a:ext cx="906927" cy="1108985"/>
          </a:xfrm>
          <a:prstGeom prst="rect">
            <a:avLst/>
          </a:prstGeom>
          <a:solidFill>
            <a:schemeClr val="tx2"/>
          </a:solidFill>
        </p:spPr>
        <p:txBody>
          <a:bodyPr/>
          <a:lstStyle>
            <a:lvl1pPr>
              <a:defRPr>
                <a:latin typeface="EYInterstate Light" panose="02000506000000020004" pitchFamily="2" charset="0"/>
              </a:defRPr>
            </a:lvl1pPr>
          </a:lstStyle>
          <a:p>
            <a:endParaRPr lang="en-US"/>
          </a:p>
        </p:txBody>
      </p:sp>
      <p:sp>
        <p:nvSpPr>
          <p:cNvPr id="14" name="Content Placeholder 2"/>
          <p:cNvSpPr>
            <a:spLocks noGrp="1"/>
          </p:cNvSpPr>
          <p:nvPr>
            <p:ph idx="14"/>
          </p:nvPr>
        </p:nvSpPr>
        <p:spPr>
          <a:xfrm>
            <a:off x="7076619" y="2925611"/>
            <a:ext cx="6070670" cy="4341603"/>
          </a:xfrm>
          <a:prstGeom prst="rect">
            <a:avLst/>
          </a:prstGeom>
        </p:spPr>
        <p:txBody>
          <a:bodyPr lIns="0" tIns="0" rIns="0" bIns="0"/>
          <a:lstStyle>
            <a:lvl1pPr marL="0" indent="0">
              <a:spcBef>
                <a:spcPts val="1101"/>
              </a:spcBef>
              <a:spcAft>
                <a:spcPts val="0"/>
              </a:spcAft>
              <a:buFont typeface="Arial" panose="020B0604020202020204" pitchFamily="34" charset="0"/>
              <a:buNone/>
              <a:defRPr sz="1101" b="1">
                <a:solidFill>
                  <a:schemeClr val="tx2"/>
                </a:solidFill>
                <a:latin typeface="EYInterstate" panose="02000503020000020004" pitchFamily="2" charset="0"/>
              </a:defRPr>
            </a:lvl1pPr>
            <a:lvl2pPr marL="0" indent="0">
              <a:spcBef>
                <a:spcPts val="331"/>
              </a:spcBef>
              <a:spcAft>
                <a:spcPts val="0"/>
              </a:spcAft>
              <a:buFont typeface="Wingdings 3" panose="05040102010807070707" pitchFamily="18" charset="2"/>
              <a:buNone/>
              <a:defRPr sz="1101" i="0">
                <a:solidFill>
                  <a:schemeClr val="tx2"/>
                </a:solidFill>
                <a:latin typeface="EYInterstate Light" panose="02000506000000020004" pitchFamily="2" charset="0"/>
              </a:defRPr>
            </a:lvl2pPr>
            <a:lvl3pPr marL="188929" indent="-188929">
              <a:spcBef>
                <a:spcPts val="165"/>
              </a:spcBef>
              <a:spcAft>
                <a:spcPts val="0"/>
              </a:spcAft>
              <a:buFont typeface="Wingdings 3" panose="05040102010807070707" pitchFamily="18" charset="2"/>
              <a:buChar char="u"/>
              <a:defRPr sz="1101" i="0">
                <a:solidFill>
                  <a:schemeClr val="tx2"/>
                </a:solidFill>
                <a:latin typeface="EYInterstate Light" panose="02000506000000020004" pitchFamily="2" charset="0"/>
              </a:defRPr>
            </a:lvl3pPr>
            <a:lvl4pPr marL="377859" indent="-188929">
              <a:spcBef>
                <a:spcPts val="165"/>
              </a:spcBef>
              <a:spcAft>
                <a:spcPts val="0"/>
              </a:spcAft>
              <a:buFont typeface="Wingdings 3" panose="05040102010807070707" pitchFamily="18" charset="2"/>
              <a:buChar char="u"/>
              <a:defRPr sz="1101" i="0">
                <a:solidFill>
                  <a:schemeClr val="tx2"/>
                </a:solidFill>
                <a:latin typeface="EYInterstate Light" panose="02000506000000020004" pitchFamily="2" charset="0"/>
              </a:defRPr>
            </a:lvl4pPr>
            <a:lvl5pPr marL="570286" indent="-188929">
              <a:spcBef>
                <a:spcPts val="165"/>
              </a:spcBef>
              <a:spcAft>
                <a:spcPts val="0"/>
              </a:spcAft>
              <a:buFont typeface="Wingdings 3" panose="05040102010807070707" pitchFamily="18" charset="2"/>
              <a:buChar char="u"/>
              <a:defRPr sz="1101" i="0">
                <a:solidFill>
                  <a:schemeClr val="tx2"/>
                </a:solidFill>
                <a:latin typeface="EYInterstate Light" panose="02000506000000020004"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Rectangle 14">
            <a:extLst>
              <a:ext uri="{FF2B5EF4-FFF2-40B4-BE49-F238E27FC236}">
                <a16:creationId xmlns:a16="http://schemas.microsoft.com/office/drawing/2014/main" id="{435A19E3-1051-423C-9EC7-B2898B8DDC07}"/>
              </a:ext>
            </a:extLst>
          </p:cNvPr>
          <p:cNvSpPr/>
          <p:nvPr userDrawn="1"/>
        </p:nvSpPr>
        <p:spPr>
          <a:xfrm>
            <a:off x="339400" y="336056"/>
            <a:ext cx="215838" cy="6931158"/>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319">
              <a:solidFill>
                <a:schemeClr val="tx1"/>
              </a:solidFill>
              <a:latin typeface="EYInterstate Light" panose="02000506000000020004" pitchFamily="2" charset="0"/>
            </a:endParaRPr>
          </a:p>
        </p:txBody>
      </p:sp>
    </p:spTree>
    <p:extLst>
      <p:ext uri="{BB962C8B-B14F-4D97-AF65-F5344CB8AC3E}">
        <p14:creationId xmlns:p14="http://schemas.microsoft.com/office/powerpoint/2010/main" val="360525852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20_Blank">
    <p:bg>
      <p:bgPr>
        <a:solidFill>
          <a:srgbClr val="00000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9421367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21_Blank">
    <p:bg>
      <p:bgPr>
        <a:solidFill>
          <a:srgbClr val="FFFFFF"/>
        </a:solidFill>
        <a:effectLst/>
      </p:bgPr>
    </p:bg>
    <p:spTree>
      <p:nvGrpSpPr>
        <p:cNvPr id="1" name=""/>
        <p:cNvGrpSpPr/>
        <p:nvPr/>
      </p:nvGrpSpPr>
      <p:grpSpPr>
        <a:xfrm>
          <a:off x="0" y="0"/>
          <a:ext cx="0" cy="0"/>
          <a:chOff x="0" y="0"/>
          <a:chExt cx="0" cy="0"/>
        </a:xfrm>
      </p:grpSpPr>
      <p:sp>
        <p:nvSpPr>
          <p:cNvPr id="2" name="object 24">
            <a:extLst>
              <a:ext uri="{FF2B5EF4-FFF2-40B4-BE49-F238E27FC236}">
                <a16:creationId xmlns:a16="http://schemas.microsoft.com/office/drawing/2014/main" id="{7D064815-00CF-4206-9D8D-B7AB7404FDCD}"/>
              </a:ext>
            </a:extLst>
          </p:cNvPr>
          <p:cNvSpPr/>
          <p:nvPr userDrawn="1"/>
        </p:nvSpPr>
        <p:spPr>
          <a:xfrm>
            <a:off x="12180540" y="7223884"/>
            <a:ext cx="0" cy="158767"/>
          </a:xfrm>
          <a:custGeom>
            <a:avLst/>
            <a:gdLst/>
            <a:ahLst/>
            <a:cxnLst/>
            <a:rect l="l" t="t" r="r" b="b"/>
            <a:pathLst>
              <a:path h="342900">
                <a:moveTo>
                  <a:pt x="0" y="0"/>
                </a:moveTo>
                <a:lnTo>
                  <a:pt x="0" y="342900"/>
                </a:lnTo>
              </a:path>
            </a:pathLst>
          </a:custGeom>
          <a:ln w="3175">
            <a:solidFill>
              <a:srgbClr val="333333"/>
            </a:solidFill>
          </a:ln>
        </p:spPr>
        <p:txBody>
          <a:bodyPr wrap="square" lIns="0" tIns="0" rIns="0" bIns="0" rtlCol="0" anchor="ctr"/>
          <a:lstStyle/>
          <a:p>
            <a:pPr defTabSz="776497"/>
            <a:endParaRPr sz="1490" b="1">
              <a:solidFill>
                <a:srgbClr val="000000"/>
              </a:solidFill>
              <a:cs typeface="EYInterstate Light"/>
            </a:endParaRPr>
          </a:p>
        </p:txBody>
      </p:sp>
      <p:sp>
        <p:nvSpPr>
          <p:cNvPr id="3" name="object 24">
            <a:extLst>
              <a:ext uri="{FF2B5EF4-FFF2-40B4-BE49-F238E27FC236}">
                <a16:creationId xmlns:a16="http://schemas.microsoft.com/office/drawing/2014/main" id="{B2F778B5-18AC-4B67-B819-315D7B49061B}"/>
              </a:ext>
            </a:extLst>
          </p:cNvPr>
          <p:cNvSpPr/>
          <p:nvPr userDrawn="1"/>
        </p:nvSpPr>
        <p:spPr>
          <a:xfrm>
            <a:off x="12522865" y="7223884"/>
            <a:ext cx="0" cy="158767"/>
          </a:xfrm>
          <a:custGeom>
            <a:avLst/>
            <a:gdLst/>
            <a:ahLst/>
            <a:cxnLst/>
            <a:rect l="l" t="t" r="r" b="b"/>
            <a:pathLst>
              <a:path h="342900">
                <a:moveTo>
                  <a:pt x="0" y="0"/>
                </a:moveTo>
                <a:lnTo>
                  <a:pt x="0" y="342900"/>
                </a:lnTo>
              </a:path>
            </a:pathLst>
          </a:custGeom>
          <a:ln w="3175">
            <a:solidFill>
              <a:srgbClr val="333333"/>
            </a:solidFill>
          </a:ln>
        </p:spPr>
        <p:txBody>
          <a:bodyPr wrap="square" lIns="0" tIns="0" rIns="0" bIns="0" rtlCol="0" anchor="ctr"/>
          <a:lstStyle/>
          <a:p>
            <a:pPr defTabSz="776497"/>
            <a:endParaRPr sz="1490" b="1">
              <a:solidFill>
                <a:srgbClr val="000000"/>
              </a:solidFill>
              <a:cs typeface="EYInterstate Light"/>
            </a:endParaRPr>
          </a:p>
        </p:txBody>
      </p:sp>
      <p:pic>
        <p:nvPicPr>
          <p:cNvPr id="4" name="Picture 3">
            <a:extLst>
              <a:ext uri="{FF2B5EF4-FFF2-40B4-BE49-F238E27FC236}">
                <a16:creationId xmlns:a16="http://schemas.microsoft.com/office/drawing/2014/main" id="{32F7B077-950C-45A9-9DBC-21B0A2782DC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2697040" y="7239761"/>
            <a:ext cx="210544" cy="127013"/>
          </a:xfrm>
          <a:prstGeom prst="rect">
            <a:avLst/>
          </a:prstGeom>
        </p:spPr>
      </p:pic>
      <p:sp>
        <p:nvSpPr>
          <p:cNvPr id="5" name="object 27">
            <a:extLst>
              <a:ext uri="{FF2B5EF4-FFF2-40B4-BE49-F238E27FC236}">
                <a16:creationId xmlns:a16="http://schemas.microsoft.com/office/drawing/2014/main" id="{6ECCEA56-1346-43E5-9682-6F7FAAD49679}"/>
              </a:ext>
            </a:extLst>
          </p:cNvPr>
          <p:cNvSpPr txBox="1">
            <a:spLocks/>
          </p:cNvSpPr>
          <p:nvPr userDrawn="1"/>
        </p:nvSpPr>
        <p:spPr>
          <a:xfrm>
            <a:off x="12285596" y="7243876"/>
            <a:ext cx="139141" cy="118622"/>
          </a:xfrm>
          <a:prstGeom prst="rect">
            <a:avLst/>
          </a:prstGeom>
        </p:spPr>
        <p:txBody>
          <a:bodyPr wrap="none" lIns="0" tIns="0" rIns="0" bIns="0" anchor="b" anchorCtr="0">
            <a:spAutoFit/>
          </a:bodyPr>
          <a:lstStyle>
            <a:defPPr>
              <a:defRPr lang="en-US"/>
            </a:defPPr>
            <a:lvl1pPr marL="0" algn="ctr" defTabSz="910035" rtl="0" eaLnBrk="1" latinLnBrk="0" hangingPunct="1">
              <a:defRPr lang="en-US" sz="1000" b="0" i="0" kern="1200" smtClean="0">
                <a:solidFill>
                  <a:srgbClr val="6F7072"/>
                </a:solidFill>
                <a:latin typeface="EYInterstate Light"/>
                <a:ea typeface="+mn-ea"/>
                <a:cs typeface="EYInterstate Light"/>
              </a:defRPr>
            </a:lvl1pPr>
            <a:lvl2pPr marL="455018" algn="l" defTabSz="910035" rtl="0" eaLnBrk="1" latinLnBrk="0" hangingPunct="1">
              <a:defRPr sz="1800" kern="1200">
                <a:solidFill>
                  <a:schemeClr val="tx1"/>
                </a:solidFill>
                <a:latin typeface="+mn-lt"/>
                <a:ea typeface="+mn-ea"/>
                <a:cs typeface="+mn-cs"/>
              </a:defRPr>
            </a:lvl2pPr>
            <a:lvl3pPr marL="910035" algn="l" defTabSz="910035" rtl="0" eaLnBrk="1" latinLnBrk="0" hangingPunct="1">
              <a:defRPr sz="1800" kern="1200">
                <a:solidFill>
                  <a:schemeClr val="tx1"/>
                </a:solidFill>
                <a:latin typeface="+mn-lt"/>
                <a:ea typeface="+mn-ea"/>
                <a:cs typeface="+mn-cs"/>
              </a:defRPr>
            </a:lvl3pPr>
            <a:lvl4pPr marL="1365047" algn="l" defTabSz="910035" rtl="0" eaLnBrk="1" latinLnBrk="0" hangingPunct="1">
              <a:defRPr sz="1800" kern="1200">
                <a:solidFill>
                  <a:schemeClr val="tx1"/>
                </a:solidFill>
                <a:latin typeface="+mn-lt"/>
                <a:ea typeface="+mn-ea"/>
                <a:cs typeface="+mn-cs"/>
              </a:defRPr>
            </a:lvl4pPr>
            <a:lvl5pPr marL="1820062" algn="l" defTabSz="910035" rtl="0" eaLnBrk="1" latinLnBrk="0" hangingPunct="1">
              <a:defRPr sz="1800" kern="1200">
                <a:solidFill>
                  <a:schemeClr val="tx1"/>
                </a:solidFill>
                <a:latin typeface="+mn-lt"/>
                <a:ea typeface="+mn-ea"/>
                <a:cs typeface="+mn-cs"/>
              </a:defRPr>
            </a:lvl5pPr>
            <a:lvl6pPr marL="2275080" algn="l" defTabSz="910035" rtl="0" eaLnBrk="1" latinLnBrk="0" hangingPunct="1">
              <a:defRPr sz="1800" kern="1200">
                <a:solidFill>
                  <a:schemeClr val="tx1"/>
                </a:solidFill>
                <a:latin typeface="+mn-lt"/>
                <a:ea typeface="+mn-ea"/>
                <a:cs typeface="+mn-cs"/>
              </a:defRPr>
            </a:lvl6pPr>
            <a:lvl7pPr marL="2730097" algn="l" defTabSz="910035" rtl="0" eaLnBrk="1" latinLnBrk="0" hangingPunct="1">
              <a:defRPr sz="1800" kern="1200">
                <a:solidFill>
                  <a:schemeClr val="tx1"/>
                </a:solidFill>
                <a:latin typeface="+mn-lt"/>
                <a:ea typeface="+mn-ea"/>
                <a:cs typeface="+mn-cs"/>
              </a:defRPr>
            </a:lvl7pPr>
            <a:lvl8pPr marL="3185114" algn="l" defTabSz="910035" rtl="0" eaLnBrk="1" latinLnBrk="0" hangingPunct="1">
              <a:defRPr sz="1800" kern="1200">
                <a:solidFill>
                  <a:schemeClr val="tx1"/>
                </a:solidFill>
                <a:latin typeface="+mn-lt"/>
                <a:ea typeface="+mn-ea"/>
                <a:cs typeface="+mn-cs"/>
              </a:defRPr>
            </a:lvl8pPr>
            <a:lvl9pPr marL="3640125" algn="l" defTabSz="910035" rtl="0" eaLnBrk="1" latinLnBrk="0" hangingPunct="1">
              <a:defRPr sz="1800" kern="1200">
                <a:solidFill>
                  <a:schemeClr val="tx1"/>
                </a:solidFill>
                <a:latin typeface="+mn-lt"/>
                <a:ea typeface="+mn-ea"/>
                <a:cs typeface="+mn-cs"/>
              </a:defRPr>
            </a:lvl9pPr>
          </a:lstStyle>
          <a:p>
            <a:pPr marL="0" marR="4326">
              <a:spcBef>
                <a:spcPts val="0"/>
              </a:spcBef>
              <a:spcAft>
                <a:spcPts val="0"/>
              </a:spcAft>
            </a:pPr>
            <a:fld id="{81D60167-4931-47E6-BA6A-407CBD079E47}" type="slidenum">
              <a:rPr sz="771" b="0" i="0">
                <a:solidFill>
                  <a:schemeClr val="tx2"/>
                </a:solidFill>
                <a:latin typeface="EYInterstate" panose="02000503020000020004" pitchFamily="2" charset="0"/>
              </a:rPr>
              <a:pPr marL="0" marR="4326">
                <a:spcBef>
                  <a:spcPts val="0"/>
                </a:spcBef>
                <a:spcAft>
                  <a:spcPts val="0"/>
                </a:spcAft>
              </a:pPr>
              <a:t>‹#›</a:t>
            </a:fld>
            <a:endParaRPr sz="771" b="0" i="0">
              <a:solidFill>
                <a:schemeClr val="tx2"/>
              </a:solidFill>
              <a:latin typeface="EYInterstate" panose="02000503020000020004" pitchFamily="2" charset="0"/>
            </a:endParaRPr>
          </a:p>
        </p:txBody>
      </p:sp>
      <p:sp>
        <p:nvSpPr>
          <p:cNvPr id="6" name="Text Placeholder 8">
            <a:extLst>
              <a:ext uri="{FF2B5EF4-FFF2-40B4-BE49-F238E27FC236}">
                <a16:creationId xmlns:a16="http://schemas.microsoft.com/office/drawing/2014/main" id="{934C1116-97BA-447E-AD62-3419EC3D9CAE}"/>
              </a:ext>
            </a:extLst>
          </p:cNvPr>
          <p:cNvSpPr txBox="1">
            <a:spLocks/>
          </p:cNvSpPr>
          <p:nvPr userDrawn="1"/>
        </p:nvSpPr>
        <p:spPr>
          <a:xfrm>
            <a:off x="714208" y="7243876"/>
            <a:ext cx="2069156" cy="118622"/>
          </a:xfrm>
          <a:prstGeom prst="rect">
            <a:avLst/>
          </a:prstGeom>
        </p:spPr>
        <p:txBody>
          <a:bodyPr wrap="none" lIns="0" tIns="0" rIns="0" bIns="0" anchor="b" anchorCtr="0">
            <a:spAutoFit/>
          </a:bodyPr>
          <a:lstStyle>
            <a:lvl1pPr marL="293827" indent="-293827" algn="l" defTabSz="829271" rtl="0" eaLnBrk="1" latinLnBrk="0" hangingPunct="1">
              <a:spcBef>
                <a:spcPct val="20000"/>
              </a:spcBef>
              <a:buClr>
                <a:srgbClr val="FFD200"/>
              </a:buClr>
              <a:buSzPct val="70000"/>
              <a:buFontTx/>
              <a:buNone/>
              <a:defRPr lang="en-SG" sz="700" b="0" i="0" kern="1200" dirty="0" smtClean="0">
                <a:solidFill>
                  <a:schemeClr val="accent4"/>
                </a:solidFill>
                <a:latin typeface="EYInterstate Light" panose="02000506000000020004" pitchFamily="2" charset="0"/>
                <a:ea typeface="+mn-ea"/>
                <a:cs typeface="EYInterstate Light"/>
              </a:defRPr>
            </a:lvl1pPr>
            <a:lvl2pPr marL="587677" indent="-293827" algn="l" defTabSz="829271" rtl="0" eaLnBrk="1" latinLnBrk="0" hangingPunct="1">
              <a:spcBef>
                <a:spcPct val="20000"/>
              </a:spcBef>
              <a:buClr>
                <a:srgbClr val="FFD200"/>
              </a:buClr>
              <a:buSzPct val="70000"/>
              <a:buFont typeface="Arial" pitchFamily="34" charset="0"/>
              <a:buChar char="►"/>
              <a:defRPr sz="1453" kern="1200">
                <a:solidFill>
                  <a:schemeClr val="accent1"/>
                </a:solidFill>
                <a:latin typeface="+mn-lt"/>
                <a:ea typeface="+mn-ea"/>
                <a:cs typeface="+mn-cs"/>
              </a:defRPr>
            </a:lvl2pPr>
            <a:lvl3pPr marL="881504" indent="-293827" algn="l" defTabSz="829271" rtl="0" eaLnBrk="1" latinLnBrk="0" hangingPunct="1">
              <a:spcBef>
                <a:spcPct val="20000"/>
              </a:spcBef>
              <a:buClr>
                <a:srgbClr val="FFD200"/>
              </a:buClr>
              <a:buSzPct val="70000"/>
              <a:buFont typeface="Arial" pitchFamily="34" charset="0"/>
              <a:buChar char="►"/>
              <a:defRPr sz="1308" kern="1200">
                <a:solidFill>
                  <a:schemeClr val="accent1"/>
                </a:solidFill>
                <a:latin typeface="+mn-lt"/>
                <a:ea typeface="+mn-ea"/>
                <a:cs typeface="+mn-cs"/>
              </a:defRPr>
            </a:lvl3pPr>
            <a:lvl4pPr marL="1175344" indent="-293827" algn="l" defTabSz="829271" rtl="0" eaLnBrk="1" latinLnBrk="0" hangingPunct="1">
              <a:spcBef>
                <a:spcPct val="20000"/>
              </a:spcBef>
              <a:buClr>
                <a:srgbClr val="FFD200"/>
              </a:buClr>
              <a:buSzPct val="70000"/>
              <a:buFont typeface="Arial" pitchFamily="34" charset="0"/>
              <a:buChar char="►"/>
              <a:defRPr sz="1090" kern="1200">
                <a:solidFill>
                  <a:schemeClr val="accent1"/>
                </a:solidFill>
                <a:latin typeface="+mn-lt"/>
                <a:ea typeface="+mn-ea"/>
                <a:cs typeface="+mn-cs"/>
              </a:defRPr>
            </a:lvl4pPr>
            <a:lvl5pPr marL="1469185" indent="-293827" algn="l" defTabSz="829271" rtl="0" eaLnBrk="1" latinLnBrk="0" hangingPunct="1">
              <a:spcBef>
                <a:spcPct val="20000"/>
              </a:spcBef>
              <a:buClr>
                <a:srgbClr val="FFD200"/>
              </a:buClr>
              <a:buSzPct val="70000"/>
              <a:buFont typeface="Arial" pitchFamily="34" charset="0"/>
              <a:buChar char="►"/>
              <a:defRPr sz="1090" kern="1200">
                <a:solidFill>
                  <a:schemeClr val="accent1"/>
                </a:solidFill>
                <a:latin typeface="+mn-lt"/>
                <a:ea typeface="+mn-ea"/>
                <a:cs typeface="+mn-cs"/>
              </a:defRPr>
            </a:lvl5pPr>
            <a:lvl6pPr marL="2280497" indent="-207295" algn="l" defTabSz="829271" rtl="0" eaLnBrk="1" latinLnBrk="0" hangingPunct="1">
              <a:spcBef>
                <a:spcPct val="20000"/>
              </a:spcBef>
              <a:buFont typeface="Arial" pitchFamily="34" charset="0"/>
              <a:buChar char="•"/>
              <a:defRPr sz="1817" kern="1200">
                <a:solidFill>
                  <a:schemeClr val="tx1"/>
                </a:solidFill>
                <a:latin typeface="+mn-lt"/>
                <a:ea typeface="+mn-ea"/>
                <a:cs typeface="+mn-cs"/>
              </a:defRPr>
            </a:lvl6pPr>
            <a:lvl7pPr marL="2695135" indent="-207295" algn="l" defTabSz="829271" rtl="0" eaLnBrk="1" latinLnBrk="0" hangingPunct="1">
              <a:spcBef>
                <a:spcPct val="20000"/>
              </a:spcBef>
              <a:buFont typeface="Arial" pitchFamily="34" charset="0"/>
              <a:buChar char="•"/>
              <a:defRPr sz="1817" kern="1200">
                <a:solidFill>
                  <a:schemeClr val="tx1"/>
                </a:solidFill>
                <a:latin typeface="+mn-lt"/>
                <a:ea typeface="+mn-ea"/>
                <a:cs typeface="+mn-cs"/>
              </a:defRPr>
            </a:lvl7pPr>
            <a:lvl8pPr marL="3109766" indent="-207295" algn="l" defTabSz="829271" rtl="0" eaLnBrk="1" latinLnBrk="0" hangingPunct="1">
              <a:spcBef>
                <a:spcPct val="20000"/>
              </a:spcBef>
              <a:buFont typeface="Arial" pitchFamily="34" charset="0"/>
              <a:buChar char="•"/>
              <a:defRPr sz="1817" kern="1200">
                <a:solidFill>
                  <a:schemeClr val="tx1"/>
                </a:solidFill>
                <a:latin typeface="+mn-lt"/>
                <a:ea typeface="+mn-ea"/>
                <a:cs typeface="+mn-cs"/>
              </a:defRPr>
            </a:lvl8pPr>
            <a:lvl9pPr marL="3524401" indent="-207295" algn="l" defTabSz="829271" rtl="0" eaLnBrk="1" latinLnBrk="0" hangingPunct="1">
              <a:spcBef>
                <a:spcPct val="20000"/>
              </a:spcBef>
              <a:buFont typeface="Arial" pitchFamily="34" charset="0"/>
              <a:buChar char="•"/>
              <a:defRPr sz="1817" kern="1200">
                <a:solidFill>
                  <a:schemeClr val="tx1"/>
                </a:solidFill>
                <a:latin typeface="+mn-lt"/>
                <a:ea typeface="+mn-ea"/>
                <a:cs typeface="+mn-cs"/>
              </a:defRPr>
            </a:lvl9pPr>
          </a:lstStyle>
          <a:p>
            <a:pPr marL="0" marR="4326" indent="0" algn="l" defTabSz="1002859">
              <a:spcBef>
                <a:spcPts val="0"/>
              </a:spcBef>
            </a:pPr>
            <a:r>
              <a:rPr lang="en-US" sz="771" b="0" i="0">
                <a:solidFill>
                  <a:schemeClr val="tx2"/>
                </a:solidFill>
                <a:latin typeface="EYInterstate" panose="02000503020000020004" pitchFamily="2" charset="0"/>
              </a:rPr>
              <a:t>©️ 2019  Ernst &amp; Young. All Rights Reserved.</a:t>
            </a:r>
          </a:p>
        </p:txBody>
      </p:sp>
    </p:spTree>
    <p:extLst>
      <p:ext uri="{BB962C8B-B14F-4D97-AF65-F5344CB8AC3E}">
        <p14:creationId xmlns:p14="http://schemas.microsoft.com/office/powerpoint/2010/main" val="167293241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7" name="object 24">
            <a:extLst>
              <a:ext uri="{FF2B5EF4-FFF2-40B4-BE49-F238E27FC236}">
                <a16:creationId xmlns:a16="http://schemas.microsoft.com/office/drawing/2014/main" id="{E8A247BD-C858-4273-A77E-9D5C3860CE1E}"/>
              </a:ext>
            </a:extLst>
          </p:cNvPr>
          <p:cNvSpPr/>
          <p:nvPr userDrawn="1"/>
        </p:nvSpPr>
        <p:spPr>
          <a:xfrm>
            <a:off x="12180540" y="7223884"/>
            <a:ext cx="0" cy="158767"/>
          </a:xfrm>
          <a:custGeom>
            <a:avLst/>
            <a:gdLst/>
            <a:ahLst/>
            <a:cxnLst/>
            <a:rect l="l" t="t" r="r" b="b"/>
            <a:pathLst>
              <a:path h="342900">
                <a:moveTo>
                  <a:pt x="0" y="0"/>
                </a:moveTo>
                <a:lnTo>
                  <a:pt x="0" y="342900"/>
                </a:lnTo>
              </a:path>
            </a:pathLst>
          </a:custGeom>
          <a:ln w="3175">
            <a:solidFill>
              <a:srgbClr val="333333"/>
            </a:solidFill>
          </a:ln>
        </p:spPr>
        <p:txBody>
          <a:bodyPr wrap="square" lIns="0" tIns="0" rIns="0" bIns="0" rtlCol="0" anchor="ctr"/>
          <a:lstStyle/>
          <a:p>
            <a:pPr defTabSz="776497"/>
            <a:endParaRPr sz="1490" b="1">
              <a:solidFill>
                <a:srgbClr val="000000"/>
              </a:solidFill>
              <a:cs typeface="EYInterstate Light"/>
            </a:endParaRPr>
          </a:p>
        </p:txBody>
      </p:sp>
      <p:sp>
        <p:nvSpPr>
          <p:cNvPr id="8" name="object 24">
            <a:extLst>
              <a:ext uri="{FF2B5EF4-FFF2-40B4-BE49-F238E27FC236}">
                <a16:creationId xmlns:a16="http://schemas.microsoft.com/office/drawing/2014/main" id="{563A04DE-2C90-4FA2-B00E-0C591C60D2B7}"/>
              </a:ext>
            </a:extLst>
          </p:cNvPr>
          <p:cNvSpPr/>
          <p:nvPr userDrawn="1"/>
        </p:nvSpPr>
        <p:spPr>
          <a:xfrm>
            <a:off x="12522865" y="7223884"/>
            <a:ext cx="0" cy="158767"/>
          </a:xfrm>
          <a:custGeom>
            <a:avLst/>
            <a:gdLst/>
            <a:ahLst/>
            <a:cxnLst/>
            <a:rect l="l" t="t" r="r" b="b"/>
            <a:pathLst>
              <a:path h="342900">
                <a:moveTo>
                  <a:pt x="0" y="0"/>
                </a:moveTo>
                <a:lnTo>
                  <a:pt x="0" y="342900"/>
                </a:lnTo>
              </a:path>
            </a:pathLst>
          </a:custGeom>
          <a:ln w="3175">
            <a:solidFill>
              <a:srgbClr val="333333"/>
            </a:solidFill>
          </a:ln>
        </p:spPr>
        <p:txBody>
          <a:bodyPr wrap="square" lIns="0" tIns="0" rIns="0" bIns="0" rtlCol="0" anchor="ctr"/>
          <a:lstStyle/>
          <a:p>
            <a:pPr defTabSz="776497"/>
            <a:endParaRPr sz="1490" b="1">
              <a:solidFill>
                <a:srgbClr val="000000"/>
              </a:solidFill>
              <a:cs typeface="EYInterstate Light"/>
            </a:endParaRPr>
          </a:p>
        </p:txBody>
      </p:sp>
      <p:pic>
        <p:nvPicPr>
          <p:cNvPr id="9" name="Picture 8">
            <a:extLst>
              <a:ext uri="{FF2B5EF4-FFF2-40B4-BE49-F238E27FC236}">
                <a16:creationId xmlns:a16="http://schemas.microsoft.com/office/drawing/2014/main" id="{AA4ECDD0-65E4-4316-B4D9-23E722A475F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2697040" y="7239761"/>
            <a:ext cx="210544" cy="127013"/>
          </a:xfrm>
          <a:prstGeom prst="rect">
            <a:avLst/>
          </a:prstGeom>
        </p:spPr>
      </p:pic>
      <p:sp>
        <p:nvSpPr>
          <p:cNvPr id="10" name="object 27">
            <a:extLst>
              <a:ext uri="{FF2B5EF4-FFF2-40B4-BE49-F238E27FC236}">
                <a16:creationId xmlns:a16="http://schemas.microsoft.com/office/drawing/2014/main" id="{BFF3F334-0253-43D6-8D1F-E7EB570415B5}"/>
              </a:ext>
            </a:extLst>
          </p:cNvPr>
          <p:cNvSpPr txBox="1">
            <a:spLocks/>
          </p:cNvSpPr>
          <p:nvPr userDrawn="1"/>
        </p:nvSpPr>
        <p:spPr>
          <a:xfrm>
            <a:off x="12285596" y="7243876"/>
            <a:ext cx="139141" cy="118622"/>
          </a:xfrm>
          <a:prstGeom prst="rect">
            <a:avLst/>
          </a:prstGeom>
        </p:spPr>
        <p:txBody>
          <a:bodyPr wrap="none" lIns="0" tIns="0" rIns="0" bIns="0" anchor="b" anchorCtr="0">
            <a:spAutoFit/>
          </a:bodyPr>
          <a:lstStyle>
            <a:defPPr>
              <a:defRPr lang="en-US"/>
            </a:defPPr>
            <a:lvl1pPr marL="0" algn="ctr" defTabSz="910035" rtl="0" eaLnBrk="1" latinLnBrk="0" hangingPunct="1">
              <a:defRPr lang="en-US" sz="1000" b="0" i="0" kern="1200" smtClean="0">
                <a:solidFill>
                  <a:srgbClr val="6F7072"/>
                </a:solidFill>
                <a:latin typeface="EYInterstate Light"/>
                <a:ea typeface="+mn-ea"/>
                <a:cs typeface="EYInterstate Light"/>
              </a:defRPr>
            </a:lvl1pPr>
            <a:lvl2pPr marL="455018" algn="l" defTabSz="910035" rtl="0" eaLnBrk="1" latinLnBrk="0" hangingPunct="1">
              <a:defRPr sz="1800" kern="1200">
                <a:solidFill>
                  <a:schemeClr val="tx1"/>
                </a:solidFill>
                <a:latin typeface="+mn-lt"/>
                <a:ea typeface="+mn-ea"/>
                <a:cs typeface="+mn-cs"/>
              </a:defRPr>
            </a:lvl2pPr>
            <a:lvl3pPr marL="910035" algn="l" defTabSz="910035" rtl="0" eaLnBrk="1" latinLnBrk="0" hangingPunct="1">
              <a:defRPr sz="1800" kern="1200">
                <a:solidFill>
                  <a:schemeClr val="tx1"/>
                </a:solidFill>
                <a:latin typeface="+mn-lt"/>
                <a:ea typeface="+mn-ea"/>
                <a:cs typeface="+mn-cs"/>
              </a:defRPr>
            </a:lvl3pPr>
            <a:lvl4pPr marL="1365047" algn="l" defTabSz="910035" rtl="0" eaLnBrk="1" latinLnBrk="0" hangingPunct="1">
              <a:defRPr sz="1800" kern="1200">
                <a:solidFill>
                  <a:schemeClr val="tx1"/>
                </a:solidFill>
                <a:latin typeface="+mn-lt"/>
                <a:ea typeface="+mn-ea"/>
                <a:cs typeface="+mn-cs"/>
              </a:defRPr>
            </a:lvl4pPr>
            <a:lvl5pPr marL="1820062" algn="l" defTabSz="910035" rtl="0" eaLnBrk="1" latinLnBrk="0" hangingPunct="1">
              <a:defRPr sz="1800" kern="1200">
                <a:solidFill>
                  <a:schemeClr val="tx1"/>
                </a:solidFill>
                <a:latin typeface="+mn-lt"/>
                <a:ea typeface="+mn-ea"/>
                <a:cs typeface="+mn-cs"/>
              </a:defRPr>
            </a:lvl5pPr>
            <a:lvl6pPr marL="2275080" algn="l" defTabSz="910035" rtl="0" eaLnBrk="1" latinLnBrk="0" hangingPunct="1">
              <a:defRPr sz="1800" kern="1200">
                <a:solidFill>
                  <a:schemeClr val="tx1"/>
                </a:solidFill>
                <a:latin typeface="+mn-lt"/>
                <a:ea typeface="+mn-ea"/>
                <a:cs typeface="+mn-cs"/>
              </a:defRPr>
            </a:lvl6pPr>
            <a:lvl7pPr marL="2730097" algn="l" defTabSz="910035" rtl="0" eaLnBrk="1" latinLnBrk="0" hangingPunct="1">
              <a:defRPr sz="1800" kern="1200">
                <a:solidFill>
                  <a:schemeClr val="tx1"/>
                </a:solidFill>
                <a:latin typeface="+mn-lt"/>
                <a:ea typeface="+mn-ea"/>
                <a:cs typeface="+mn-cs"/>
              </a:defRPr>
            </a:lvl7pPr>
            <a:lvl8pPr marL="3185114" algn="l" defTabSz="910035" rtl="0" eaLnBrk="1" latinLnBrk="0" hangingPunct="1">
              <a:defRPr sz="1800" kern="1200">
                <a:solidFill>
                  <a:schemeClr val="tx1"/>
                </a:solidFill>
                <a:latin typeface="+mn-lt"/>
                <a:ea typeface="+mn-ea"/>
                <a:cs typeface="+mn-cs"/>
              </a:defRPr>
            </a:lvl8pPr>
            <a:lvl9pPr marL="3640125" algn="l" defTabSz="910035" rtl="0" eaLnBrk="1" latinLnBrk="0" hangingPunct="1">
              <a:defRPr sz="1800" kern="1200">
                <a:solidFill>
                  <a:schemeClr val="tx1"/>
                </a:solidFill>
                <a:latin typeface="+mn-lt"/>
                <a:ea typeface="+mn-ea"/>
                <a:cs typeface="+mn-cs"/>
              </a:defRPr>
            </a:lvl9pPr>
          </a:lstStyle>
          <a:p>
            <a:pPr marL="0" marR="4326">
              <a:spcBef>
                <a:spcPts val="0"/>
              </a:spcBef>
              <a:spcAft>
                <a:spcPts val="0"/>
              </a:spcAft>
            </a:pPr>
            <a:fld id="{81D60167-4931-47E6-BA6A-407CBD079E47}" type="slidenum">
              <a:rPr sz="771" b="0" i="0">
                <a:solidFill>
                  <a:schemeClr val="tx2"/>
                </a:solidFill>
                <a:latin typeface="EYInterstate" panose="02000503020000020004" pitchFamily="2" charset="0"/>
              </a:rPr>
              <a:pPr marL="0" marR="4326">
                <a:spcBef>
                  <a:spcPts val="0"/>
                </a:spcBef>
                <a:spcAft>
                  <a:spcPts val="0"/>
                </a:spcAft>
              </a:pPr>
              <a:t>‹#›</a:t>
            </a:fld>
            <a:endParaRPr sz="771" b="0" i="0">
              <a:solidFill>
                <a:schemeClr val="tx2"/>
              </a:solidFill>
              <a:latin typeface="EYInterstate" panose="02000503020000020004" pitchFamily="2" charset="0"/>
            </a:endParaRPr>
          </a:p>
        </p:txBody>
      </p:sp>
      <p:sp>
        <p:nvSpPr>
          <p:cNvPr id="11" name="Text Placeholder 8">
            <a:extLst>
              <a:ext uri="{FF2B5EF4-FFF2-40B4-BE49-F238E27FC236}">
                <a16:creationId xmlns:a16="http://schemas.microsoft.com/office/drawing/2014/main" id="{87268409-6E4A-478F-BCBB-1122EA50F9BC}"/>
              </a:ext>
            </a:extLst>
          </p:cNvPr>
          <p:cNvSpPr txBox="1">
            <a:spLocks/>
          </p:cNvSpPr>
          <p:nvPr userDrawn="1"/>
        </p:nvSpPr>
        <p:spPr>
          <a:xfrm>
            <a:off x="714208" y="7243876"/>
            <a:ext cx="2069156" cy="118622"/>
          </a:xfrm>
          <a:prstGeom prst="rect">
            <a:avLst/>
          </a:prstGeom>
        </p:spPr>
        <p:txBody>
          <a:bodyPr wrap="none" lIns="0" tIns="0" rIns="0" bIns="0" anchor="b" anchorCtr="0">
            <a:spAutoFit/>
          </a:bodyPr>
          <a:lstStyle>
            <a:lvl1pPr marL="293827" indent="-293827" algn="l" defTabSz="829271" rtl="0" eaLnBrk="1" latinLnBrk="0" hangingPunct="1">
              <a:spcBef>
                <a:spcPct val="20000"/>
              </a:spcBef>
              <a:buClr>
                <a:srgbClr val="FFD200"/>
              </a:buClr>
              <a:buSzPct val="70000"/>
              <a:buFontTx/>
              <a:buNone/>
              <a:defRPr lang="en-SG" sz="700" b="0" i="0" kern="1200" dirty="0" smtClean="0">
                <a:solidFill>
                  <a:schemeClr val="accent4"/>
                </a:solidFill>
                <a:latin typeface="EYInterstate Light" panose="02000506000000020004" pitchFamily="2" charset="0"/>
                <a:ea typeface="+mn-ea"/>
                <a:cs typeface="EYInterstate Light"/>
              </a:defRPr>
            </a:lvl1pPr>
            <a:lvl2pPr marL="587677" indent="-293827" algn="l" defTabSz="829271" rtl="0" eaLnBrk="1" latinLnBrk="0" hangingPunct="1">
              <a:spcBef>
                <a:spcPct val="20000"/>
              </a:spcBef>
              <a:buClr>
                <a:srgbClr val="FFD200"/>
              </a:buClr>
              <a:buSzPct val="70000"/>
              <a:buFont typeface="Arial" pitchFamily="34" charset="0"/>
              <a:buChar char="►"/>
              <a:defRPr sz="1453" kern="1200">
                <a:solidFill>
                  <a:schemeClr val="accent1"/>
                </a:solidFill>
                <a:latin typeface="+mn-lt"/>
                <a:ea typeface="+mn-ea"/>
                <a:cs typeface="+mn-cs"/>
              </a:defRPr>
            </a:lvl2pPr>
            <a:lvl3pPr marL="881504" indent="-293827" algn="l" defTabSz="829271" rtl="0" eaLnBrk="1" latinLnBrk="0" hangingPunct="1">
              <a:spcBef>
                <a:spcPct val="20000"/>
              </a:spcBef>
              <a:buClr>
                <a:srgbClr val="FFD200"/>
              </a:buClr>
              <a:buSzPct val="70000"/>
              <a:buFont typeface="Arial" pitchFamily="34" charset="0"/>
              <a:buChar char="►"/>
              <a:defRPr sz="1308" kern="1200">
                <a:solidFill>
                  <a:schemeClr val="accent1"/>
                </a:solidFill>
                <a:latin typeface="+mn-lt"/>
                <a:ea typeface="+mn-ea"/>
                <a:cs typeface="+mn-cs"/>
              </a:defRPr>
            </a:lvl3pPr>
            <a:lvl4pPr marL="1175344" indent="-293827" algn="l" defTabSz="829271" rtl="0" eaLnBrk="1" latinLnBrk="0" hangingPunct="1">
              <a:spcBef>
                <a:spcPct val="20000"/>
              </a:spcBef>
              <a:buClr>
                <a:srgbClr val="FFD200"/>
              </a:buClr>
              <a:buSzPct val="70000"/>
              <a:buFont typeface="Arial" pitchFamily="34" charset="0"/>
              <a:buChar char="►"/>
              <a:defRPr sz="1090" kern="1200">
                <a:solidFill>
                  <a:schemeClr val="accent1"/>
                </a:solidFill>
                <a:latin typeface="+mn-lt"/>
                <a:ea typeface="+mn-ea"/>
                <a:cs typeface="+mn-cs"/>
              </a:defRPr>
            </a:lvl4pPr>
            <a:lvl5pPr marL="1469185" indent="-293827" algn="l" defTabSz="829271" rtl="0" eaLnBrk="1" latinLnBrk="0" hangingPunct="1">
              <a:spcBef>
                <a:spcPct val="20000"/>
              </a:spcBef>
              <a:buClr>
                <a:srgbClr val="FFD200"/>
              </a:buClr>
              <a:buSzPct val="70000"/>
              <a:buFont typeface="Arial" pitchFamily="34" charset="0"/>
              <a:buChar char="►"/>
              <a:defRPr sz="1090" kern="1200">
                <a:solidFill>
                  <a:schemeClr val="accent1"/>
                </a:solidFill>
                <a:latin typeface="+mn-lt"/>
                <a:ea typeface="+mn-ea"/>
                <a:cs typeface="+mn-cs"/>
              </a:defRPr>
            </a:lvl5pPr>
            <a:lvl6pPr marL="2280497" indent="-207295" algn="l" defTabSz="829271" rtl="0" eaLnBrk="1" latinLnBrk="0" hangingPunct="1">
              <a:spcBef>
                <a:spcPct val="20000"/>
              </a:spcBef>
              <a:buFont typeface="Arial" pitchFamily="34" charset="0"/>
              <a:buChar char="•"/>
              <a:defRPr sz="1817" kern="1200">
                <a:solidFill>
                  <a:schemeClr val="tx1"/>
                </a:solidFill>
                <a:latin typeface="+mn-lt"/>
                <a:ea typeface="+mn-ea"/>
                <a:cs typeface="+mn-cs"/>
              </a:defRPr>
            </a:lvl6pPr>
            <a:lvl7pPr marL="2695135" indent="-207295" algn="l" defTabSz="829271" rtl="0" eaLnBrk="1" latinLnBrk="0" hangingPunct="1">
              <a:spcBef>
                <a:spcPct val="20000"/>
              </a:spcBef>
              <a:buFont typeface="Arial" pitchFamily="34" charset="0"/>
              <a:buChar char="•"/>
              <a:defRPr sz="1817" kern="1200">
                <a:solidFill>
                  <a:schemeClr val="tx1"/>
                </a:solidFill>
                <a:latin typeface="+mn-lt"/>
                <a:ea typeface="+mn-ea"/>
                <a:cs typeface="+mn-cs"/>
              </a:defRPr>
            </a:lvl7pPr>
            <a:lvl8pPr marL="3109766" indent="-207295" algn="l" defTabSz="829271" rtl="0" eaLnBrk="1" latinLnBrk="0" hangingPunct="1">
              <a:spcBef>
                <a:spcPct val="20000"/>
              </a:spcBef>
              <a:buFont typeface="Arial" pitchFamily="34" charset="0"/>
              <a:buChar char="•"/>
              <a:defRPr sz="1817" kern="1200">
                <a:solidFill>
                  <a:schemeClr val="tx1"/>
                </a:solidFill>
                <a:latin typeface="+mn-lt"/>
                <a:ea typeface="+mn-ea"/>
                <a:cs typeface="+mn-cs"/>
              </a:defRPr>
            </a:lvl8pPr>
            <a:lvl9pPr marL="3524401" indent="-207295" algn="l" defTabSz="829271" rtl="0" eaLnBrk="1" latinLnBrk="0" hangingPunct="1">
              <a:spcBef>
                <a:spcPct val="20000"/>
              </a:spcBef>
              <a:buFont typeface="Arial" pitchFamily="34" charset="0"/>
              <a:buChar char="•"/>
              <a:defRPr sz="1817" kern="1200">
                <a:solidFill>
                  <a:schemeClr val="tx1"/>
                </a:solidFill>
                <a:latin typeface="+mn-lt"/>
                <a:ea typeface="+mn-ea"/>
                <a:cs typeface="+mn-cs"/>
              </a:defRPr>
            </a:lvl9pPr>
          </a:lstStyle>
          <a:p>
            <a:pPr marL="0" marR="4326" indent="0" algn="l" defTabSz="1002859">
              <a:spcBef>
                <a:spcPts val="0"/>
              </a:spcBef>
            </a:pPr>
            <a:r>
              <a:rPr lang="en-US" sz="771" b="0" i="0">
                <a:solidFill>
                  <a:schemeClr val="tx2"/>
                </a:solidFill>
                <a:latin typeface="EYInterstate" panose="02000503020000020004" pitchFamily="2" charset="0"/>
              </a:rPr>
              <a:t>©️ 2019  Ernst &amp; Young. All Rights Reserved.</a:t>
            </a:r>
          </a:p>
        </p:txBody>
      </p:sp>
    </p:spTree>
    <p:extLst>
      <p:ext uri="{BB962C8B-B14F-4D97-AF65-F5344CB8AC3E}">
        <p14:creationId xmlns:p14="http://schemas.microsoft.com/office/powerpoint/2010/main" val="253924262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sp>
        <p:nvSpPr>
          <p:cNvPr id="7" name="object 24">
            <a:extLst>
              <a:ext uri="{FF2B5EF4-FFF2-40B4-BE49-F238E27FC236}">
                <a16:creationId xmlns:a16="http://schemas.microsoft.com/office/drawing/2014/main" id="{6580C67A-F719-43A3-85C6-0F2098ED806B}"/>
              </a:ext>
            </a:extLst>
          </p:cNvPr>
          <p:cNvSpPr/>
          <p:nvPr userDrawn="1"/>
        </p:nvSpPr>
        <p:spPr>
          <a:xfrm>
            <a:off x="12180540" y="7223884"/>
            <a:ext cx="0" cy="158767"/>
          </a:xfrm>
          <a:custGeom>
            <a:avLst/>
            <a:gdLst/>
            <a:ahLst/>
            <a:cxnLst/>
            <a:rect l="l" t="t" r="r" b="b"/>
            <a:pathLst>
              <a:path h="342900">
                <a:moveTo>
                  <a:pt x="0" y="0"/>
                </a:moveTo>
                <a:lnTo>
                  <a:pt x="0" y="342900"/>
                </a:lnTo>
              </a:path>
            </a:pathLst>
          </a:custGeom>
          <a:ln w="3175">
            <a:solidFill>
              <a:srgbClr val="333333"/>
            </a:solidFill>
          </a:ln>
        </p:spPr>
        <p:txBody>
          <a:bodyPr wrap="square" lIns="0" tIns="0" rIns="0" bIns="0" rtlCol="0" anchor="ctr"/>
          <a:lstStyle/>
          <a:p>
            <a:pPr defTabSz="776497"/>
            <a:endParaRPr sz="1490" b="1">
              <a:solidFill>
                <a:srgbClr val="000000"/>
              </a:solidFill>
              <a:cs typeface="EYInterstate Light"/>
            </a:endParaRPr>
          </a:p>
        </p:txBody>
      </p:sp>
      <p:sp>
        <p:nvSpPr>
          <p:cNvPr id="8" name="object 24">
            <a:extLst>
              <a:ext uri="{FF2B5EF4-FFF2-40B4-BE49-F238E27FC236}">
                <a16:creationId xmlns:a16="http://schemas.microsoft.com/office/drawing/2014/main" id="{561EF903-D5EA-466A-9CE6-BEFF60C7DF15}"/>
              </a:ext>
            </a:extLst>
          </p:cNvPr>
          <p:cNvSpPr/>
          <p:nvPr userDrawn="1"/>
        </p:nvSpPr>
        <p:spPr>
          <a:xfrm>
            <a:off x="12522865" y="7223884"/>
            <a:ext cx="0" cy="158767"/>
          </a:xfrm>
          <a:custGeom>
            <a:avLst/>
            <a:gdLst/>
            <a:ahLst/>
            <a:cxnLst/>
            <a:rect l="l" t="t" r="r" b="b"/>
            <a:pathLst>
              <a:path h="342900">
                <a:moveTo>
                  <a:pt x="0" y="0"/>
                </a:moveTo>
                <a:lnTo>
                  <a:pt x="0" y="342900"/>
                </a:lnTo>
              </a:path>
            </a:pathLst>
          </a:custGeom>
          <a:ln w="3175">
            <a:solidFill>
              <a:srgbClr val="333333"/>
            </a:solidFill>
          </a:ln>
        </p:spPr>
        <p:txBody>
          <a:bodyPr wrap="square" lIns="0" tIns="0" rIns="0" bIns="0" rtlCol="0" anchor="ctr"/>
          <a:lstStyle/>
          <a:p>
            <a:pPr defTabSz="776497"/>
            <a:endParaRPr sz="1490" b="1">
              <a:solidFill>
                <a:srgbClr val="000000"/>
              </a:solidFill>
              <a:cs typeface="EYInterstate Light"/>
            </a:endParaRPr>
          </a:p>
        </p:txBody>
      </p:sp>
      <p:pic>
        <p:nvPicPr>
          <p:cNvPr id="9" name="Picture 8">
            <a:extLst>
              <a:ext uri="{FF2B5EF4-FFF2-40B4-BE49-F238E27FC236}">
                <a16:creationId xmlns:a16="http://schemas.microsoft.com/office/drawing/2014/main" id="{43B69B57-6C3B-4034-92B8-68F11AD6749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2697040" y="7239761"/>
            <a:ext cx="210544" cy="127013"/>
          </a:xfrm>
          <a:prstGeom prst="rect">
            <a:avLst/>
          </a:prstGeom>
        </p:spPr>
      </p:pic>
      <p:sp>
        <p:nvSpPr>
          <p:cNvPr id="10" name="object 27">
            <a:extLst>
              <a:ext uri="{FF2B5EF4-FFF2-40B4-BE49-F238E27FC236}">
                <a16:creationId xmlns:a16="http://schemas.microsoft.com/office/drawing/2014/main" id="{45294E80-31A1-4E02-99EB-3739DE19F289}"/>
              </a:ext>
            </a:extLst>
          </p:cNvPr>
          <p:cNvSpPr txBox="1">
            <a:spLocks/>
          </p:cNvSpPr>
          <p:nvPr userDrawn="1"/>
        </p:nvSpPr>
        <p:spPr>
          <a:xfrm>
            <a:off x="12285596" y="7243876"/>
            <a:ext cx="139141" cy="118622"/>
          </a:xfrm>
          <a:prstGeom prst="rect">
            <a:avLst/>
          </a:prstGeom>
        </p:spPr>
        <p:txBody>
          <a:bodyPr wrap="none" lIns="0" tIns="0" rIns="0" bIns="0" anchor="b" anchorCtr="0">
            <a:spAutoFit/>
          </a:bodyPr>
          <a:lstStyle>
            <a:defPPr>
              <a:defRPr lang="en-US"/>
            </a:defPPr>
            <a:lvl1pPr marL="0" algn="ctr" defTabSz="910035" rtl="0" eaLnBrk="1" latinLnBrk="0" hangingPunct="1">
              <a:defRPr lang="en-US" sz="1000" b="0" i="0" kern="1200" smtClean="0">
                <a:solidFill>
                  <a:srgbClr val="6F7072"/>
                </a:solidFill>
                <a:latin typeface="EYInterstate Light"/>
                <a:ea typeface="+mn-ea"/>
                <a:cs typeface="EYInterstate Light"/>
              </a:defRPr>
            </a:lvl1pPr>
            <a:lvl2pPr marL="455018" algn="l" defTabSz="910035" rtl="0" eaLnBrk="1" latinLnBrk="0" hangingPunct="1">
              <a:defRPr sz="1800" kern="1200">
                <a:solidFill>
                  <a:schemeClr val="tx1"/>
                </a:solidFill>
                <a:latin typeface="+mn-lt"/>
                <a:ea typeface="+mn-ea"/>
                <a:cs typeface="+mn-cs"/>
              </a:defRPr>
            </a:lvl2pPr>
            <a:lvl3pPr marL="910035" algn="l" defTabSz="910035" rtl="0" eaLnBrk="1" latinLnBrk="0" hangingPunct="1">
              <a:defRPr sz="1800" kern="1200">
                <a:solidFill>
                  <a:schemeClr val="tx1"/>
                </a:solidFill>
                <a:latin typeface="+mn-lt"/>
                <a:ea typeface="+mn-ea"/>
                <a:cs typeface="+mn-cs"/>
              </a:defRPr>
            </a:lvl3pPr>
            <a:lvl4pPr marL="1365047" algn="l" defTabSz="910035" rtl="0" eaLnBrk="1" latinLnBrk="0" hangingPunct="1">
              <a:defRPr sz="1800" kern="1200">
                <a:solidFill>
                  <a:schemeClr val="tx1"/>
                </a:solidFill>
                <a:latin typeface="+mn-lt"/>
                <a:ea typeface="+mn-ea"/>
                <a:cs typeface="+mn-cs"/>
              </a:defRPr>
            </a:lvl4pPr>
            <a:lvl5pPr marL="1820062" algn="l" defTabSz="910035" rtl="0" eaLnBrk="1" latinLnBrk="0" hangingPunct="1">
              <a:defRPr sz="1800" kern="1200">
                <a:solidFill>
                  <a:schemeClr val="tx1"/>
                </a:solidFill>
                <a:latin typeface="+mn-lt"/>
                <a:ea typeface="+mn-ea"/>
                <a:cs typeface="+mn-cs"/>
              </a:defRPr>
            </a:lvl5pPr>
            <a:lvl6pPr marL="2275080" algn="l" defTabSz="910035" rtl="0" eaLnBrk="1" latinLnBrk="0" hangingPunct="1">
              <a:defRPr sz="1800" kern="1200">
                <a:solidFill>
                  <a:schemeClr val="tx1"/>
                </a:solidFill>
                <a:latin typeface="+mn-lt"/>
                <a:ea typeface="+mn-ea"/>
                <a:cs typeface="+mn-cs"/>
              </a:defRPr>
            </a:lvl6pPr>
            <a:lvl7pPr marL="2730097" algn="l" defTabSz="910035" rtl="0" eaLnBrk="1" latinLnBrk="0" hangingPunct="1">
              <a:defRPr sz="1800" kern="1200">
                <a:solidFill>
                  <a:schemeClr val="tx1"/>
                </a:solidFill>
                <a:latin typeface="+mn-lt"/>
                <a:ea typeface="+mn-ea"/>
                <a:cs typeface="+mn-cs"/>
              </a:defRPr>
            </a:lvl7pPr>
            <a:lvl8pPr marL="3185114" algn="l" defTabSz="910035" rtl="0" eaLnBrk="1" latinLnBrk="0" hangingPunct="1">
              <a:defRPr sz="1800" kern="1200">
                <a:solidFill>
                  <a:schemeClr val="tx1"/>
                </a:solidFill>
                <a:latin typeface="+mn-lt"/>
                <a:ea typeface="+mn-ea"/>
                <a:cs typeface="+mn-cs"/>
              </a:defRPr>
            </a:lvl8pPr>
            <a:lvl9pPr marL="3640125" algn="l" defTabSz="910035" rtl="0" eaLnBrk="1" latinLnBrk="0" hangingPunct="1">
              <a:defRPr sz="1800" kern="1200">
                <a:solidFill>
                  <a:schemeClr val="tx1"/>
                </a:solidFill>
                <a:latin typeface="+mn-lt"/>
                <a:ea typeface="+mn-ea"/>
                <a:cs typeface="+mn-cs"/>
              </a:defRPr>
            </a:lvl9pPr>
          </a:lstStyle>
          <a:p>
            <a:pPr marL="0" marR="4326">
              <a:spcBef>
                <a:spcPts val="0"/>
              </a:spcBef>
              <a:spcAft>
                <a:spcPts val="0"/>
              </a:spcAft>
            </a:pPr>
            <a:fld id="{81D60167-4931-47E6-BA6A-407CBD079E47}" type="slidenum">
              <a:rPr sz="771" b="0" i="0">
                <a:solidFill>
                  <a:schemeClr val="tx2"/>
                </a:solidFill>
                <a:latin typeface="EYInterstate" panose="02000503020000020004" pitchFamily="2" charset="0"/>
              </a:rPr>
              <a:pPr marL="0" marR="4326">
                <a:spcBef>
                  <a:spcPts val="0"/>
                </a:spcBef>
                <a:spcAft>
                  <a:spcPts val="0"/>
                </a:spcAft>
              </a:pPr>
              <a:t>‹#›</a:t>
            </a:fld>
            <a:endParaRPr sz="771" b="0" i="0">
              <a:solidFill>
                <a:schemeClr val="tx2"/>
              </a:solidFill>
              <a:latin typeface="EYInterstate" panose="02000503020000020004" pitchFamily="2" charset="0"/>
            </a:endParaRPr>
          </a:p>
        </p:txBody>
      </p:sp>
      <p:sp>
        <p:nvSpPr>
          <p:cNvPr id="11" name="Text Placeholder 8">
            <a:extLst>
              <a:ext uri="{FF2B5EF4-FFF2-40B4-BE49-F238E27FC236}">
                <a16:creationId xmlns:a16="http://schemas.microsoft.com/office/drawing/2014/main" id="{C7597F76-358A-46DD-AA5F-6CBD9666E58B}"/>
              </a:ext>
            </a:extLst>
          </p:cNvPr>
          <p:cNvSpPr txBox="1">
            <a:spLocks/>
          </p:cNvSpPr>
          <p:nvPr userDrawn="1"/>
        </p:nvSpPr>
        <p:spPr>
          <a:xfrm>
            <a:off x="714208" y="7243876"/>
            <a:ext cx="2069156" cy="118622"/>
          </a:xfrm>
          <a:prstGeom prst="rect">
            <a:avLst/>
          </a:prstGeom>
        </p:spPr>
        <p:txBody>
          <a:bodyPr wrap="none" lIns="0" tIns="0" rIns="0" bIns="0" anchor="b" anchorCtr="0">
            <a:spAutoFit/>
          </a:bodyPr>
          <a:lstStyle>
            <a:lvl1pPr marL="293827" indent="-293827" algn="l" defTabSz="829271" rtl="0" eaLnBrk="1" latinLnBrk="0" hangingPunct="1">
              <a:spcBef>
                <a:spcPct val="20000"/>
              </a:spcBef>
              <a:buClr>
                <a:srgbClr val="FFD200"/>
              </a:buClr>
              <a:buSzPct val="70000"/>
              <a:buFontTx/>
              <a:buNone/>
              <a:defRPr lang="en-SG" sz="700" b="0" i="0" kern="1200" dirty="0" smtClean="0">
                <a:solidFill>
                  <a:schemeClr val="accent4"/>
                </a:solidFill>
                <a:latin typeface="EYInterstate Light" panose="02000506000000020004" pitchFamily="2" charset="0"/>
                <a:ea typeface="+mn-ea"/>
                <a:cs typeface="EYInterstate Light"/>
              </a:defRPr>
            </a:lvl1pPr>
            <a:lvl2pPr marL="587677" indent="-293827" algn="l" defTabSz="829271" rtl="0" eaLnBrk="1" latinLnBrk="0" hangingPunct="1">
              <a:spcBef>
                <a:spcPct val="20000"/>
              </a:spcBef>
              <a:buClr>
                <a:srgbClr val="FFD200"/>
              </a:buClr>
              <a:buSzPct val="70000"/>
              <a:buFont typeface="Arial" pitchFamily="34" charset="0"/>
              <a:buChar char="►"/>
              <a:defRPr sz="1453" kern="1200">
                <a:solidFill>
                  <a:schemeClr val="accent1"/>
                </a:solidFill>
                <a:latin typeface="+mn-lt"/>
                <a:ea typeface="+mn-ea"/>
                <a:cs typeface="+mn-cs"/>
              </a:defRPr>
            </a:lvl2pPr>
            <a:lvl3pPr marL="881504" indent="-293827" algn="l" defTabSz="829271" rtl="0" eaLnBrk="1" latinLnBrk="0" hangingPunct="1">
              <a:spcBef>
                <a:spcPct val="20000"/>
              </a:spcBef>
              <a:buClr>
                <a:srgbClr val="FFD200"/>
              </a:buClr>
              <a:buSzPct val="70000"/>
              <a:buFont typeface="Arial" pitchFamily="34" charset="0"/>
              <a:buChar char="►"/>
              <a:defRPr sz="1308" kern="1200">
                <a:solidFill>
                  <a:schemeClr val="accent1"/>
                </a:solidFill>
                <a:latin typeface="+mn-lt"/>
                <a:ea typeface="+mn-ea"/>
                <a:cs typeface="+mn-cs"/>
              </a:defRPr>
            </a:lvl3pPr>
            <a:lvl4pPr marL="1175344" indent="-293827" algn="l" defTabSz="829271" rtl="0" eaLnBrk="1" latinLnBrk="0" hangingPunct="1">
              <a:spcBef>
                <a:spcPct val="20000"/>
              </a:spcBef>
              <a:buClr>
                <a:srgbClr val="FFD200"/>
              </a:buClr>
              <a:buSzPct val="70000"/>
              <a:buFont typeface="Arial" pitchFamily="34" charset="0"/>
              <a:buChar char="►"/>
              <a:defRPr sz="1090" kern="1200">
                <a:solidFill>
                  <a:schemeClr val="accent1"/>
                </a:solidFill>
                <a:latin typeface="+mn-lt"/>
                <a:ea typeface="+mn-ea"/>
                <a:cs typeface="+mn-cs"/>
              </a:defRPr>
            </a:lvl4pPr>
            <a:lvl5pPr marL="1469185" indent="-293827" algn="l" defTabSz="829271" rtl="0" eaLnBrk="1" latinLnBrk="0" hangingPunct="1">
              <a:spcBef>
                <a:spcPct val="20000"/>
              </a:spcBef>
              <a:buClr>
                <a:srgbClr val="FFD200"/>
              </a:buClr>
              <a:buSzPct val="70000"/>
              <a:buFont typeface="Arial" pitchFamily="34" charset="0"/>
              <a:buChar char="►"/>
              <a:defRPr sz="1090" kern="1200">
                <a:solidFill>
                  <a:schemeClr val="accent1"/>
                </a:solidFill>
                <a:latin typeface="+mn-lt"/>
                <a:ea typeface="+mn-ea"/>
                <a:cs typeface="+mn-cs"/>
              </a:defRPr>
            </a:lvl5pPr>
            <a:lvl6pPr marL="2280497" indent="-207295" algn="l" defTabSz="829271" rtl="0" eaLnBrk="1" latinLnBrk="0" hangingPunct="1">
              <a:spcBef>
                <a:spcPct val="20000"/>
              </a:spcBef>
              <a:buFont typeface="Arial" pitchFamily="34" charset="0"/>
              <a:buChar char="•"/>
              <a:defRPr sz="1817" kern="1200">
                <a:solidFill>
                  <a:schemeClr val="tx1"/>
                </a:solidFill>
                <a:latin typeface="+mn-lt"/>
                <a:ea typeface="+mn-ea"/>
                <a:cs typeface="+mn-cs"/>
              </a:defRPr>
            </a:lvl6pPr>
            <a:lvl7pPr marL="2695135" indent="-207295" algn="l" defTabSz="829271" rtl="0" eaLnBrk="1" latinLnBrk="0" hangingPunct="1">
              <a:spcBef>
                <a:spcPct val="20000"/>
              </a:spcBef>
              <a:buFont typeface="Arial" pitchFamily="34" charset="0"/>
              <a:buChar char="•"/>
              <a:defRPr sz="1817" kern="1200">
                <a:solidFill>
                  <a:schemeClr val="tx1"/>
                </a:solidFill>
                <a:latin typeface="+mn-lt"/>
                <a:ea typeface="+mn-ea"/>
                <a:cs typeface="+mn-cs"/>
              </a:defRPr>
            </a:lvl7pPr>
            <a:lvl8pPr marL="3109766" indent="-207295" algn="l" defTabSz="829271" rtl="0" eaLnBrk="1" latinLnBrk="0" hangingPunct="1">
              <a:spcBef>
                <a:spcPct val="20000"/>
              </a:spcBef>
              <a:buFont typeface="Arial" pitchFamily="34" charset="0"/>
              <a:buChar char="•"/>
              <a:defRPr sz="1817" kern="1200">
                <a:solidFill>
                  <a:schemeClr val="tx1"/>
                </a:solidFill>
                <a:latin typeface="+mn-lt"/>
                <a:ea typeface="+mn-ea"/>
                <a:cs typeface="+mn-cs"/>
              </a:defRPr>
            </a:lvl8pPr>
            <a:lvl9pPr marL="3524401" indent="-207295" algn="l" defTabSz="829271" rtl="0" eaLnBrk="1" latinLnBrk="0" hangingPunct="1">
              <a:spcBef>
                <a:spcPct val="20000"/>
              </a:spcBef>
              <a:buFont typeface="Arial" pitchFamily="34" charset="0"/>
              <a:buChar char="•"/>
              <a:defRPr sz="1817" kern="1200">
                <a:solidFill>
                  <a:schemeClr val="tx1"/>
                </a:solidFill>
                <a:latin typeface="+mn-lt"/>
                <a:ea typeface="+mn-ea"/>
                <a:cs typeface="+mn-cs"/>
              </a:defRPr>
            </a:lvl9pPr>
          </a:lstStyle>
          <a:p>
            <a:pPr marL="0" marR="4326" indent="0" algn="l" defTabSz="1002859">
              <a:spcBef>
                <a:spcPts val="0"/>
              </a:spcBef>
            </a:pPr>
            <a:r>
              <a:rPr lang="en-US" sz="771" b="0" i="0">
                <a:solidFill>
                  <a:schemeClr val="tx2"/>
                </a:solidFill>
                <a:latin typeface="EYInterstate" panose="02000503020000020004" pitchFamily="2" charset="0"/>
              </a:rPr>
              <a:t>©️ 2019  Ernst &amp; Young. All Rights Reserved.</a:t>
            </a:r>
          </a:p>
        </p:txBody>
      </p:sp>
    </p:spTree>
    <p:extLst>
      <p:ext uri="{BB962C8B-B14F-4D97-AF65-F5344CB8AC3E}">
        <p14:creationId xmlns:p14="http://schemas.microsoft.com/office/powerpoint/2010/main" val="7435139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
        <p:nvSpPr>
          <p:cNvPr id="4" name="Title 1"/>
          <p:cNvSpPr>
            <a:spLocks noGrp="1"/>
          </p:cNvSpPr>
          <p:nvPr>
            <p:ph type="title"/>
          </p:nvPr>
        </p:nvSpPr>
        <p:spPr>
          <a:xfrm>
            <a:off x="738076" y="577534"/>
            <a:ext cx="11968792" cy="887399"/>
          </a:xfrm>
          <a:prstGeom prst="rect">
            <a:avLst/>
          </a:prstGeom>
        </p:spPr>
        <p:txBody>
          <a:bodyPr lIns="0" tIns="0" rIns="0" bIns="0" anchor="t">
            <a:noAutofit/>
          </a:bodyPr>
          <a:lstStyle>
            <a:lvl1pPr algn="l">
              <a:defRPr sz="1991" b="0">
                <a:solidFill>
                  <a:srgbClr val="000000"/>
                </a:solidFill>
                <a:latin typeface="EYInterstate Light" panose="02000506000000020004" pitchFamily="2" charset="0"/>
                <a:cs typeface="Arial" pitchFamily="34" charset="0"/>
              </a:defRPr>
            </a:lvl1pPr>
          </a:lstStyle>
          <a:p>
            <a:r>
              <a:rPr lang="en-US"/>
              <a:t>Click to edit Master title style</a:t>
            </a:r>
          </a:p>
        </p:txBody>
      </p:sp>
      <p:sp>
        <p:nvSpPr>
          <p:cNvPr id="19" name="Text Placeholder 18"/>
          <p:cNvSpPr>
            <a:spLocks noGrp="1"/>
          </p:cNvSpPr>
          <p:nvPr>
            <p:ph type="body" sz="quarter" idx="10" hasCustomPrompt="1"/>
          </p:nvPr>
        </p:nvSpPr>
        <p:spPr>
          <a:xfrm>
            <a:off x="738074" y="223271"/>
            <a:ext cx="11972622" cy="244860"/>
          </a:xfrm>
          <a:prstGeom prst="rect">
            <a:avLst/>
          </a:prstGeom>
        </p:spPr>
        <p:txBody>
          <a:bodyPr/>
          <a:lstStyle>
            <a:lvl1pPr marL="0" indent="0">
              <a:buNone/>
              <a:defRPr sz="1095" b="1">
                <a:solidFill>
                  <a:schemeClr val="tx1"/>
                </a:solidFill>
                <a:latin typeface="EYInterstate Light" panose="02000506000000020004" pitchFamily="2" charset="0"/>
                <a:cs typeface="Arial" panose="020B0604020202020204" pitchFamily="34" charset="0"/>
              </a:defRPr>
            </a:lvl1pPr>
            <a:lvl2pPr>
              <a:defRPr b="1"/>
            </a:lvl2pPr>
            <a:lvl3pPr>
              <a:defRPr b="1"/>
            </a:lvl3pPr>
            <a:lvl4pPr>
              <a:defRPr b="1"/>
            </a:lvl4pPr>
            <a:lvl5pPr>
              <a:defRPr b="1"/>
            </a:lvl5pPr>
          </a:lstStyle>
          <a:p>
            <a:pPr lvl="0"/>
            <a:r>
              <a:rPr lang="en-US"/>
              <a:t>&lt;XX&gt;  |  &lt;XX&gt;</a:t>
            </a:r>
          </a:p>
        </p:txBody>
      </p:sp>
      <p:sp>
        <p:nvSpPr>
          <p:cNvPr id="12" name="object 24">
            <a:extLst>
              <a:ext uri="{FF2B5EF4-FFF2-40B4-BE49-F238E27FC236}">
                <a16:creationId xmlns:a16="http://schemas.microsoft.com/office/drawing/2014/main" id="{0C3AFD44-4ACC-4A71-8F6D-D28EB8F22D33}"/>
              </a:ext>
            </a:extLst>
          </p:cNvPr>
          <p:cNvSpPr/>
          <p:nvPr userDrawn="1"/>
        </p:nvSpPr>
        <p:spPr>
          <a:xfrm>
            <a:off x="12180540" y="7223884"/>
            <a:ext cx="0" cy="158767"/>
          </a:xfrm>
          <a:custGeom>
            <a:avLst/>
            <a:gdLst/>
            <a:ahLst/>
            <a:cxnLst/>
            <a:rect l="l" t="t" r="r" b="b"/>
            <a:pathLst>
              <a:path h="342900">
                <a:moveTo>
                  <a:pt x="0" y="0"/>
                </a:moveTo>
                <a:lnTo>
                  <a:pt x="0" y="342900"/>
                </a:lnTo>
              </a:path>
            </a:pathLst>
          </a:custGeom>
          <a:ln w="3175">
            <a:solidFill>
              <a:srgbClr val="333333"/>
            </a:solidFill>
          </a:ln>
        </p:spPr>
        <p:txBody>
          <a:bodyPr wrap="square" lIns="0" tIns="0" rIns="0" bIns="0" rtlCol="0" anchor="ctr"/>
          <a:lstStyle/>
          <a:p>
            <a:pPr defTabSz="776497"/>
            <a:endParaRPr sz="1490" b="1">
              <a:solidFill>
                <a:srgbClr val="000000"/>
              </a:solidFill>
              <a:cs typeface="EYInterstate Light"/>
            </a:endParaRPr>
          </a:p>
        </p:txBody>
      </p:sp>
      <p:sp>
        <p:nvSpPr>
          <p:cNvPr id="13" name="object 24">
            <a:extLst>
              <a:ext uri="{FF2B5EF4-FFF2-40B4-BE49-F238E27FC236}">
                <a16:creationId xmlns:a16="http://schemas.microsoft.com/office/drawing/2014/main" id="{AC27F63E-C5F5-4B5C-8E76-7F51304FB3FC}"/>
              </a:ext>
            </a:extLst>
          </p:cNvPr>
          <p:cNvSpPr/>
          <p:nvPr userDrawn="1"/>
        </p:nvSpPr>
        <p:spPr>
          <a:xfrm>
            <a:off x="12522865" y="7223884"/>
            <a:ext cx="0" cy="158767"/>
          </a:xfrm>
          <a:custGeom>
            <a:avLst/>
            <a:gdLst/>
            <a:ahLst/>
            <a:cxnLst/>
            <a:rect l="l" t="t" r="r" b="b"/>
            <a:pathLst>
              <a:path h="342900">
                <a:moveTo>
                  <a:pt x="0" y="0"/>
                </a:moveTo>
                <a:lnTo>
                  <a:pt x="0" y="342900"/>
                </a:lnTo>
              </a:path>
            </a:pathLst>
          </a:custGeom>
          <a:ln w="3175">
            <a:solidFill>
              <a:srgbClr val="333333"/>
            </a:solidFill>
          </a:ln>
        </p:spPr>
        <p:txBody>
          <a:bodyPr wrap="square" lIns="0" tIns="0" rIns="0" bIns="0" rtlCol="0" anchor="ctr"/>
          <a:lstStyle/>
          <a:p>
            <a:pPr defTabSz="776497"/>
            <a:endParaRPr sz="1490" b="1">
              <a:solidFill>
                <a:srgbClr val="000000"/>
              </a:solidFill>
              <a:cs typeface="EYInterstate Light"/>
            </a:endParaRPr>
          </a:p>
        </p:txBody>
      </p:sp>
      <p:pic>
        <p:nvPicPr>
          <p:cNvPr id="14" name="Picture 13">
            <a:extLst>
              <a:ext uri="{FF2B5EF4-FFF2-40B4-BE49-F238E27FC236}">
                <a16:creationId xmlns:a16="http://schemas.microsoft.com/office/drawing/2014/main" id="{13F7DEE6-2D3F-497B-869D-FE4D3B190EA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2697040" y="7239761"/>
            <a:ext cx="210544" cy="127013"/>
          </a:xfrm>
          <a:prstGeom prst="rect">
            <a:avLst/>
          </a:prstGeom>
        </p:spPr>
      </p:pic>
      <p:sp>
        <p:nvSpPr>
          <p:cNvPr id="15" name="object 27">
            <a:extLst>
              <a:ext uri="{FF2B5EF4-FFF2-40B4-BE49-F238E27FC236}">
                <a16:creationId xmlns:a16="http://schemas.microsoft.com/office/drawing/2014/main" id="{36BD7DA1-8A48-4486-BB52-0F4A14F84B75}"/>
              </a:ext>
            </a:extLst>
          </p:cNvPr>
          <p:cNvSpPr txBox="1">
            <a:spLocks/>
          </p:cNvSpPr>
          <p:nvPr userDrawn="1"/>
        </p:nvSpPr>
        <p:spPr>
          <a:xfrm>
            <a:off x="12285596" y="7243876"/>
            <a:ext cx="139141" cy="118622"/>
          </a:xfrm>
          <a:prstGeom prst="rect">
            <a:avLst/>
          </a:prstGeom>
        </p:spPr>
        <p:txBody>
          <a:bodyPr wrap="none" lIns="0" tIns="0" rIns="0" bIns="0" anchor="b" anchorCtr="0">
            <a:spAutoFit/>
          </a:bodyPr>
          <a:lstStyle>
            <a:defPPr>
              <a:defRPr lang="en-US"/>
            </a:defPPr>
            <a:lvl1pPr marL="0" algn="ctr" defTabSz="910035" rtl="0" eaLnBrk="1" latinLnBrk="0" hangingPunct="1">
              <a:defRPr lang="en-US" sz="1000" b="0" i="0" kern="1200" smtClean="0">
                <a:solidFill>
                  <a:srgbClr val="6F7072"/>
                </a:solidFill>
                <a:latin typeface="EYInterstate Light"/>
                <a:ea typeface="+mn-ea"/>
                <a:cs typeface="EYInterstate Light"/>
              </a:defRPr>
            </a:lvl1pPr>
            <a:lvl2pPr marL="455018" algn="l" defTabSz="910035" rtl="0" eaLnBrk="1" latinLnBrk="0" hangingPunct="1">
              <a:defRPr sz="1800" kern="1200">
                <a:solidFill>
                  <a:schemeClr val="tx1"/>
                </a:solidFill>
                <a:latin typeface="+mn-lt"/>
                <a:ea typeface="+mn-ea"/>
                <a:cs typeface="+mn-cs"/>
              </a:defRPr>
            </a:lvl2pPr>
            <a:lvl3pPr marL="910035" algn="l" defTabSz="910035" rtl="0" eaLnBrk="1" latinLnBrk="0" hangingPunct="1">
              <a:defRPr sz="1800" kern="1200">
                <a:solidFill>
                  <a:schemeClr val="tx1"/>
                </a:solidFill>
                <a:latin typeface="+mn-lt"/>
                <a:ea typeface="+mn-ea"/>
                <a:cs typeface="+mn-cs"/>
              </a:defRPr>
            </a:lvl3pPr>
            <a:lvl4pPr marL="1365047" algn="l" defTabSz="910035" rtl="0" eaLnBrk="1" latinLnBrk="0" hangingPunct="1">
              <a:defRPr sz="1800" kern="1200">
                <a:solidFill>
                  <a:schemeClr val="tx1"/>
                </a:solidFill>
                <a:latin typeface="+mn-lt"/>
                <a:ea typeface="+mn-ea"/>
                <a:cs typeface="+mn-cs"/>
              </a:defRPr>
            </a:lvl4pPr>
            <a:lvl5pPr marL="1820062" algn="l" defTabSz="910035" rtl="0" eaLnBrk="1" latinLnBrk="0" hangingPunct="1">
              <a:defRPr sz="1800" kern="1200">
                <a:solidFill>
                  <a:schemeClr val="tx1"/>
                </a:solidFill>
                <a:latin typeface="+mn-lt"/>
                <a:ea typeface="+mn-ea"/>
                <a:cs typeface="+mn-cs"/>
              </a:defRPr>
            </a:lvl5pPr>
            <a:lvl6pPr marL="2275080" algn="l" defTabSz="910035" rtl="0" eaLnBrk="1" latinLnBrk="0" hangingPunct="1">
              <a:defRPr sz="1800" kern="1200">
                <a:solidFill>
                  <a:schemeClr val="tx1"/>
                </a:solidFill>
                <a:latin typeface="+mn-lt"/>
                <a:ea typeface="+mn-ea"/>
                <a:cs typeface="+mn-cs"/>
              </a:defRPr>
            </a:lvl6pPr>
            <a:lvl7pPr marL="2730097" algn="l" defTabSz="910035" rtl="0" eaLnBrk="1" latinLnBrk="0" hangingPunct="1">
              <a:defRPr sz="1800" kern="1200">
                <a:solidFill>
                  <a:schemeClr val="tx1"/>
                </a:solidFill>
                <a:latin typeface="+mn-lt"/>
                <a:ea typeface="+mn-ea"/>
                <a:cs typeface="+mn-cs"/>
              </a:defRPr>
            </a:lvl7pPr>
            <a:lvl8pPr marL="3185114" algn="l" defTabSz="910035" rtl="0" eaLnBrk="1" latinLnBrk="0" hangingPunct="1">
              <a:defRPr sz="1800" kern="1200">
                <a:solidFill>
                  <a:schemeClr val="tx1"/>
                </a:solidFill>
                <a:latin typeface="+mn-lt"/>
                <a:ea typeface="+mn-ea"/>
                <a:cs typeface="+mn-cs"/>
              </a:defRPr>
            </a:lvl8pPr>
            <a:lvl9pPr marL="3640125" algn="l" defTabSz="910035" rtl="0" eaLnBrk="1" latinLnBrk="0" hangingPunct="1">
              <a:defRPr sz="1800" kern="1200">
                <a:solidFill>
                  <a:schemeClr val="tx1"/>
                </a:solidFill>
                <a:latin typeface="+mn-lt"/>
                <a:ea typeface="+mn-ea"/>
                <a:cs typeface="+mn-cs"/>
              </a:defRPr>
            </a:lvl9pPr>
          </a:lstStyle>
          <a:p>
            <a:pPr marL="0" marR="4326">
              <a:spcBef>
                <a:spcPts val="0"/>
              </a:spcBef>
              <a:spcAft>
                <a:spcPts val="0"/>
              </a:spcAft>
            </a:pPr>
            <a:fld id="{81D60167-4931-47E6-BA6A-407CBD079E47}" type="slidenum">
              <a:rPr sz="771" b="0" i="0">
                <a:solidFill>
                  <a:schemeClr val="tx2"/>
                </a:solidFill>
                <a:latin typeface="EYInterstate" panose="02000503020000020004" pitchFamily="2" charset="0"/>
              </a:rPr>
              <a:pPr marL="0" marR="4326">
                <a:spcBef>
                  <a:spcPts val="0"/>
                </a:spcBef>
                <a:spcAft>
                  <a:spcPts val="0"/>
                </a:spcAft>
              </a:pPr>
              <a:t>‹#›</a:t>
            </a:fld>
            <a:endParaRPr sz="771" b="0" i="0">
              <a:solidFill>
                <a:schemeClr val="tx2"/>
              </a:solidFill>
              <a:latin typeface="EYInterstate" panose="02000503020000020004" pitchFamily="2" charset="0"/>
            </a:endParaRPr>
          </a:p>
        </p:txBody>
      </p:sp>
      <p:sp>
        <p:nvSpPr>
          <p:cNvPr id="16" name="Text Placeholder 8">
            <a:extLst>
              <a:ext uri="{FF2B5EF4-FFF2-40B4-BE49-F238E27FC236}">
                <a16:creationId xmlns:a16="http://schemas.microsoft.com/office/drawing/2014/main" id="{45DD4BD1-71F1-4854-88EF-22E6A787BA40}"/>
              </a:ext>
            </a:extLst>
          </p:cNvPr>
          <p:cNvSpPr txBox="1">
            <a:spLocks/>
          </p:cNvSpPr>
          <p:nvPr userDrawn="1"/>
        </p:nvSpPr>
        <p:spPr>
          <a:xfrm>
            <a:off x="714208" y="7243876"/>
            <a:ext cx="2069156" cy="118622"/>
          </a:xfrm>
          <a:prstGeom prst="rect">
            <a:avLst/>
          </a:prstGeom>
        </p:spPr>
        <p:txBody>
          <a:bodyPr wrap="none" lIns="0" tIns="0" rIns="0" bIns="0" anchor="b" anchorCtr="0">
            <a:spAutoFit/>
          </a:bodyPr>
          <a:lstStyle>
            <a:lvl1pPr marL="293827" indent="-293827" algn="l" defTabSz="829271" rtl="0" eaLnBrk="1" latinLnBrk="0" hangingPunct="1">
              <a:spcBef>
                <a:spcPct val="20000"/>
              </a:spcBef>
              <a:buClr>
                <a:srgbClr val="FFD200"/>
              </a:buClr>
              <a:buSzPct val="70000"/>
              <a:buFontTx/>
              <a:buNone/>
              <a:defRPr lang="en-SG" sz="700" b="0" i="0" kern="1200" dirty="0" smtClean="0">
                <a:solidFill>
                  <a:schemeClr val="accent4"/>
                </a:solidFill>
                <a:latin typeface="EYInterstate Light" panose="02000506000000020004" pitchFamily="2" charset="0"/>
                <a:ea typeface="+mn-ea"/>
                <a:cs typeface="EYInterstate Light"/>
              </a:defRPr>
            </a:lvl1pPr>
            <a:lvl2pPr marL="587677" indent="-293827" algn="l" defTabSz="829271" rtl="0" eaLnBrk="1" latinLnBrk="0" hangingPunct="1">
              <a:spcBef>
                <a:spcPct val="20000"/>
              </a:spcBef>
              <a:buClr>
                <a:srgbClr val="FFD200"/>
              </a:buClr>
              <a:buSzPct val="70000"/>
              <a:buFont typeface="Arial" pitchFamily="34" charset="0"/>
              <a:buChar char="►"/>
              <a:defRPr sz="1453" kern="1200">
                <a:solidFill>
                  <a:schemeClr val="accent1"/>
                </a:solidFill>
                <a:latin typeface="+mn-lt"/>
                <a:ea typeface="+mn-ea"/>
                <a:cs typeface="+mn-cs"/>
              </a:defRPr>
            </a:lvl2pPr>
            <a:lvl3pPr marL="881504" indent="-293827" algn="l" defTabSz="829271" rtl="0" eaLnBrk="1" latinLnBrk="0" hangingPunct="1">
              <a:spcBef>
                <a:spcPct val="20000"/>
              </a:spcBef>
              <a:buClr>
                <a:srgbClr val="FFD200"/>
              </a:buClr>
              <a:buSzPct val="70000"/>
              <a:buFont typeface="Arial" pitchFamily="34" charset="0"/>
              <a:buChar char="►"/>
              <a:defRPr sz="1308" kern="1200">
                <a:solidFill>
                  <a:schemeClr val="accent1"/>
                </a:solidFill>
                <a:latin typeface="+mn-lt"/>
                <a:ea typeface="+mn-ea"/>
                <a:cs typeface="+mn-cs"/>
              </a:defRPr>
            </a:lvl3pPr>
            <a:lvl4pPr marL="1175344" indent="-293827" algn="l" defTabSz="829271" rtl="0" eaLnBrk="1" latinLnBrk="0" hangingPunct="1">
              <a:spcBef>
                <a:spcPct val="20000"/>
              </a:spcBef>
              <a:buClr>
                <a:srgbClr val="FFD200"/>
              </a:buClr>
              <a:buSzPct val="70000"/>
              <a:buFont typeface="Arial" pitchFamily="34" charset="0"/>
              <a:buChar char="►"/>
              <a:defRPr sz="1090" kern="1200">
                <a:solidFill>
                  <a:schemeClr val="accent1"/>
                </a:solidFill>
                <a:latin typeface="+mn-lt"/>
                <a:ea typeface="+mn-ea"/>
                <a:cs typeface="+mn-cs"/>
              </a:defRPr>
            </a:lvl4pPr>
            <a:lvl5pPr marL="1469185" indent="-293827" algn="l" defTabSz="829271" rtl="0" eaLnBrk="1" latinLnBrk="0" hangingPunct="1">
              <a:spcBef>
                <a:spcPct val="20000"/>
              </a:spcBef>
              <a:buClr>
                <a:srgbClr val="FFD200"/>
              </a:buClr>
              <a:buSzPct val="70000"/>
              <a:buFont typeface="Arial" pitchFamily="34" charset="0"/>
              <a:buChar char="►"/>
              <a:defRPr sz="1090" kern="1200">
                <a:solidFill>
                  <a:schemeClr val="accent1"/>
                </a:solidFill>
                <a:latin typeface="+mn-lt"/>
                <a:ea typeface="+mn-ea"/>
                <a:cs typeface="+mn-cs"/>
              </a:defRPr>
            </a:lvl5pPr>
            <a:lvl6pPr marL="2280497" indent="-207295" algn="l" defTabSz="829271" rtl="0" eaLnBrk="1" latinLnBrk="0" hangingPunct="1">
              <a:spcBef>
                <a:spcPct val="20000"/>
              </a:spcBef>
              <a:buFont typeface="Arial" pitchFamily="34" charset="0"/>
              <a:buChar char="•"/>
              <a:defRPr sz="1817" kern="1200">
                <a:solidFill>
                  <a:schemeClr val="tx1"/>
                </a:solidFill>
                <a:latin typeface="+mn-lt"/>
                <a:ea typeface="+mn-ea"/>
                <a:cs typeface="+mn-cs"/>
              </a:defRPr>
            </a:lvl6pPr>
            <a:lvl7pPr marL="2695135" indent="-207295" algn="l" defTabSz="829271" rtl="0" eaLnBrk="1" latinLnBrk="0" hangingPunct="1">
              <a:spcBef>
                <a:spcPct val="20000"/>
              </a:spcBef>
              <a:buFont typeface="Arial" pitchFamily="34" charset="0"/>
              <a:buChar char="•"/>
              <a:defRPr sz="1817" kern="1200">
                <a:solidFill>
                  <a:schemeClr val="tx1"/>
                </a:solidFill>
                <a:latin typeface="+mn-lt"/>
                <a:ea typeface="+mn-ea"/>
                <a:cs typeface="+mn-cs"/>
              </a:defRPr>
            </a:lvl7pPr>
            <a:lvl8pPr marL="3109766" indent="-207295" algn="l" defTabSz="829271" rtl="0" eaLnBrk="1" latinLnBrk="0" hangingPunct="1">
              <a:spcBef>
                <a:spcPct val="20000"/>
              </a:spcBef>
              <a:buFont typeface="Arial" pitchFamily="34" charset="0"/>
              <a:buChar char="•"/>
              <a:defRPr sz="1817" kern="1200">
                <a:solidFill>
                  <a:schemeClr val="tx1"/>
                </a:solidFill>
                <a:latin typeface="+mn-lt"/>
                <a:ea typeface="+mn-ea"/>
                <a:cs typeface="+mn-cs"/>
              </a:defRPr>
            </a:lvl8pPr>
            <a:lvl9pPr marL="3524401" indent="-207295" algn="l" defTabSz="829271" rtl="0" eaLnBrk="1" latinLnBrk="0" hangingPunct="1">
              <a:spcBef>
                <a:spcPct val="20000"/>
              </a:spcBef>
              <a:buFont typeface="Arial" pitchFamily="34" charset="0"/>
              <a:buChar char="•"/>
              <a:defRPr sz="1817" kern="1200">
                <a:solidFill>
                  <a:schemeClr val="tx1"/>
                </a:solidFill>
                <a:latin typeface="+mn-lt"/>
                <a:ea typeface="+mn-ea"/>
                <a:cs typeface="+mn-cs"/>
              </a:defRPr>
            </a:lvl9pPr>
          </a:lstStyle>
          <a:p>
            <a:pPr marL="0" marR="4326" indent="0" algn="l" defTabSz="1002859">
              <a:spcBef>
                <a:spcPts val="0"/>
              </a:spcBef>
            </a:pPr>
            <a:r>
              <a:rPr lang="en-US" sz="771" b="0" i="0">
                <a:solidFill>
                  <a:schemeClr val="tx2"/>
                </a:solidFill>
                <a:latin typeface="EYInterstate" panose="02000503020000020004" pitchFamily="2" charset="0"/>
              </a:rPr>
              <a:t>©️ 2019  Ernst &amp; Young. All Rights Reserved.</a:t>
            </a:r>
          </a:p>
        </p:txBody>
      </p:sp>
    </p:spTree>
    <p:extLst>
      <p:ext uri="{BB962C8B-B14F-4D97-AF65-F5344CB8AC3E}">
        <p14:creationId xmlns:p14="http://schemas.microsoft.com/office/powerpoint/2010/main" val="2175030265"/>
      </p:ext>
    </p:extLst>
  </p:cSld>
  <p:clrMapOvr>
    <a:masterClrMapping/>
  </p:clrMapOvr>
  <p:extLst>
    <p:ext uri="{DCECCB84-F9BA-43D5-87BE-67443E8EF086}">
      <p15:sldGuideLst xmlns:p15="http://schemas.microsoft.com/office/powerpoint/2012/main">
        <p15:guide id="1" orient="horz" pos="2390">
          <p15:clr>
            <a:srgbClr val="FBAE40"/>
          </p15:clr>
        </p15:guide>
        <p15:guide id="2" pos="3370">
          <p15:clr>
            <a:srgbClr val="FBAE40"/>
          </p15:clr>
        </p15:guide>
        <p15:guide id="3" pos="6370">
          <p15:clr>
            <a:srgbClr val="FBAE40"/>
          </p15:clr>
        </p15:guide>
        <p15:guide id="4" pos="370">
          <p15:clr>
            <a:srgbClr val="FBAE40"/>
          </p15:clr>
        </p15:guide>
        <p15:guide id="5" orient="horz" pos="927">
          <p15:clr>
            <a:srgbClr val="FBAE40"/>
          </p15:clr>
        </p15:guide>
        <p15:guide id="6" orient="horz" pos="4359">
          <p15:clr>
            <a:srgbClr val="FBAE40"/>
          </p15:clr>
        </p15:guide>
        <p15:guide id="7" orient="horz" pos="351">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22_Blank">
    <p:bg>
      <p:bgPr>
        <a:solidFill>
          <a:srgbClr val="FFFFF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3268725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25639668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7_Title and Content">
    <p:spTree>
      <p:nvGrpSpPr>
        <p:cNvPr id="1" name=""/>
        <p:cNvGrpSpPr/>
        <p:nvPr/>
      </p:nvGrpSpPr>
      <p:grpSpPr>
        <a:xfrm>
          <a:off x="0" y="0"/>
          <a:ext cx="0" cy="0"/>
          <a:chOff x="0" y="0"/>
          <a:chExt cx="0" cy="0"/>
        </a:xfrm>
      </p:grpSpPr>
      <p:sp>
        <p:nvSpPr>
          <p:cNvPr id="4" name="Title 1"/>
          <p:cNvSpPr>
            <a:spLocks noGrp="1"/>
          </p:cNvSpPr>
          <p:nvPr>
            <p:ph type="title"/>
          </p:nvPr>
        </p:nvSpPr>
        <p:spPr>
          <a:xfrm>
            <a:off x="738076" y="577534"/>
            <a:ext cx="11968792" cy="887399"/>
          </a:xfrm>
          <a:prstGeom prst="rect">
            <a:avLst/>
          </a:prstGeom>
        </p:spPr>
        <p:txBody>
          <a:bodyPr lIns="0" tIns="0" rIns="0" bIns="0" anchor="t">
            <a:noAutofit/>
          </a:bodyPr>
          <a:lstStyle>
            <a:lvl1pPr algn="l">
              <a:defRPr sz="1991" b="0">
                <a:solidFill>
                  <a:srgbClr val="000000"/>
                </a:solidFill>
                <a:latin typeface="EYInterstate Light" panose="02000506000000020004" pitchFamily="2" charset="0"/>
                <a:cs typeface="Arial" pitchFamily="34" charset="0"/>
              </a:defRPr>
            </a:lvl1pPr>
          </a:lstStyle>
          <a:p>
            <a:r>
              <a:rPr lang="en-US"/>
              <a:t>Click to edit Master title style</a:t>
            </a:r>
          </a:p>
        </p:txBody>
      </p:sp>
      <p:sp>
        <p:nvSpPr>
          <p:cNvPr id="19" name="Text Placeholder 18"/>
          <p:cNvSpPr>
            <a:spLocks noGrp="1"/>
          </p:cNvSpPr>
          <p:nvPr>
            <p:ph type="body" sz="quarter" idx="10" hasCustomPrompt="1"/>
          </p:nvPr>
        </p:nvSpPr>
        <p:spPr>
          <a:xfrm>
            <a:off x="738074" y="223271"/>
            <a:ext cx="11972622" cy="244860"/>
          </a:xfrm>
          <a:prstGeom prst="rect">
            <a:avLst/>
          </a:prstGeom>
        </p:spPr>
        <p:txBody>
          <a:bodyPr/>
          <a:lstStyle>
            <a:lvl1pPr marL="0" indent="0">
              <a:buNone/>
              <a:defRPr sz="1095" b="1">
                <a:solidFill>
                  <a:schemeClr val="tx1"/>
                </a:solidFill>
                <a:latin typeface="EYInterstate Light" panose="02000506000000020004" pitchFamily="2" charset="0"/>
                <a:cs typeface="Arial" panose="020B0604020202020204" pitchFamily="34" charset="0"/>
              </a:defRPr>
            </a:lvl1pPr>
            <a:lvl2pPr>
              <a:defRPr b="1"/>
            </a:lvl2pPr>
            <a:lvl3pPr>
              <a:defRPr b="1"/>
            </a:lvl3pPr>
            <a:lvl4pPr>
              <a:defRPr b="1"/>
            </a:lvl4pPr>
            <a:lvl5pPr>
              <a:defRPr b="1"/>
            </a:lvl5pPr>
          </a:lstStyle>
          <a:p>
            <a:pPr lvl="0"/>
            <a:r>
              <a:rPr lang="en-US"/>
              <a:t>&lt;XX&gt;  |  &lt;XX&gt;</a:t>
            </a:r>
          </a:p>
        </p:txBody>
      </p:sp>
      <p:sp>
        <p:nvSpPr>
          <p:cNvPr id="5" name="Text Placeholder 18"/>
          <p:cNvSpPr>
            <a:spLocks noGrp="1"/>
          </p:cNvSpPr>
          <p:nvPr>
            <p:ph type="body" sz="quarter" idx="11"/>
          </p:nvPr>
        </p:nvSpPr>
        <p:spPr>
          <a:xfrm>
            <a:off x="2304899" y="7193790"/>
            <a:ext cx="9651634" cy="244860"/>
          </a:xfrm>
          <a:prstGeom prst="rect">
            <a:avLst/>
          </a:prstGeom>
          <a:noFill/>
        </p:spPr>
        <p:txBody>
          <a:bodyPr wrap="square" lIns="0" tIns="0" rIns="0" bIns="0" rtlCol="0">
            <a:noAutofit/>
          </a:bodyPr>
          <a:lstStyle>
            <a:lvl1pPr marL="0" indent="0">
              <a:buNone/>
              <a:defRPr lang="en-US" sz="996" b="0" baseline="0" dirty="0">
                <a:solidFill>
                  <a:schemeClr val="tx1">
                    <a:lumMod val="65000"/>
                    <a:lumOff val="35000"/>
                  </a:schemeClr>
                </a:solidFill>
                <a:latin typeface="EYInterstate Light" panose="02000506000000020004" pitchFamily="2" charset="0"/>
                <a:cs typeface="Arial" panose="020B0604020202020204" pitchFamily="34" charset="0"/>
              </a:defRPr>
            </a:lvl1pPr>
          </a:lstStyle>
          <a:p>
            <a:pPr marL="0" lvl="0"/>
            <a:endParaRPr lang="en-US"/>
          </a:p>
        </p:txBody>
      </p:sp>
      <p:sp>
        <p:nvSpPr>
          <p:cNvPr id="11" name="Text Placeholder 18"/>
          <p:cNvSpPr>
            <a:spLocks noGrp="1"/>
          </p:cNvSpPr>
          <p:nvPr>
            <p:ph type="body" sz="quarter" idx="12"/>
          </p:nvPr>
        </p:nvSpPr>
        <p:spPr>
          <a:xfrm>
            <a:off x="738075" y="6894337"/>
            <a:ext cx="11260240" cy="244860"/>
          </a:xfrm>
          <a:prstGeom prst="rect">
            <a:avLst/>
          </a:prstGeom>
        </p:spPr>
        <p:txBody>
          <a:bodyPr/>
          <a:lstStyle>
            <a:lvl1pPr marL="0" indent="0">
              <a:buNone/>
              <a:defRPr sz="797" b="0" i="0">
                <a:solidFill>
                  <a:schemeClr val="tx1"/>
                </a:solidFill>
                <a:latin typeface="EYInterstate Light" panose="02000506000000020004" pitchFamily="2" charset="0"/>
                <a:cs typeface="Arial" panose="020B0604020202020204" pitchFamily="34" charset="0"/>
              </a:defRPr>
            </a:lvl1pPr>
            <a:lvl2pPr>
              <a:defRPr b="1"/>
            </a:lvl2pPr>
            <a:lvl3pPr>
              <a:defRPr b="1"/>
            </a:lvl3pPr>
            <a:lvl4pPr>
              <a:defRPr b="1"/>
            </a:lvl4pPr>
            <a:lvl5pPr>
              <a:defRPr b="1"/>
            </a:lvl5pPr>
          </a:lstStyle>
          <a:p>
            <a:pPr lvl="0"/>
            <a:endParaRPr lang="en-US"/>
          </a:p>
        </p:txBody>
      </p:sp>
    </p:spTree>
    <p:extLst>
      <p:ext uri="{BB962C8B-B14F-4D97-AF65-F5344CB8AC3E}">
        <p14:creationId xmlns:p14="http://schemas.microsoft.com/office/powerpoint/2010/main" val="1796464598"/>
      </p:ext>
    </p:extLst>
  </p:cSld>
  <p:clrMapOvr>
    <a:masterClrMapping/>
  </p:clrMapOvr>
  <p:extLst>
    <p:ext uri="{DCECCB84-F9BA-43D5-87BE-67443E8EF086}">
      <p15:sldGuideLst xmlns:p15="http://schemas.microsoft.com/office/powerpoint/2012/main">
        <p15:guide id="1" orient="horz" pos="2390">
          <p15:clr>
            <a:srgbClr val="FBAE40"/>
          </p15:clr>
        </p15:guide>
        <p15:guide id="2" pos="3370">
          <p15:clr>
            <a:srgbClr val="FBAE40"/>
          </p15:clr>
        </p15:guide>
        <p15:guide id="3" pos="6370">
          <p15:clr>
            <a:srgbClr val="FBAE40"/>
          </p15:clr>
        </p15:guide>
        <p15:guide id="4" pos="370">
          <p15:clr>
            <a:srgbClr val="FBAE40"/>
          </p15:clr>
        </p15:guide>
        <p15:guide id="5" orient="horz" pos="927">
          <p15:clr>
            <a:srgbClr val="FBAE40"/>
          </p15:clr>
        </p15:guide>
        <p15:guide id="6" orient="horz" pos="4359">
          <p15:clr>
            <a:srgbClr val="FBAE40"/>
          </p15:clr>
        </p15:guide>
        <p15:guide id="7" orient="horz" pos="35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1_Custom Layout">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68992792"/>
      </p:ext>
    </p:extLst>
  </p:cSld>
  <p:clrMapOvr>
    <a:overrideClrMapping bg1="dk1" tx1="lt1" bg2="dk2" tx2="lt2" accent1="accent1" accent2="accent2" accent3="accent3" accent4="accent4" accent5="accent5" accent6="accent6" hlink="hlink" folHlink="folHlink"/>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obj" preserve="1">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a:xfrm>
            <a:off x="672150" y="222273"/>
            <a:ext cx="12098655" cy="948631"/>
          </a:xfrm>
          <a:prstGeom prst="rect">
            <a:avLst/>
          </a:prstGeom>
        </p:spPr>
        <p:txBody>
          <a:bodyPr/>
          <a:lstStyle>
            <a:lvl1pPr>
              <a:defRPr>
                <a:solidFill>
                  <a:schemeClr val="bg1"/>
                </a:solidFill>
              </a:defRPr>
            </a:lvl1pPr>
          </a:lstStyle>
          <a:p>
            <a:r>
              <a:rPr lang="en-US"/>
              <a:t>Click to edit Master title style</a:t>
            </a:r>
            <a:endParaRPr lang="en-GB"/>
          </a:p>
        </p:txBody>
      </p:sp>
      <p:sp>
        <p:nvSpPr>
          <p:cNvPr id="3" name="Content Placeholder 2"/>
          <p:cNvSpPr>
            <a:spLocks noGrp="1"/>
          </p:cNvSpPr>
          <p:nvPr>
            <p:ph idx="1" hasCustomPrompt="1"/>
          </p:nvPr>
        </p:nvSpPr>
        <p:spPr>
          <a:xfrm>
            <a:off x="672150" y="1571790"/>
            <a:ext cx="12098655" cy="5181986"/>
          </a:xfrm>
          <a:prstGeom prst="rect">
            <a:avLst/>
          </a:prstGeom>
        </p:spPr>
        <p:txBody>
          <a:bodyPr/>
          <a:lstStyle>
            <a:lvl1pPr marL="0" indent="0">
              <a:buNone/>
              <a:defRPr sz="990">
                <a:solidFill>
                  <a:schemeClr val="bg1"/>
                </a:solidFill>
              </a:defRPr>
            </a:lvl1pPr>
            <a:lvl2pPr marL="335112" indent="0">
              <a:buNone/>
              <a:defRPr>
                <a:solidFill>
                  <a:schemeClr val="bg1"/>
                </a:solidFill>
              </a:defRPr>
            </a:lvl2pPr>
            <a:lvl3pPr marL="682190" indent="0">
              <a:buNone/>
              <a:defRPr>
                <a:solidFill>
                  <a:schemeClr val="bg1"/>
                </a:solidFill>
              </a:defRPr>
            </a:lvl3pPr>
            <a:lvl4pPr marL="1015808" indent="0">
              <a:buNone/>
              <a:defRPr>
                <a:solidFill>
                  <a:schemeClr val="bg1"/>
                </a:solidFill>
              </a:defRPr>
            </a:lvl4pPr>
            <a:lvl5pPr marL="1350919" indent="0">
              <a:buNone/>
              <a:defRPr>
                <a:solidFill>
                  <a:schemeClr val="bg1"/>
                </a:solidFill>
              </a:defRPr>
            </a:lvl5pPr>
          </a:lstStyle>
          <a:p>
            <a:pPr lvl="0"/>
            <a:r>
              <a:rPr lang="en-US"/>
              <a:t>Click to edit Master text styles</a:t>
            </a:r>
          </a:p>
          <a:p>
            <a:pPr lvl="0"/>
            <a:r>
              <a:rPr lang="en-US"/>
              <a:t>Second level</a:t>
            </a:r>
          </a:p>
          <a:p>
            <a:pPr lvl="0"/>
            <a:r>
              <a:rPr lang="en-US"/>
              <a:t>Third level</a:t>
            </a:r>
          </a:p>
        </p:txBody>
      </p:sp>
    </p:spTree>
    <p:custDataLst>
      <p:tags r:id="rId1"/>
    </p:custDataLst>
    <p:extLst>
      <p:ext uri="{BB962C8B-B14F-4D97-AF65-F5344CB8AC3E}">
        <p14:creationId xmlns:p14="http://schemas.microsoft.com/office/powerpoint/2010/main" val="249652028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5_Blank">
    <p:bg>
      <p:bgPr>
        <a:solidFill>
          <a:schemeClr val="tx1"/>
        </a:solidFill>
        <a:effectLst/>
      </p:bgPr>
    </p:bg>
    <p:spTree>
      <p:nvGrpSpPr>
        <p:cNvPr id="1" name=""/>
        <p:cNvGrpSpPr/>
        <p:nvPr/>
      </p:nvGrpSpPr>
      <p:grpSpPr>
        <a:xfrm>
          <a:off x="0" y="0"/>
          <a:ext cx="0" cy="0"/>
          <a:chOff x="0" y="0"/>
          <a:chExt cx="0" cy="0"/>
        </a:xfrm>
      </p:grpSpPr>
      <p:sp>
        <p:nvSpPr>
          <p:cNvPr id="15" name="object 7">
            <a:extLst>
              <a:ext uri="{FF2B5EF4-FFF2-40B4-BE49-F238E27FC236}">
                <a16:creationId xmlns:a16="http://schemas.microsoft.com/office/drawing/2014/main" id="{A9E07F53-5493-D745-9EB3-56AA82429EB9}"/>
              </a:ext>
            </a:extLst>
          </p:cNvPr>
          <p:cNvSpPr/>
          <p:nvPr userDrawn="1"/>
        </p:nvSpPr>
        <p:spPr>
          <a:xfrm>
            <a:off x="714209" y="396917"/>
            <a:ext cx="3967824" cy="0"/>
          </a:xfrm>
          <a:custGeom>
            <a:avLst/>
            <a:gdLst/>
            <a:ahLst/>
            <a:cxnLst/>
            <a:rect l="l" t="t" r="r" b="b"/>
            <a:pathLst>
              <a:path w="7721600">
                <a:moveTo>
                  <a:pt x="0" y="0"/>
                </a:moveTo>
                <a:lnTo>
                  <a:pt x="7721600" y="0"/>
                </a:lnTo>
              </a:path>
            </a:pathLst>
          </a:custGeom>
          <a:ln w="19050">
            <a:solidFill>
              <a:schemeClr val="accent3"/>
            </a:solidFill>
          </a:ln>
        </p:spPr>
        <p:txBody>
          <a:bodyPr wrap="square" lIns="0" tIns="0" rIns="0" bIns="0" rtlCol="0"/>
          <a:lstStyle/>
          <a:p>
            <a:endParaRPr sz="1621"/>
          </a:p>
        </p:txBody>
      </p:sp>
      <p:sp>
        <p:nvSpPr>
          <p:cNvPr id="24" name="Title 23">
            <a:extLst>
              <a:ext uri="{FF2B5EF4-FFF2-40B4-BE49-F238E27FC236}">
                <a16:creationId xmlns:a16="http://schemas.microsoft.com/office/drawing/2014/main" id="{74582B84-AFBF-C14B-A4DA-884520648B28}"/>
              </a:ext>
            </a:extLst>
          </p:cNvPr>
          <p:cNvSpPr>
            <a:spLocks noGrp="1"/>
          </p:cNvSpPr>
          <p:nvPr>
            <p:ph type="title" hasCustomPrompt="1"/>
          </p:nvPr>
        </p:nvSpPr>
        <p:spPr>
          <a:xfrm>
            <a:off x="714209" y="476303"/>
            <a:ext cx="11903474" cy="555682"/>
          </a:xfrm>
          <a:prstGeom prst="rect">
            <a:avLst/>
          </a:prstGeom>
        </p:spPr>
        <p:txBody>
          <a:bodyPr vert="horz" wrap="square" lIns="0" tIns="0" rIns="0" bIns="0" rtlCol="0">
            <a:noAutofit/>
          </a:bodyPr>
          <a:lstStyle>
            <a:lvl1pPr>
              <a:defRPr lang="en-US" sz="2204" spc="-54" dirty="0">
                <a:solidFill>
                  <a:srgbClr val="575756"/>
                </a:solidFill>
                <a:latin typeface="EYInterstate Light" panose="02000506000000020004" pitchFamily="2" charset="0"/>
                <a:ea typeface="+mn-ea"/>
                <a:cs typeface="EYInterstate Light" panose="02000506000000020004" pitchFamily="2" charset="0"/>
              </a:defRPr>
            </a:lvl1pPr>
          </a:lstStyle>
          <a:p>
            <a:pPr marL="12349" lvl="0" defTabSz="889167">
              <a:lnSpc>
                <a:spcPct val="100000"/>
              </a:lnSpc>
            </a:pPr>
            <a:r>
              <a:rPr lang="en-US"/>
              <a:t>CLICK TO EDIT MASTER TITLE STYLE</a:t>
            </a:r>
          </a:p>
        </p:txBody>
      </p:sp>
      <p:sp>
        <p:nvSpPr>
          <p:cNvPr id="9" name="object 24">
            <a:extLst>
              <a:ext uri="{FF2B5EF4-FFF2-40B4-BE49-F238E27FC236}">
                <a16:creationId xmlns:a16="http://schemas.microsoft.com/office/drawing/2014/main" id="{14A107BD-3A95-43D3-8349-32EA130DCEF6}"/>
              </a:ext>
            </a:extLst>
          </p:cNvPr>
          <p:cNvSpPr/>
          <p:nvPr userDrawn="1"/>
        </p:nvSpPr>
        <p:spPr>
          <a:xfrm>
            <a:off x="12180540" y="7223884"/>
            <a:ext cx="0" cy="158767"/>
          </a:xfrm>
          <a:custGeom>
            <a:avLst/>
            <a:gdLst/>
            <a:ahLst/>
            <a:cxnLst/>
            <a:rect l="l" t="t" r="r" b="b"/>
            <a:pathLst>
              <a:path h="342900">
                <a:moveTo>
                  <a:pt x="0" y="0"/>
                </a:moveTo>
                <a:lnTo>
                  <a:pt x="0" y="342900"/>
                </a:lnTo>
              </a:path>
            </a:pathLst>
          </a:custGeom>
          <a:ln w="3175">
            <a:solidFill>
              <a:srgbClr val="333333"/>
            </a:solidFill>
          </a:ln>
        </p:spPr>
        <p:txBody>
          <a:bodyPr wrap="square" lIns="0" tIns="0" rIns="0" bIns="0" rtlCol="0" anchor="ctr"/>
          <a:lstStyle/>
          <a:p>
            <a:pPr defTabSz="776497"/>
            <a:endParaRPr sz="1490" b="1">
              <a:solidFill>
                <a:srgbClr val="000000"/>
              </a:solidFill>
              <a:cs typeface="EYInterstate Light"/>
            </a:endParaRPr>
          </a:p>
        </p:txBody>
      </p:sp>
      <p:sp>
        <p:nvSpPr>
          <p:cNvPr id="10" name="object 24">
            <a:extLst>
              <a:ext uri="{FF2B5EF4-FFF2-40B4-BE49-F238E27FC236}">
                <a16:creationId xmlns:a16="http://schemas.microsoft.com/office/drawing/2014/main" id="{E8F8C36E-6B68-4FBF-BC87-C3CC8B64A002}"/>
              </a:ext>
            </a:extLst>
          </p:cNvPr>
          <p:cNvSpPr/>
          <p:nvPr userDrawn="1"/>
        </p:nvSpPr>
        <p:spPr>
          <a:xfrm>
            <a:off x="12522865" y="7223884"/>
            <a:ext cx="0" cy="158767"/>
          </a:xfrm>
          <a:custGeom>
            <a:avLst/>
            <a:gdLst/>
            <a:ahLst/>
            <a:cxnLst/>
            <a:rect l="l" t="t" r="r" b="b"/>
            <a:pathLst>
              <a:path h="342900">
                <a:moveTo>
                  <a:pt x="0" y="0"/>
                </a:moveTo>
                <a:lnTo>
                  <a:pt x="0" y="342900"/>
                </a:lnTo>
              </a:path>
            </a:pathLst>
          </a:custGeom>
          <a:ln w="3175">
            <a:solidFill>
              <a:srgbClr val="333333"/>
            </a:solidFill>
          </a:ln>
        </p:spPr>
        <p:txBody>
          <a:bodyPr wrap="square" lIns="0" tIns="0" rIns="0" bIns="0" rtlCol="0" anchor="ctr"/>
          <a:lstStyle/>
          <a:p>
            <a:pPr defTabSz="776497"/>
            <a:endParaRPr sz="1490" b="1">
              <a:solidFill>
                <a:srgbClr val="000000"/>
              </a:solidFill>
              <a:cs typeface="EYInterstate Light"/>
            </a:endParaRPr>
          </a:p>
        </p:txBody>
      </p:sp>
      <p:pic>
        <p:nvPicPr>
          <p:cNvPr id="11" name="Picture 10">
            <a:extLst>
              <a:ext uri="{FF2B5EF4-FFF2-40B4-BE49-F238E27FC236}">
                <a16:creationId xmlns:a16="http://schemas.microsoft.com/office/drawing/2014/main" id="{4E7FBCFD-2767-4D03-9966-00570728EBA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2697040" y="7239761"/>
            <a:ext cx="210544" cy="127013"/>
          </a:xfrm>
          <a:prstGeom prst="rect">
            <a:avLst/>
          </a:prstGeom>
        </p:spPr>
      </p:pic>
      <p:sp>
        <p:nvSpPr>
          <p:cNvPr id="12" name="object 27">
            <a:extLst>
              <a:ext uri="{FF2B5EF4-FFF2-40B4-BE49-F238E27FC236}">
                <a16:creationId xmlns:a16="http://schemas.microsoft.com/office/drawing/2014/main" id="{E102BACB-CF21-406E-ADF6-4A89B96BB238}"/>
              </a:ext>
            </a:extLst>
          </p:cNvPr>
          <p:cNvSpPr txBox="1">
            <a:spLocks/>
          </p:cNvSpPr>
          <p:nvPr userDrawn="1"/>
        </p:nvSpPr>
        <p:spPr>
          <a:xfrm>
            <a:off x="12285596" y="7243876"/>
            <a:ext cx="139141" cy="118622"/>
          </a:xfrm>
          <a:prstGeom prst="rect">
            <a:avLst/>
          </a:prstGeom>
        </p:spPr>
        <p:txBody>
          <a:bodyPr wrap="none" lIns="0" tIns="0" rIns="0" bIns="0" anchor="b" anchorCtr="0">
            <a:spAutoFit/>
          </a:bodyPr>
          <a:lstStyle>
            <a:defPPr>
              <a:defRPr lang="en-US"/>
            </a:defPPr>
            <a:lvl1pPr marL="0" algn="ctr" defTabSz="910035" rtl="0" eaLnBrk="1" latinLnBrk="0" hangingPunct="1">
              <a:defRPr lang="en-US" sz="1000" b="0" i="0" kern="1200" smtClean="0">
                <a:solidFill>
                  <a:srgbClr val="6F7072"/>
                </a:solidFill>
                <a:latin typeface="EYInterstate Light"/>
                <a:ea typeface="+mn-ea"/>
                <a:cs typeface="EYInterstate Light"/>
              </a:defRPr>
            </a:lvl1pPr>
            <a:lvl2pPr marL="455018" algn="l" defTabSz="910035" rtl="0" eaLnBrk="1" latinLnBrk="0" hangingPunct="1">
              <a:defRPr sz="1800" kern="1200">
                <a:solidFill>
                  <a:schemeClr val="tx1"/>
                </a:solidFill>
                <a:latin typeface="+mn-lt"/>
                <a:ea typeface="+mn-ea"/>
                <a:cs typeface="+mn-cs"/>
              </a:defRPr>
            </a:lvl2pPr>
            <a:lvl3pPr marL="910035" algn="l" defTabSz="910035" rtl="0" eaLnBrk="1" latinLnBrk="0" hangingPunct="1">
              <a:defRPr sz="1800" kern="1200">
                <a:solidFill>
                  <a:schemeClr val="tx1"/>
                </a:solidFill>
                <a:latin typeface="+mn-lt"/>
                <a:ea typeface="+mn-ea"/>
                <a:cs typeface="+mn-cs"/>
              </a:defRPr>
            </a:lvl3pPr>
            <a:lvl4pPr marL="1365047" algn="l" defTabSz="910035" rtl="0" eaLnBrk="1" latinLnBrk="0" hangingPunct="1">
              <a:defRPr sz="1800" kern="1200">
                <a:solidFill>
                  <a:schemeClr val="tx1"/>
                </a:solidFill>
                <a:latin typeface="+mn-lt"/>
                <a:ea typeface="+mn-ea"/>
                <a:cs typeface="+mn-cs"/>
              </a:defRPr>
            </a:lvl4pPr>
            <a:lvl5pPr marL="1820062" algn="l" defTabSz="910035" rtl="0" eaLnBrk="1" latinLnBrk="0" hangingPunct="1">
              <a:defRPr sz="1800" kern="1200">
                <a:solidFill>
                  <a:schemeClr val="tx1"/>
                </a:solidFill>
                <a:latin typeface="+mn-lt"/>
                <a:ea typeface="+mn-ea"/>
                <a:cs typeface="+mn-cs"/>
              </a:defRPr>
            </a:lvl5pPr>
            <a:lvl6pPr marL="2275080" algn="l" defTabSz="910035" rtl="0" eaLnBrk="1" latinLnBrk="0" hangingPunct="1">
              <a:defRPr sz="1800" kern="1200">
                <a:solidFill>
                  <a:schemeClr val="tx1"/>
                </a:solidFill>
                <a:latin typeface="+mn-lt"/>
                <a:ea typeface="+mn-ea"/>
                <a:cs typeface="+mn-cs"/>
              </a:defRPr>
            </a:lvl6pPr>
            <a:lvl7pPr marL="2730097" algn="l" defTabSz="910035" rtl="0" eaLnBrk="1" latinLnBrk="0" hangingPunct="1">
              <a:defRPr sz="1800" kern="1200">
                <a:solidFill>
                  <a:schemeClr val="tx1"/>
                </a:solidFill>
                <a:latin typeface="+mn-lt"/>
                <a:ea typeface="+mn-ea"/>
                <a:cs typeface="+mn-cs"/>
              </a:defRPr>
            </a:lvl7pPr>
            <a:lvl8pPr marL="3185114" algn="l" defTabSz="910035" rtl="0" eaLnBrk="1" latinLnBrk="0" hangingPunct="1">
              <a:defRPr sz="1800" kern="1200">
                <a:solidFill>
                  <a:schemeClr val="tx1"/>
                </a:solidFill>
                <a:latin typeface="+mn-lt"/>
                <a:ea typeface="+mn-ea"/>
                <a:cs typeface="+mn-cs"/>
              </a:defRPr>
            </a:lvl8pPr>
            <a:lvl9pPr marL="3640125" algn="l" defTabSz="910035" rtl="0" eaLnBrk="1" latinLnBrk="0" hangingPunct="1">
              <a:defRPr sz="1800" kern="1200">
                <a:solidFill>
                  <a:schemeClr val="tx1"/>
                </a:solidFill>
                <a:latin typeface="+mn-lt"/>
                <a:ea typeface="+mn-ea"/>
                <a:cs typeface="+mn-cs"/>
              </a:defRPr>
            </a:lvl9pPr>
          </a:lstStyle>
          <a:p>
            <a:pPr marL="0" marR="4326">
              <a:spcBef>
                <a:spcPts val="0"/>
              </a:spcBef>
              <a:spcAft>
                <a:spcPts val="0"/>
              </a:spcAft>
            </a:pPr>
            <a:fld id="{81D60167-4931-47E6-BA6A-407CBD079E47}" type="slidenum">
              <a:rPr sz="771" b="0" i="0">
                <a:solidFill>
                  <a:schemeClr val="tx2"/>
                </a:solidFill>
                <a:latin typeface="EYInterstate" panose="02000503020000020004" pitchFamily="2" charset="0"/>
              </a:rPr>
              <a:pPr marL="0" marR="4326">
                <a:spcBef>
                  <a:spcPts val="0"/>
                </a:spcBef>
                <a:spcAft>
                  <a:spcPts val="0"/>
                </a:spcAft>
              </a:pPr>
              <a:t>‹#›</a:t>
            </a:fld>
            <a:endParaRPr sz="771" b="0" i="0">
              <a:solidFill>
                <a:schemeClr val="tx2"/>
              </a:solidFill>
              <a:latin typeface="EYInterstate" panose="02000503020000020004" pitchFamily="2" charset="0"/>
            </a:endParaRPr>
          </a:p>
        </p:txBody>
      </p:sp>
      <p:sp>
        <p:nvSpPr>
          <p:cNvPr id="13" name="Text Placeholder 8">
            <a:extLst>
              <a:ext uri="{FF2B5EF4-FFF2-40B4-BE49-F238E27FC236}">
                <a16:creationId xmlns:a16="http://schemas.microsoft.com/office/drawing/2014/main" id="{766BF1B8-D98F-4851-AFB7-7A2616806B7E}"/>
              </a:ext>
            </a:extLst>
          </p:cNvPr>
          <p:cNvSpPr txBox="1">
            <a:spLocks/>
          </p:cNvSpPr>
          <p:nvPr userDrawn="1"/>
        </p:nvSpPr>
        <p:spPr>
          <a:xfrm>
            <a:off x="714208" y="7243876"/>
            <a:ext cx="2069156" cy="118622"/>
          </a:xfrm>
          <a:prstGeom prst="rect">
            <a:avLst/>
          </a:prstGeom>
        </p:spPr>
        <p:txBody>
          <a:bodyPr wrap="none" lIns="0" tIns="0" rIns="0" bIns="0" anchor="b" anchorCtr="0">
            <a:spAutoFit/>
          </a:bodyPr>
          <a:lstStyle>
            <a:lvl1pPr marL="293827" indent="-293827" algn="l" defTabSz="829271" rtl="0" eaLnBrk="1" latinLnBrk="0" hangingPunct="1">
              <a:spcBef>
                <a:spcPct val="20000"/>
              </a:spcBef>
              <a:buClr>
                <a:srgbClr val="FFD200"/>
              </a:buClr>
              <a:buSzPct val="70000"/>
              <a:buFontTx/>
              <a:buNone/>
              <a:defRPr lang="en-SG" sz="700" b="0" i="0" kern="1200" dirty="0" smtClean="0">
                <a:solidFill>
                  <a:schemeClr val="accent4"/>
                </a:solidFill>
                <a:latin typeface="EYInterstate Light" panose="02000506000000020004" pitchFamily="2" charset="0"/>
                <a:ea typeface="+mn-ea"/>
                <a:cs typeface="EYInterstate Light"/>
              </a:defRPr>
            </a:lvl1pPr>
            <a:lvl2pPr marL="587677" indent="-293827" algn="l" defTabSz="829271" rtl="0" eaLnBrk="1" latinLnBrk="0" hangingPunct="1">
              <a:spcBef>
                <a:spcPct val="20000"/>
              </a:spcBef>
              <a:buClr>
                <a:srgbClr val="FFD200"/>
              </a:buClr>
              <a:buSzPct val="70000"/>
              <a:buFont typeface="Arial" pitchFamily="34" charset="0"/>
              <a:buChar char="►"/>
              <a:defRPr sz="1453" kern="1200">
                <a:solidFill>
                  <a:schemeClr val="accent1"/>
                </a:solidFill>
                <a:latin typeface="+mn-lt"/>
                <a:ea typeface="+mn-ea"/>
                <a:cs typeface="+mn-cs"/>
              </a:defRPr>
            </a:lvl2pPr>
            <a:lvl3pPr marL="881504" indent="-293827" algn="l" defTabSz="829271" rtl="0" eaLnBrk="1" latinLnBrk="0" hangingPunct="1">
              <a:spcBef>
                <a:spcPct val="20000"/>
              </a:spcBef>
              <a:buClr>
                <a:srgbClr val="FFD200"/>
              </a:buClr>
              <a:buSzPct val="70000"/>
              <a:buFont typeface="Arial" pitchFamily="34" charset="0"/>
              <a:buChar char="►"/>
              <a:defRPr sz="1308" kern="1200">
                <a:solidFill>
                  <a:schemeClr val="accent1"/>
                </a:solidFill>
                <a:latin typeface="+mn-lt"/>
                <a:ea typeface="+mn-ea"/>
                <a:cs typeface="+mn-cs"/>
              </a:defRPr>
            </a:lvl3pPr>
            <a:lvl4pPr marL="1175344" indent="-293827" algn="l" defTabSz="829271" rtl="0" eaLnBrk="1" latinLnBrk="0" hangingPunct="1">
              <a:spcBef>
                <a:spcPct val="20000"/>
              </a:spcBef>
              <a:buClr>
                <a:srgbClr val="FFD200"/>
              </a:buClr>
              <a:buSzPct val="70000"/>
              <a:buFont typeface="Arial" pitchFamily="34" charset="0"/>
              <a:buChar char="►"/>
              <a:defRPr sz="1090" kern="1200">
                <a:solidFill>
                  <a:schemeClr val="accent1"/>
                </a:solidFill>
                <a:latin typeface="+mn-lt"/>
                <a:ea typeface="+mn-ea"/>
                <a:cs typeface="+mn-cs"/>
              </a:defRPr>
            </a:lvl4pPr>
            <a:lvl5pPr marL="1469185" indent="-293827" algn="l" defTabSz="829271" rtl="0" eaLnBrk="1" latinLnBrk="0" hangingPunct="1">
              <a:spcBef>
                <a:spcPct val="20000"/>
              </a:spcBef>
              <a:buClr>
                <a:srgbClr val="FFD200"/>
              </a:buClr>
              <a:buSzPct val="70000"/>
              <a:buFont typeface="Arial" pitchFamily="34" charset="0"/>
              <a:buChar char="►"/>
              <a:defRPr sz="1090" kern="1200">
                <a:solidFill>
                  <a:schemeClr val="accent1"/>
                </a:solidFill>
                <a:latin typeface="+mn-lt"/>
                <a:ea typeface="+mn-ea"/>
                <a:cs typeface="+mn-cs"/>
              </a:defRPr>
            </a:lvl5pPr>
            <a:lvl6pPr marL="2280497" indent="-207295" algn="l" defTabSz="829271" rtl="0" eaLnBrk="1" latinLnBrk="0" hangingPunct="1">
              <a:spcBef>
                <a:spcPct val="20000"/>
              </a:spcBef>
              <a:buFont typeface="Arial" pitchFamily="34" charset="0"/>
              <a:buChar char="•"/>
              <a:defRPr sz="1817" kern="1200">
                <a:solidFill>
                  <a:schemeClr val="tx1"/>
                </a:solidFill>
                <a:latin typeface="+mn-lt"/>
                <a:ea typeface="+mn-ea"/>
                <a:cs typeface="+mn-cs"/>
              </a:defRPr>
            </a:lvl6pPr>
            <a:lvl7pPr marL="2695135" indent="-207295" algn="l" defTabSz="829271" rtl="0" eaLnBrk="1" latinLnBrk="0" hangingPunct="1">
              <a:spcBef>
                <a:spcPct val="20000"/>
              </a:spcBef>
              <a:buFont typeface="Arial" pitchFamily="34" charset="0"/>
              <a:buChar char="•"/>
              <a:defRPr sz="1817" kern="1200">
                <a:solidFill>
                  <a:schemeClr val="tx1"/>
                </a:solidFill>
                <a:latin typeface="+mn-lt"/>
                <a:ea typeface="+mn-ea"/>
                <a:cs typeface="+mn-cs"/>
              </a:defRPr>
            </a:lvl7pPr>
            <a:lvl8pPr marL="3109766" indent="-207295" algn="l" defTabSz="829271" rtl="0" eaLnBrk="1" latinLnBrk="0" hangingPunct="1">
              <a:spcBef>
                <a:spcPct val="20000"/>
              </a:spcBef>
              <a:buFont typeface="Arial" pitchFamily="34" charset="0"/>
              <a:buChar char="•"/>
              <a:defRPr sz="1817" kern="1200">
                <a:solidFill>
                  <a:schemeClr val="tx1"/>
                </a:solidFill>
                <a:latin typeface="+mn-lt"/>
                <a:ea typeface="+mn-ea"/>
                <a:cs typeface="+mn-cs"/>
              </a:defRPr>
            </a:lvl8pPr>
            <a:lvl9pPr marL="3524401" indent="-207295" algn="l" defTabSz="829271" rtl="0" eaLnBrk="1" latinLnBrk="0" hangingPunct="1">
              <a:spcBef>
                <a:spcPct val="20000"/>
              </a:spcBef>
              <a:buFont typeface="Arial" pitchFamily="34" charset="0"/>
              <a:buChar char="•"/>
              <a:defRPr sz="1817" kern="1200">
                <a:solidFill>
                  <a:schemeClr val="tx1"/>
                </a:solidFill>
                <a:latin typeface="+mn-lt"/>
                <a:ea typeface="+mn-ea"/>
                <a:cs typeface="+mn-cs"/>
              </a:defRPr>
            </a:lvl9pPr>
          </a:lstStyle>
          <a:p>
            <a:pPr marL="0" marR="4326" indent="0" algn="l" defTabSz="1002859">
              <a:spcBef>
                <a:spcPts val="0"/>
              </a:spcBef>
            </a:pPr>
            <a:r>
              <a:rPr lang="en-US" sz="771" b="0" i="0">
                <a:solidFill>
                  <a:schemeClr val="tx2"/>
                </a:solidFill>
                <a:latin typeface="EYInterstate" panose="02000503020000020004" pitchFamily="2" charset="0"/>
              </a:rPr>
              <a:t>©️ 2019  Ernst &amp; Young. All Rights Reserved.</a:t>
            </a:r>
          </a:p>
        </p:txBody>
      </p:sp>
    </p:spTree>
    <p:extLst>
      <p:ext uri="{BB962C8B-B14F-4D97-AF65-F5344CB8AC3E}">
        <p14:creationId xmlns:p14="http://schemas.microsoft.com/office/powerpoint/2010/main" val="74542870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21_Key statement">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a:xfrm>
            <a:off x="418125" y="362570"/>
            <a:ext cx="12330272" cy="729613"/>
          </a:xfrm>
        </p:spPr>
        <p:txBody>
          <a:bodyPr anchor="b"/>
          <a:lstStyle>
            <a:lvl1pPr marL="0" indent="0" algn="l">
              <a:lnSpc>
                <a:spcPct val="85000"/>
              </a:lnSpc>
              <a:spcBef>
                <a:spcPts val="0"/>
              </a:spcBef>
              <a:buNone/>
              <a:defRPr sz="2645" b="1">
                <a:solidFill>
                  <a:schemeClr val="tx1"/>
                </a:solidFill>
                <a:latin typeface="EYInterstate Light" panose="02000506000000020004" pitchFamily="2" charset="0"/>
              </a:defRPr>
            </a:lvl1pPr>
            <a:lvl2pPr marL="0" indent="0">
              <a:buNone/>
              <a:defRPr/>
            </a:lvl2pPr>
            <a:lvl3pPr marL="0" indent="0">
              <a:buNone/>
              <a:defRPr/>
            </a:lvl3pPr>
            <a:lvl4pPr marL="0" indent="0">
              <a:buNone/>
              <a:defRPr/>
            </a:lvl4pPr>
            <a:lvl5pPr marL="0" indent="0">
              <a:buNone/>
              <a:defRPr/>
            </a:lvl5pPr>
          </a:lstStyle>
          <a:p>
            <a:pPr lvl="0"/>
            <a:r>
              <a:rPr lang="en-US"/>
              <a:t>Click to edit Master text styles</a:t>
            </a:r>
          </a:p>
        </p:txBody>
      </p:sp>
      <p:sp>
        <p:nvSpPr>
          <p:cNvPr id="14" name="Text Placeholder 13"/>
          <p:cNvSpPr>
            <a:spLocks noGrp="1"/>
          </p:cNvSpPr>
          <p:nvPr>
            <p:ph type="body" sz="quarter" idx="12"/>
          </p:nvPr>
        </p:nvSpPr>
        <p:spPr>
          <a:xfrm>
            <a:off x="418125" y="1428238"/>
            <a:ext cx="12330272" cy="56759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5" name="object 7">
            <a:extLst>
              <a:ext uri="{FF2B5EF4-FFF2-40B4-BE49-F238E27FC236}">
                <a16:creationId xmlns:a16="http://schemas.microsoft.com/office/drawing/2014/main" id="{7AC48CFF-57A6-4C18-8550-60AEDBD5831B}"/>
              </a:ext>
            </a:extLst>
          </p:cNvPr>
          <p:cNvSpPr/>
          <p:nvPr userDrawn="1"/>
        </p:nvSpPr>
        <p:spPr>
          <a:xfrm>
            <a:off x="714209" y="396917"/>
            <a:ext cx="3967824" cy="0"/>
          </a:xfrm>
          <a:custGeom>
            <a:avLst/>
            <a:gdLst/>
            <a:ahLst/>
            <a:cxnLst/>
            <a:rect l="l" t="t" r="r" b="b"/>
            <a:pathLst>
              <a:path w="7721600">
                <a:moveTo>
                  <a:pt x="0" y="0"/>
                </a:moveTo>
                <a:lnTo>
                  <a:pt x="7721600" y="0"/>
                </a:lnTo>
              </a:path>
            </a:pathLst>
          </a:custGeom>
          <a:ln w="19050">
            <a:solidFill>
              <a:schemeClr val="accent3"/>
            </a:solidFill>
          </a:ln>
        </p:spPr>
        <p:txBody>
          <a:bodyPr wrap="square" lIns="0" tIns="0" rIns="0" bIns="0" rtlCol="0"/>
          <a:lstStyle/>
          <a:p>
            <a:endParaRPr sz="1621"/>
          </a:p>
        </p:txBody>
      </p:sp>
      <p:sp>
        <p:nvSpPr>
          <p:cNvPr id="6" name="Title 23">
            <a:extLst>
              <a:ext uri="{FF2B5EF4-FFF2-40B4-BE49-F238E27FC236}">
                <a16:creationId xmlns:a16="http://schemas.microsoft.com/office/drawing/2014/main" id="{0856A4AB-569B-4FD5-A5F3-3111274E3F5A}"/>
              </a:ext>
            </a:extLst>
          </p:cNvPr>
          <p:cNvSpPr>
            <a:spLocks noGrp="1"/>
          </p:cNvSpPr>
          <p:nvPr>
            <p:ph type="title" hasCustomPrompt="1"/>
          </p:nvPr>
        </p:nvSpPr>
        <p:spPr>
          <a:xfrm>
            <a:off x="714209" y="476303"/>
            <a:ext cx="11903474" cy="555682"/>
          </a:xfrm>
          <a:prstGeom prst="rect">
            <a:avLst/>
          </a:prstGeom>
        </p:spPr>
        <p:txBody>
          <a:bodyPr vert="horz" wrap="square" lIns="0" tIns="0" rIns="0" bIns="0" rtlCol="0">
            <a:noAutofit/>
          </a:bodyPr>
          <a:lstStyle>
            <a:lvl1pPr>
              <a:defRPr lang="en-US" sz="2204" spc="-54" dirty="0">
                <a:solidFill>
                  <a:srgbClr val="575756"/>
                </a:solidFill>
                <a:latin typeface="EYInterstate Light" panose="02000506000000020004" pitchFamily="2" charset="0"/>
                <a:ea typeface="+mn-ea"/>
                <a:cs typeface="EYInterstate Light" panose="02000506000000020004" pitchFamily="2" charset="0"/>
              </a:defRPr>
            </a:lvl1pPr>
          </a:lstStyle>
          <a:p>
            <a:pPr marL="12349" lvl="0" defTabSz="889167">
              <a:lnSpc>
                <a:spcPct val="100000"/>
              </a:lnSpc>
            </a:pPr>
            <a:r>
              <a:rPr lang="en-US"/>
              <a:t>CLICK TO EDIT MASTER TITLE STYLE</a:t>
            </a:r>
          </a:p>
        </p:txBody>
      </p:sp>
      <p:sp>
        <p:nvSpPr>
          <p:cNvPr id="12" name="object 24">
            <a:extLst>
              <a:ext uri="{FF2B5EF4-FFF2-40B4-BE49-F238E27FC236}">
                <a16:creationId xmlns:a16="http://schemas.microsoft.com/office/drawing/2014/main" id="{273B0E1C-F381-4234-BAAD-C1A596D5EB45}"/>
              </a:ext>
            </a:extLst>
          </p:cNvPr>
          <p:cNvSpPr/>
          <p:nvPr userDrawn="1"/>
        </p:nvSpPr>
        <p:spPr>
          <a:xfrm>
            <a:off x="12180540" y="7223884"/>
            <a:ext cx="0" cy="158767"/>
          </a:xfrm>
          <a:custGeom>
            <a:avLst/>
            <a:gdLst/>
            <a:ahLst/>
            <a:cxnLst/>
            <a:rect l="l" t="t" r="r" b="b"/>
            <a:pathLst>
              <a:path h="342900">
                <a:moveTo>
                  <a:pt x="0" y="0"/>
                </a:moveTo>
                <a:lnTo>
                  <a:pt x="0" y="342900"/>
                </a:lnTo>
              </a:path>
            </a:pathLst>
          </a:custGeom>
          <a:ln w="3175">
            <a:solidFill>
              <a:srgbClr val="333333"/>
            </a:solidFill>
          </a:ln>
        </p:spPr>
        <p:txBody>
          <a:bodyPr wrap="square" lIns="0" tIns="0" rIns="0" bIns="0" rtlCol="0" anchor="ctr"/>
          <a:lstStyle/>
          <a:p>
            <a:pPr defTabSz="776497"/>
            <a:endParaRPr sz="1490" b="1">
              <a:solidFill>
                <a:srgbClr val="000000"/>
              </a:solidFill>
              <a:cs typeface="EYInterstate Light"/>
            </a:endParaRPr>
          </a:p>
        </p:txBody>
      </p:sp>
      <p:sp>
        <p:nvSpPr>
          <p:cNvPr id="13" name="object 24">
            <a:extLst>
              <a:ext uri="{FF2B5EF4-FFF2-40B4-BE49-F238E27FC236}">
                <a16:creationId xmlns:a16="http://schemas.microsoft.com/office/drawing/2014/main" id="{0FF6E7CF-A770-4E30-B37F-861D09370BE2}"/>
              </a:ext>
            </a:extLst>
          </p:cNvPr>
          <p:cNvSpPr/>
          <p:nvPr userDrawn="1"/>
        </p:nvSpPr>
        <p:spPr>
          <a:xfrm>
            <a:off x="12522865" y="7223884"/>
            <a:ext cx="0" cy="158767"/>
          </a:xfrm>
          <a:custGeom>
            <a:avLst/>
            <a:gdLst/>
            <a:ahLst/>
            <a:cxnLst/>
            <a:rect l="l" t="t" r="r" b="b"/>
            <a:pathLst>
              <a:path h="342900">
                <a:moveTo>
                  <a:pt x="0" y="0"/>
                </a:moveTo>
                <a:lnTo>
                  <a:pt x="0" y="342900"/>
                </a:lnTo>
              </a:path>
            </a:pathLst>
          </a:custGeom>
          <a:ln w="3175">
            <a:solidFill>
              <a:srgbClr val="333333"/>
            </a:solidFill>
          </a:ln>
        </p:spPr>
        <p:txBody>
          <a:bodyPr wrap="square" lIns="0" tIns="0" rIns="0" bIns="0" rtlCol="0" anchor="ctr"/>
          <a:lstStyle/>
          <a:p>
            <a:pPr defTabSz="776497"/>
            <a:endParaRPr sz="1490" b="1">
              <a:solidFill>
                <a:srgbClr val="000000"/>
              </a:solidFill>
              <a:cs typeface="EYInterstate Light"/>
            </a:endParaRPr>
          </a:p>
        </p:txBody>
      </p:sp>
      <p:pic>
        <p:nvPicPr>
          <p:cNvPr id="15" name="Picture 14">
            <a:extLst>
              <a:ext uri="{FF2B5EF4-FFF2-40B4-BE49-F238E27FC236}">
                <a16:creationId xmlns:a16="http://schemas.microsoft.com/office/drawing/2014/main" id="{E9E0D5D1-E7F2-4C84-9AB1-C43CA9E38E9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2697040" y="7239761"/>
            <a:ext cx="210544" cy="127013"/>
          </a:xfrm>
          <a:prstGeom prst="rect">
            <a:avLst/>
          </a:prstGeom>
        </p:spPr>
      </p:pic>
      <p:sp>
        <p:nvSpPr>
          <p:cNvPr id="16" name="object 27">
            <a:extLst>
              <a:ext uri="{FF2B5EF4-FFF2-40B4-BE49-F238E27FC236}">
                <a16:creationId xmlns:a16="http://schemas.microsoft.com/office/drawing/2014/main" id="{82FFE198-ADF3-46F4-BC4A-6B5F0BF5907D}"/>
              </a:ext>
            </a:extLst>
          </p:cNvPr>
          <p:cNvSpPr txBox="1">
            <a:spLocks/>
          </p:cNvSpPr>
          <p:nvPr userDrawn="1"/>
        </p:nvSpPr>
        <p:spPr>
          <a:xfrm>
            <a:off x="12285596" y="7243876"/>
            <a:ext cx="139141" cy="118622"/>
          </a:xfrm>
          <a:prstGeom prst="rect">
            <a:avLst/>
          </a:prstGeom>
        </p:spPr>
        <p:txBody>
          <a:bodyPr wrap="none" lIns="0" tIns="0" rIns="0" bIns="0" anchor="b" anchorCtr="0">
            <a:spAutoFit/>
          </a:bodyPr>
          <a:lstStyle>
            <a:defPPr>
              <a:defRPr lang="en-US"/>
            </a:defPPr>
            <a:lvl1pPr marL="0" algn="ctr" defTabSz="910035" rtl="0" eaLnBrk="1" latinLnBrk="0" hangingPunct="1">
              <a:defRPr lang="en-US" sz="1000" b="0" i="0" kern="1200" smtClean="0">
                <a:solidFill>
                  <a:srgbClr val="6F7072"/>
                </a:solidFill>
                <a:latin typeface="EYInterstate Light"/>
                <a:ea typeface="+mn-ea"/>
                <a:cs typeface="EYInterstate Light"/>
              </a:defRPr>
            </a:lvl1pPr>
            <a:lvl2pPr marL="455018" algn="l" defTabSz="910035" rtl="0" eaLnBrk="1" latinLnBrk="0" hangingPunct="1">
              <a:defRPr sz="1800" kern="1200">
                <a:solidFill>
                  <a:schemeClr val="tx1"/>
                </a:solidFill>
                <a:latin typeface="+mn-lt"/>
                <a:ea typeface="+mn-ea"/>
                <a:cs typeface="+mn-cs"/>
              </a:defRPr>
            </a:lvl2pPr>
            <a:lvl3pPr marL="910035" algn="l" defTabSz="910035" rtl="0" eaLnBrk="1" latinLnBrk="0" hangingPunct="1">
              <a:defRPr sz="1800" kern="1200">
                <a:solidFill>
                  <a:schemeClr val="tx1"/>
                </a:solidFill>
                <a:latin typeface="+mn-lt"/>
                <a:ea typeface="+mn-ea"/>
                <a:cs typeface="+mn-cs"/>
              </a:defRPr>
            </a:lvl3pPr>
            <a:lvl4pPr marL="1365047" algn="l" defTabSz="910035" rtl="0" eaLnBrk="1" latinLnBrk="0" hangingPunct="1">
              <a:defRPr sz="1800" kern="1200">
                <a:solidFill>
                  <a:schemeClr val="tx1"/>
                </a:solidFill>
                <a:latin typeface="+mn-lt"/>
                <a:ea typeface="+mn-ea"/>
                <a:cs typeface="+mn-cs"/>
              </a:defRPr>
            </a:lvl4pPr>
            <a:lvl5pPr marL="1820062" algn="l" defTabSz="910035" rtl="0" eaLnBrk="1" latinLnBrk="0" hangingPunct="1">
              <a:defRPr sz="1800" kern="1200">
                <a:solidFill>
                  <a:schemeClr val="tx1"/>
                </a:solidFill>
                <a:latin typeface="+mn-lt"/>
                <a:ea typeface="+mn-ea"/>
                <a:cs typeface="+mn-cs"/>
              </a:defRPr>
            </a:lvl5pPr>
            <a:lvl6pPr marL="2275080" algn="l" defTabSz="910035" rtl="0" eaLnBrk="1" latinLnBrk="0" hangingPunct="1">
              <a:defRPr sz="1800" kern="1200">
                <a:solidFill>
                  <a:schemeClr val="tx1"/>
                </a:solidFill>
                <a:latin typeface="+mn-lt"/>
                <a:ea typeface="+mn-ea"/>
                <a:cs typeface="+mn-cs"/>
              </a:defRPr>
            </a:lvl6pPr>
            <a:lvl7pPr marL="2730097" algn="l" defTabSz="910035" rtl="0" eaLnBrk="1" latinLnBrk="0" hangingPunct="1">
              <a:defRPr sz="1800" kern="1200">
                <a:solidFill>
                  <a:schemeClr val="tx1"/>
                </a:solidFill>
                <a:latin typeface="+mn-lt"/>
                <a:ea typeface="+mn-ea"/>
                <a:cs typeface="+mn-cs"/>
              </a:defRPr>
            </a:lvl7pPr>
            <a:lvl8pPr marL="3185114" algn="l" defTabSz="910035" rtl="0" eaLnBrk="1" latinLnBrk="0" hangingPunct="1">
              <a:defRPr sz="1800" kern="1200">
                <a:solidFill>
                  <a:schemeClr val="tx1"/>
                </a:solidFill>
                <a:latin typeface="+mn-lt"/>
                <a:ea typeface="+mn-ea"/>
                <a:cs typeface="+mn-cs"/>
              </a:defRPr>
            </a:lvl8pPr>
            <a:lvl9pPr marL="3640125" algn="l" defTabSz="910035" rtl="0" eaLnBrk="1" latinLnBrk="0" hangingPunct="1">
              <a:defRPr sz="1800" kern="1200">
                <a:solidFill>
                  <a:schemeClr val="tx1"/>
                </a:solidFill>
                <a:latin typeface="+mn-lt"/>
                <a:ea typeface="+mn-ea"/>
                <a:cs typeface="+mn-cs"/>
              </a:defRPr>
            </a:lvl9pPr>
          </a:lstStyle>
          <a:p>
            <a:pPr marL="0" marR="4326">
              <a:spcBef>
                <a:spcPts val="0"/>
              </a:spcBef>
              <a:spcAft>
                <a:spcPts val="0"/>
              </a:spcAft>
            </a:pPr>
            <a:fld id="{81D60167-4931-47E6-BA6A-407CBD079E47}" type="slidenum">
              <a:rPr sz="771" b="0" i="0">
                <a:solidFill>
                  <a:schemeClr val="tx2"/>
                </a:solidFill>
                <a:latin typeface="EYInterstate" panose="02000503020000020004" pitchFamily="2" charset="0"/>
              </a:rPr>
              <a:pPr marL="0" marR="4326">
                <a:spcBef>
                  <a:spcPts val="0"/>
                </a:spcBef>
                <a:spcAft>
                  <a:spcPts val="0"/>
                </a:spcAft>
              </a:pPr>
              <a:t>‹#›</a:t>
            </a:fld>
            <a:endParaRPr sz="771" b="0" i="0">
              <a:solidFill>
                <a:schemeClr val="tx2"/>
              </a:solidFill>
              <a:latin typeface="EYInterstate" panose="02000503020000020004" pitchFamily="2" charset="0"/>
            </a:endParaRPr>
          </a:p>
        </p:txBody>
      </p:sp>
      <p:sp>
        <p:nvSpPr>
          <p:cNvPr id="17" name="Text Placeholder 8">
            <a:extLst>
              <a:ext uri="{FF2B5EF4-FFF2-40B4-BE49-F238E27FC236}">
                <a16:creationId xmlns:a16="http://schemas.microsoft.com/office/drawing/2014/main" id="{73F21933-1F5D-4BC5-804F-3089D0F6F1E2}"/>
              </a:ext>
            </a:extLst>
          </p:cNvPr>
          <p:cNvSpPr txBox="1">
            <a:spLocks/>
          </p:cNvSpPr>
          <p:nvPr userDrawn="1"/>
        </p:nvSpPr>
        <p:spPr>
          <a:xfrm>
            <a:off x="714208" y="7243876"/>
            <a:ext cx="2069156" cy="118622"/>
          </a:xfrm>
          <a:prstGeom prst="rect">
            <a:avLst/>
          </a:prstGeom>
        </p:spPr>
        <p:txBody>
          <a:bodyPr wrap="none" lIns="0" tIns="0" rIns="0" bIns="0" anchor="b" anchorCtr="0">
            <a:spAutoFit/>
          </a:bodyPr>
          <a:lstStyle>
            <a:lvl1pPr marL="293827" indent="-293827" algn="l" defTabSz="829271" rtl="0" eaLnBrk="1" latinLnBrk="0" hangingPunct="1">
              <a:spcBef>
                <a:spcPct val="20000"/>
              </a:spcBef>
              <a:buClr>
                <a:srgbClr val="FFD200"/>
              </a:buClr>
              <a:buSzPct val="70000"/>
              <a:buFontTx/>
              <a:buNone/>
              <a:defRPr lang="en-SG" sz="700" b="0" i="0" kern="1200" dirty="0" smtClean="0">
                <a:solidFill>
                  <a:schemeClr val="accent4"/>
                </a:solidFill>
                <a:latin typeface="EYInterstate Light" panose="02000506000000020004" pitchFamily="2" charset="0"/>
                <a:ea typeface="+mn-ea"/>
                <a:cs typeface="EYInterstate Light"/>
              </a:defRPr>
            </a:lvl1pPr>
            <a:lvl2pPr marL="587677" indent="-293827" algn="l" defTabSz="829271" rtl="0" eaLnBrk="1" latinLnBrk="0" hangingPunct="1">
              <a:spcBef>
                <a:spcPct val="20000"/>
              </a:spcBef>
              <a:buClr>
                <a:srgbClr val="FFD200"/>
              </a:buClr>
              <a:buSzPct val="70000"/>
              <a:buFont typeface="Arial" pitchFamily="34" charset="0"/>
              <a:buChar char="►"/>
              <a:defRPr sz="1453" kern="1200">
                <a:solidFill>
                  <a:schemeClr val="accent1"/>
                </a:solidFill>
                <a:latin typeface="+mn-lt"/>
                <a:ea typeface="+mn-ea"/>
                <a:cs typeface="+mn-cs"/>
              </a:defRPr>
            </a:lvl2pPr>
            <a:lvl3pPr marL="881504" indent="-293827" algn="l" defTabSz="829271" rtl="0" eaLnBrk="1" latinLnBrk="0" hangingPunct="1">
              <a:spcBef>
                <a:spcPct val="20000"/>
              </a:spcBef>
              <a:buClr>
                <a:srgbClr val="FFD200"/>
              </a:buClr>
              <a:buSzPct val="70000"/>
              <a:buFont typeface="Arial" pitchFamily="34" charset="0"/>
              <a:buChar char="►"/>
              <a:defRPr sz="1308" kern="1200">
                <a:solidFill>
                  <a:schemeClr val="accent1"/>
                </a:solidFill>
                <a:latin typeface="+mn-lt"/>
                <a:ea typeface="+mn-ea"/>
                <a:cs typeface="+mn-cs"/>
              </a:defRPr>
            </a:lvl3pPr>
            <a:lvl4pPr marL="1175344" indent="-293827" algn="l" defTabSz="829271" rtl="0" eaLnBrk="1" latinLnBrk="0" hangingPunct="1">
              <a:spcBef>
                <a:spcPct val="20000"/>
              </a:spcBef>
              <a:buClr>
                <a:srgbClr val="FFD200"/>
              </a:buClr>
              <a:buSzPct val="70000"/>
              <a:buFont typeface="Arial" pitchFamily="34" charset="0"/>
              <a:buChar char="►"/>
              <a:defRPr sz="1090" kern="1200">
                <a:solidFill>
                  <a:schemeClr val="accent1"/>
                </a:solidFill>
                <a:latin typeface="+mn-lt"/>
                <a:ea typeface="+mn-ea"/>
                <a:cs typeface="+mn-cs"/>
              </a:defRPr>
            </a:lvl4pPr>
            <a:lvl5pPr marL="1469185" indent="-293827" algn="l" defTabSz="829271" rtl="0" eaLnBrk="1" latinLnBrk="0" hangingPunct="1">
              <a:spcBef>
                <a:spcPct val="20000"/>
              </a:spcBef>
              <a:buClr>
                <a:srgbClr val="FFD200"/>
              </a:buClr>
              <a:buSzPct val="70000"/>
              <a:buFont typeface="Arial" pitchFamily="34" charset="0"/>
              <a:buChar char="►"/>
              <a:defRPr sz="1090" kern="1200">
                <a:solidFill>
                  <a:schemeClr val="accent1"/>
                </a:solidFill>
                <a:latin typeface="+mn-lt"/>
                <a:ea typeface="+mn-ea"/>
                <a:cs typeface="+mn-cs"/>
              </a:defRPr>
            </a:lvl5pPr>
            <a:lvl6pPr marL="2280497" indent="-207295" algn="l" defTabSz="829271" rtl="0" eaLnBrk="1" latinLnBrk="0" hangingPunct="1">
              <a:spcBef>
                <a:spcPct val="20000"/>
              </a:spcBef>
              <a:buFont typeface="Arial" pitchFamily="34" charset="0"/>
              <a:buChar char="•"/>
              <a:defRPr sz="1817" kern="1200">
                <a:solidFill>
                  <a:schemeClr val="tx1"/>
                </a:solidFill>
                <a:latin typeface="+mn-lt"/>
                <a:ea typeface="+mn-ea"/>
                <a:cs typeface="+mn-cs"/>
              </a:defRPr>
            </a:lvl6pPr>
            <a:lvl7pPr marL="2695135" indent="-207295" algn="l" defTabSz="829271" rtl="0" eaLnBrk="1" latinLnBrk="0" hangingPunct="1">
              <a:spcBef>
                <a:spcPct val="20000"/>
              </a:spcBef>
              <a:buFont typeface="Arial" pitchFamily="34" charset="0"/>
              <a:buChar char="•"/>
              <a:defRPr sz="1817" kern="1200">
                <a:solidFill>
                  <a:schemeClr val="tx1"/>
                </a:solidFill>
                <a:latin typeface="+mn-lt"/>
                <a:ea typeface="+mn-ea"/>
                <a:cs typeface="+mn-cs"/>
              </a:defRPr>
            </a:lvl7pPr>
            <a:lvl8pPr marL="3109766" indent="-207295" algn="l" defTabSz="829271" rtl="0" eaLnBrk="1" latinLnBrk="0" hangingPunct="1">
              <a:spcBef>
                <a:spcPct val="20000"/>
              </a:spcBef>
              <a:buFont typeface="Arial" pitchFamily="34" charset="0"/>
              <a:buChar char="•"/>
              <a:defRPr sz="1817" kern="1200">
                <a:solidFill>
                  <a:schemeClr val="tx1"/>
                </a:solidFill>
                <a:latin typeface="+mn-lt"/>
                <a:ea typeface="+mn-ea"/>
                <a:cs typeface="+mn-cs"/>
              </a:defRPr>
            </a:lvl8pPr>
            <a:lvl9pPr marL="3524401" indent="-207295" algn="l" defTabSz="829271" rtl="0" eaLnBrk="1" latinLnBrk="0" hangingPunct="1">
              <a:spcBef>
                <a:spcPct val="20000"/>
              </a:spcBef>
              <a:buFont typeface="Arial" pitchFamily="34" charset="0"/>
              <a:buChar char="•"/>
              <a:defRPr sz="1817" kern="1200">
                <a:solidFill>
                  <a:schemeClr val="tx1"/>
                </a:solidFill>
                <a:latin typeface="+mn-lt"/>
                <a:ea typeface="+mn-ea"/>
                <a:cs typeface="+mn-cs"/>
              </a:defRPr>
            </a:lvl9pPr>
          </a:lstStyle>
          <a:p>
            <a:pPr marL="0" marR="4326" indent="0" algn="l" defTabSz="1002859">
              <a:spcBef>
                <a:spcPts val="0"/>
              </a:spcBef>
            </a:pPr>
            <a:r>
              <a:rPr lang="en-US" sz="771" b="0" i="0">
                <a:solidFill>
                  <a:schemeClr val="tx2"/>
                </a:solidFill>
                <a:latin typeface="EYInterstate" panose="02000503020000020004" pitchFamily="2" charset="0"/>
              </a:rPr>
              <a:t>©️ 2019  Ernst &amp; Young. All Rights Reserved.</a:t>
            </a:r>
          </a:p>
        </p:txBody>
      </p:sp>
    </p:spTree>
    <p:extLst>
      <p:ext uri="{BB962C8B-B14F-4D97-AF65-F5344CB8AC3E}">
        <p14:creationId xmlns:p14="http://schemas.microsoft.com/office/powerpoint/2010/main" val="2920587726"/>
      </p:ext>
    </p:extLst>
  </p:cSld>
  <p:clrMapOvr>
    <a:masterClrMapping/>
  </p:clrMapOvr>
  <p:extLst>
    <p:ext uri="{DCECCB84-F9BA-43D5-87BE-67443E8EF086}">
      <p15:sldGuideLst xmlns:p15="http://schemas.microsoft.com/office/powerpoint/2012/main">
        <p15:guide id="1" orient="horz" pos="4320">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Standard slide_no bullets_no headers">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301071942"/>
              </p:ext>
            </p:extLst>
          </p:nvPr>
        </p:nvGraphicFramePr>
        <p:xfrm>
          <a:off x="1588" y="1590"/>
          <a:ext cx="1588" cy="1587"/>
        </p:xfrm>
        <a:graphic>
          <a:graphicData uri="http://schemas.openxmlformats.org/presentationml/2006/ole">
            <mc:AlternateContent xmlns:mc="http://schemas.openxmlformats.org/markup-compatibility/2006">
              <mc:Choice xmlns:v="urn:schemas-microsoft-com:vml" Requires="v">
                <p:oleObj spid="_x0000_s14338" name="think-cell Slide" r:id="rId4" imgW="493" imgH="493" progId="TCLayout.ActiveDocument.1">
                  <p:embed/>
                </p:oleObj>
              </mc:Choice>
              <mc:Fallback>
                <p:oleObj name="think-cell Slide" r:id="rId4" imgW="493" imgH="493" progId="TCLayout.ActiveDocument.1">
                  <p:embed/>
                  <p:pic>
                    <p:nvPicPr>
                      <p:cNvPr id="4" name="Object 3" hidden="1"/>
                      <p:cNvPicPr/>
                      <p:nvPr/>
                    </p:nvPicPr>
                    <p:blipFill>
                      <a:blip r:embed="rId5"/>
                      <a:stretch>
                        <a:fillRect/>
                      </a:stretch>
                    </p:blipFill>
                    <p:spPr>
                      <a:xfrm>
                        <a:off x="1588" y="1590"/>
                        <a:ext cx="1588" cy="1587"/>
                      </a:xfrm>
                      <a:prstGeom prst="rect">
                        <a:avLst/>
                      </a:prstGeom>
                    </p:spPr>
                  </p:pic>
                </p:oleObj>
              </mc:Fallback>
            </mc:AlternateContent>
          </a:graphicData>
        </a:graphic>
      </p:graphicFrame>
      <p:sp>
        <p:nvSpPr>
          <p:cNvPr id="2" name="Title 1"/>
          <p:cNvSpPr>
            <a:spLocks noGrp="1"/>
          </p:cNvSpPr>
          <p:nvPr>
            <p:ph type="title" hasCustomPrompt="1"/>
          </p:nvPr>
        </p:nvSpPr>
        <p:spPr>
          <a:xfrm>
            <a:off x="943201" y="608400"/>
            <a:ext cx="11700000" cy="741600"/>
          </a:xfrm>
          <a:prstGeom prst="rect">
            <a:avLst/>
          </a:prstGeom>
        </p:spPr>
        <p:txBody>
          <a:bodyPr/>
          <a:lstStyle>
            <a:lvl1pPr>
              <a:defRPr sz="2400"/>
            </a:lvl1pPr>
          </a:lstStyle>
          <a:p>
            <a:r>
              <a:rPr lang="en-US"/>
              <a:t>CLICK TO EDIT MASTER TITLE STYLE</a:t>
            </a:r>
            <a:endParaRPr lang="en-GB"/>
          </a:p>
        </p:txBody>
      </p:sp>
    </p:spTree>
    <p:extLst>
      <p:ext uri="{BB962C8B-B14F-4D97-AF65-F5344CB8AC3E}">
        <p14:creationId xmlns:p14="http://schemas.microsoft.com/office/powerpoint/2010/main" val="21564177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Custom Layout">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A8BBA6AB-52DA-1F4F-A9F2-32A0449550D3}"/>
              </a:ext>
            </a:extLst>
          </p:cNvPr>
          <p:cNvSpPr/>
          <p:nvPr userDrawn="1"/>
        </p:nvSpPr>
        <p:spPr>
          <a:xfrm>
            <a:off x="943905" y="428151"/>
            <a:ext cx="1260000" cy="10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5" name="Title 4">
            <a:extLst>
              <a:ext uri="{FF2B5EF4-FFF2-40B4-BE49-F238E27FC236}">
                <a16:creationId xmlns:a16="http://schemas.microsoft.com/office/drawing/2014/main" id="{CEA215F3-869A-0348-BB46-F05B965212F4}"/>
              </a:ext>
            </a:extLst>
          </p:cNvPr>
          <p:cNvSpPr>
            <a:spLocks noGrp="1"/>
          </p:cNvSpPr>
          <p:nvPr>
            <p:ph type="title"/>
          </p:nvPr>
        </p:nvSpPr>
        <p:spPr>
          <a:xfrm>
            <a:off x="943905" y="608399"/>
            <a:ext cx="12098656" cy="811646"/>
          </a:xfrm>
          <a:prstGeom prst="rect">
            <a:avLst/>
          </a:prstGeom>
        </p:spPr>
        <p:txBody>
          <a:bodyPr lIns="0"/>
          <a:lstStyle>
            <a:lvl1pPr>
              <a:defRPr sz="2400"/>
            </a:lvl1pPr>
          </a:lstStyle>
          <a:p>
            <a:r>
              <a:rPr lang="en-US"/>
              <a:t>Click to edit Master title style</a:t>
            </a:r>
            <a:endParaRPr lang="en-GB"/>
          </a:p>
        </p:txBody>
      </p:sp>
    </p:spTree>
    <p:extLst>
      <p:ext uri="{BB962C8B-B14F-4D97-AF65-F5344CB8AC3E}">
        <p14:creationId xmlns:p14="http://schemas.microsoft.com/office/powerpoint/2010/main" val="1795684721"/>
      </p:ext>
    </p:extLst>
  </p:cSld>
  <p:clrMapOvr>
    <a:overrideClrMapping bg1="dk1" tx1="lt1" bg2="dk2" tx2="lt2" accent1="accent1" accent2="accent2" accent3="accent3" accent4="accent4" accent5="accent5" accent6="accent6" hlink="hlink" folHlink="folHlink"/>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1_Custom Layout">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86187333"/>
      </p:ext>
    </p:extLst>
  </p:cSld>
  <p:clrMapOvr>
    <a:overrideClrMapping bg1="dk1" tx1="lt1" bg2="dk2" tx2="lt2" accent1="accent1" accent2="accent2" accent3="accent3" accent4="accent4" accent5="accent5" accent6="accent6" hlink="hlink" folHlink="folHlink"/>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5_Blank">
    <p:bg>
      <p:bgPr>
        <a:solidFill>
          <a:schemeClr val="tx1"/>
        </a:solidFill>
        <a:effectLst/>
      </p:bgPr>
    </p:bg>
    <p:spTree>
      <p:nvGrpSpPr>
        <p:cNvPr id="1" name=""/>
        <p:cNvGrpSpPr/>
        <p:nvPr/>
      </p:nvGrpSpPr>
      <p:grpSpPr>
        <a:xfrm>
          <a:off x="0" y="0"/>
          <a:ext cx="0" cy="0"/>
          <a:chOff x="0" y="0"/>
          <a:chExt cx="0" cy="0"/>
        </a:xfrm>
      </p:grpSpPr>
      <p:sp>
        <p:nvSpPr>
          <p:cNvPr id="15" name="object 7">
            <a:extLst>
              <a:ext uri="{FF2B5EF4-FFF2-40B4-BE49-F238E27FC236}">
                <a16:creationId xmlns:a16="http://schemas.microsoft.com/office/drawing/2014/main" id="{A9E07F53-5493-D745-9EB3-56AA82429EB9}"/>
              </a:ext>
            </a:extLst>
          </p:cNvPr>
          <p:cNvSpPr/>
          <p:nvPr userDrawn="1"/>
        </p:nvSpPr>
        <p:spPr>
          <a:xfrm>
            <a:off x="714208" y="396917"/>
            <a:ext cx="3967825" cy="0"/>
          </a:xfrm>
          <a:custGeom>
            <a:avLst/>
            <a:gdLst/>
            <a:ahLst/>
            <a:cxnLst/>
            <a:rect l="l" t="t" r="r" b="b"/>
            <a:pathLst>
              <a:path w="7721600">
                <a:moveTo>
                  <a:pt x="0" y="0"/>
                </a:moveTo>
                <a:lnTo>
                  <a:pt x="7721600" y="0"/>
                </a:lnTo>
              </a:path>
            </a:pathLst>
          </a:custGeom>
          <a:ln w="19050">
            <a:solidFill>
              <a:schemeClr val="accent3"/>
            </a:solidFill>
          </a:ln>
        </p:spPr>
        <p:txBody>
          <a:bodyPr wrap="square" lIns="0" tIns="0" rIns="0" bIns="0" rtlCol="0"/>
          <a:lstStyle/>
          <a:p>
            <a:endParaRPr sz="1622"/>
          </a:p>
        </p:txBody>
      </p:sp>
      <p:sp>
        <p:nvSpPr>
          <p:cNvPr id="24" name="Title 23">
            <a:extLst>
              <a:ext uri="{FF2B5EF4-FFF2-40B4-BE49-F238E27FC236}">
                <a16:creationId xmlns:a16="http://schemas.microsoft.com/office/drawing/2014/main" id="{74582B84-AFBF-C14B-A4DA-884520648B28}"/>
              </a:ext>
            </a:extLst>
          </p:cNvPr>
          <p:cNvSpPr>
            <a:spLocks noGrp="1"/>
          </p:cNvSpPr>
          <p:nvPr>
            <p:ph type="title" hasCustomPrompt="1"/>
          </p:nvPr>
        </p:nvSpPr>
        <p:spPr>
          <a:xfrm>
            <a:off x="714210" y="476304"/>
            <a:ext cx="11903474" cy="555682"/>
          </a:xfrm>
          <a:prstGeom prst="rect">
            <a:avLst/>
          </a:prstGeom>
        </p:spPr>
        <p:txBody>
          <a:bodyPr vert="horz" wrap="square" lIns="0" tIns="0" rIns="0" bIns="0" rtlCol="0">
            <a:noAutofit/>
          </a:bodyPr>
          <a:lstStyle>
            <a:lvl1pPr>
              <a:defRPr lang="en-US" sz="2205" spc="-54" dirty="0">
                <a:solidFill>
                  <a:srgbClr val="575756"/>
                </a:solidFill>
                <a:latin typeface="EYInterstate Light" panose="02000506000000020004" pitchFamily="2" charset="0"/>
                <a:ea typeface="+mn-ea"/>
                <a:cs typeface="EYInterstate Light" panose="02000506000000020004" pitchFamily="2" charset="0"/>
              </a:defRPr>
            </a:lvl1pPr>
          </a:lstStyle>
          <a:p>
            <a:pPr marL="12354" lvl="0" defTabSz="889444">
              <a:lnSpc>
                <a:spcPct val="100000"/>
              </a:lnSpc>
            </a:pPr>
            <a:r>
              <a:rPr lang="en-US"/>
              <a:t>CLICK TO EDIT MASTER TITLE STYLE</a:t>
            </a:r>
          </a:p>
        </p:txBody>
      </p:sp>
    </p:spTree>
    <p:extLst>
      <p:ext uri="{BB962C8B-B14F-4D97-AF65-F5344CB8AC3E}">
        <p14:creationId xmlns:p14="http://schemas.microsoft.com/office/powerpoint/2010/main" val="306656675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Standard slide_no bullets_no headers">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4206396946"/>
              </p:ext>
            </p:extLst>
          </p:nvPr>
        </p:nvGraphicFramePr>
        <p:xfrm>
          <a:off x="1588" y="1591"/>
          <a:ext cx="1588" cy="1587"/>
        </p:xfrm>
        <a:graphic>
          <a:graphicData uri="http://schemas.openxmlformats.org/presentationml/2006/ole">
            <mc:AlternateContent xmlns:mc="http://schemas.openxmlformats.org/markup-compatibility/2006">
              <mc:Choice xmlns:v="urn:schemas-microsoft-com:vml" Requires="v">
                <p:oleObj spid="_x0000_s16386" name="think-cell Slide" r:id="rId4" imgW="493" imgH="493" progId="TCLayout.ActiveDocument.1">
                  <p:embed/>
                </p:oleObj>
              </mc:Choice>
              <mc:Fallback>
                <p:oleObj name="think-cell Slide" r:id="rId4" imgW="493" imgH="493" progId="TCLayout.ActiveDocument.1">
                  <p:embed/>
                  <p:pic>
                    <p:nvPicPr>
                      <p:cNvPr id="4" name="Object 3" hidden="1"/>
                      <p:cNvPicPr/>
                      <p:nvPr/>
                    </p:nvPicPr>
                    <p:blipFill>
                      <a:blip r:embed="rId5"/>
                      <a:stretch>
                        <a:fillRect/>
                      </a:stretch>
                    </p:blipFill>
                    <p:spPr>
                      <a:xfrm>
                        <a:off x="1588" y="1591"/>
                        <a:ext cx="1588" cy="1587"/>
                      </a:xfrm>
                      <a:prstGeom prst="rect">
                        <a:avLst/>
                      </a:prstGeom>
                    </p:spPr>
                  </p:pic>
                </p:oleObj>
              </mc:Fallback>
            </mc:AlternateContent>
          </a:graphicData>
        </a:graphic>
      </p:graphicFrame>
      <p:sp>
        <p:nvSpPr>
          <p:cNvPr id="2" name="Title 1"/>
          <p:cNvSpPr>
            <a:spLocks noGrp="1"/>
          </p:cNvSpPr>
          <p:nvPr>
            <p:ph type="title" hasCustomPrompt="1"/>
          </p:nvPr>
        </p:nvSpPr>
        <p:spPr>
          <a:xfrm>
            <a:off x="943201" y="608400"/>
            <a:ext cx="11700000" cy="741600"/>
          </a:xfrm>
          <a:prstGeom prst="rect">
            <a:avLst/>
          </a:prstGeom>
        </p:spPr>
        <p:txBody>
          <a:bodyPr/>
          <a:lstStyle>
            <a:lvl1pPr>
              <a:defRPr sz="2400"/>
            </a:lvl1pPr>
          </a:lstStyle>
          <a:p>
            <a:r>
              <a:rPr lang="en-US"/>
              <a:t>CLICK TO EDIT MASTER TITLE STYLE</a:t>
            </a:r>
            <a:endParaRPr lang="en-GB"/>
          </a:p>
        </p:txBody>
      </p:sp>
    </p:spTree>
    <p:extLst>
      <p:ext uri="{BB962C8B-B14F-4D97-AF65-F5344CB8AC3E}">
        <p14:creationId xmlns:p14="http://schemas.microsoft.com/office/powerpoint/2010/main" val="249244829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Custom Layout">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A8BBA6AB-52DA-1F4F-A9F2-32A0449550D3}"/>
              </a:ext>
            </a:extLst>
          </p:cNvPr>
          <p:cNvSpPr/>
          <p:nvPr userDrawn="1"/>
        </p:nvSpPr>
        <p:spPr>
          <a:xfrm>
            <a:off x="943906" y="428151"/>
            <a:ext cx="1260000" cy="10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5" name="Title 4">
            <a:extLst>
              <a:ext uri="{FF2B5EF4-FFF2-40B4-BE49-F238E27FC236}">
                <a16:creationId xmlns:a16="http://schemas.microsoft.com/office/drawing/2014/main" id="{CEA215F3-869A-0348-BB46-F05B965212F4}"/>
              </a:ext>
            </a:extLst>
          </p:cNvPr>
          <p:cNvSpPr>
            <a:spLocks noGrp="1"/>
          </p:cNvSpPr>
          <p:nvPr>
            <p:ph type="title"/>
          </p:nvPr>
        </p:nvSpPr>
        <p:spPr>
          <a:xfrm>
            <a:off x="943906" y="608399"/>
            <a:ext cx="12098656" cy="811646"/>
          </a:xfrm>
          <a:prstGeom prst="rect">
            <a:avLst/>
          </a:prstGeom>
        </p:spPr>
        <p:txBody>
          <a:bodyPr lIns="0"/>
          <a:lstStyle>
            <a:lvl1pPr>
              <a:defRPr sz="2400"/>
            </a:lvl1pPr>
          </a:lstStyle>
          <a:p>
            <a:r>
              <a:rPr lang="en-US"/>
              <a:t>Click to edit Master title style</a:t>
            </a:r>
            <a:endParaRPr lang="en-GB"/>
          </a:p>
        </p:txBody>
      </p:sp>
    </p:spTree>
    <p:extLst>
      <p:ext uri="{BB962C8B-B14F-4D97-AF65-F5344CB8AC3E}">
        <p14:creationId xmlns:p14="http://schemas.microsoft.com/office/powerpoint/2010/main" val="1971565767"/>
      </p:ext>
    </p:extLst>
  </p:cSld>
  <p:clrMapOvr>
    <a:overrideClrMapping bg1="dk1" tx1="lt1" bg2="dk2" tx2="lt2" accent1="accent1" accent2="accent2" accent3="accent3" accent4="accent4" accent5="accent5" accent6="accent6" hlink="hlink" folHlink="folHlink"/>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1_Custom Layout">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51421613"/>
      </p:ext>
    </p:extLst>
  </p:cSld>
  <p:clrMapOvr>
    <a:overrideClrMapping bg1="dk1" tx1="lt1" bg2="dk2" tx2="lt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5_Blank">
    <p:bg>
      <p:bgPr>
        <a:solidFill>
          <a:schemeClr val="tx1"/>
        </a:solidFill>
        <a:effectLst/>
      </p:bgPr>
    </p:bg>
    <p:spTree>
      <p:nvGrpSpPr>
        <p:cNvPr id="1" name=""/>
        <p:cNvGrpSpPr/>
        <p:nvPr/>
      </p:nvGrpSpPr>
      <p:grpSpPr>
        <a:xfrm>
          <a:off x="0" y="0"/>
          <a:ext cx="0" cy="0"/>
          <a:chOff x="0" y="0"/>
          <a:chExt cx="0" cy="0"/>
        </a:xfrm>
      </p:grpSpPr>
      <p:sp>
        <p:nvSpPr>
          <p:cNvPr id="15" name="object 7">
            <a:extLst>
              <a:ext uri="{FF2B5EF4-FFF2-40B4-BE49-F238E27FC236}">
                <a16:creationId xmlns:a16="http://schemas.microsoft.com/office/drawing/2014/main" id="{A9E07F53-5493-D745-9EB3-56AA82429EB9}"/>
              </a:ext>
            </a:extLst>
          </p:cNvPr>
          <p:cNvSpPr/>
          <p:nvPr userDrawn="1"/>
        </p:nvSpPr>
        <p:spPr>
          <a:xfrm>
            <a:off x="714208" y="396917"/>
            <a:ext cx="3967825" cy="0"/>
          </a:xfrm>
          <a:custGeom>
            <a:avLst/>
            <a:gdLst/>
            <a:ahLst/>
            <a:cxnLst/>
            <a:rect l="l" t="t" r="r" b="b"/>
            <a:pathLst>
              <a:path w="7721600">
                <a:moveTo>
                  <a:pt x="0" y="0"/>
                </a:moveTo>
                <a:lnTo>
                  <a:pt x="7721600" y="0"/>
                </a:lnTo>
              </a:path>
            </a:pathLst>
          </a:custGeom>
          <a:ln w="19050">
            <a:solidFill>
              <a:schemeClr val="accent3"/>
            </a:solidFill>
          </a:ln>
        </p:spPr>
        <p:txBody>
          <a:bodyPr wrap="square" lIns="0" tIns="0" rIns="0" bIns="0" rtlCol="0"/>
          <a:lstStyle/>
          <a:p>
            <a:endParaRPr sz="1622"/>
          </a:p>
        </p:txBody>
      </p:sp>
      <p:sp>
        <p:nvSpPr>
          <p:cNvPr id="24" name="Title 23">
            <a:extLst>
              <a:ext uri="{FF2B5EF4-FFF2-40B4-BE49-F238E27FC236}">
                <a16:creationId xmlns:a16="http://schemas.microsoft.com/office/drawing/2014/main" id="{74582B84-AFBF-C14B-A4DA-884520648B28}"/>
              </a:ext>
            </a:extLst>
          </p:cNvPr>
          <p:cNvSpPr>
            <a:spLocks noGrp="1"/>
          </p:cNvSpPr>
          <p:nvPr>
            <p:ph type="title" hasCustomPrompt="1"/>
          </p:nvPr>
        </p:nvSpPr>
        <p:spPr>
          <a:xfrm>
            <a:off x="714210" y="476303"/>
            <a:ext cx="11903474" cy="555682"/>
          </a:xfrm>
          <a:prstGeom prst="rect">
            <a:avLst/>
          </a:prstGeom>
        </p:spPr>
        <p:txBody>
          <a:bodyPr vert="horz" wrap="square" lIns="0" tIns="0" rIns="0" bIns="0" rtlCol="0">
            <a:noAutofit/>
          </a:bodyPr>
          <a:lstStyle>
            <a:lvl1pPr>
              <a:defRPr lang="en-US" sz="2205" spc="-54" dirty="0">
                <a:solidFill>
                  <a:srgbClr val="575756"/>
                </a:solidFill>
                <a:latin typeface="EYInterstate Light" panose="02000506000000020004" pitchFamily="2" charset="0"/>
                <a:ea typeface="+mn-ea"/>
                <a:cs typeface="EYInterstate Light" panose="02000506000000020004" pitchFamily="2" charset="0"/>
              </a:defRPr>
            </a:lvl1pPr>
          </a:lstStyle>
          <a:p>
            <a:pPr marL="12355" lvl="0" defTabSz="889571">
              <a:lnSpc>
                <a:spcPct val="100000"/>
              </a:lnSpc>
            </a:pPr>
            <a:r>
              <a:rPr lang="en-US"/>
              <a:t>CLICK TO EDIT MASTER TITLE STYLE</a:t>
            </a:r>
          </a:p>
        </p:txBody>
      </p:sp>
    </p:spTree>
    <p:extLst>
      <p:ext uri="{BB962C8B-B14F-4D97-AF65-F5344CB8AC3E}">
        <p14:creationId xmlns:p14="http://schemas.microsoft.com/office/powerpoint/2010/main" val="64512144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5_Blank">
    <p:bg>
      <p:bgPr>
        <a:solidFill>
          <a:schemeClr val="tx1"/>
        </a:solidFill>
        <a:effectLst/>
      </p:bgPr>
    </p:bg>
    <p:spTree>
      <p:nvGrpSpPr>
        <p:cNvPr id="1" name=""/>
        <p:cNvGrpSpPr/>
        <p:nvPr/>
      </p:nvGrpSpPr>
      <p:grpSpPr>
        <a:xfrm>
          <a:off x="0" y="0"/>
          <a:ext cx="0" cy="0"/>
          <a:chOff x="0" y="0"/>
          <a:chExt cx="0" cy="0"/>
        </a:xfrm>
      </p:grpSpPr>
      <p:sp>
        <p:nvSpPr>
          <p:cNvPr id="15" name="object 7">
            <a:extLst>
              <a:ext uri="{FF2B5EF4-FFF2-40B4-BE49-F238E27FC236}">
                <a16:creationId xmlns:a16="http://schemas.microsoft.com/office/drawing/2014/main" id="{A9E07F53-5493-D745-9EB3-56AA82429EB9}"/>
              </a:ext>
            </a:extLst>
          </p:cNvPr>
          <p:cNvSpPr/>
          <p:nvPr userDrawn="1"/>
        </p:nvSpPr>
        <p:spPr>
          <a:xfrm>
            <a:off x="714208" y="396917"/>
            <a:ext cx="3967825" cy="0"/>
          </a:xfrm>
          <a:custGeom>
            <a:avLst/>
            <a:gdLst/>
            <a:ahLst/>
            <a:cxnLst/>
            <a:rect l="l" t="t" r="r" b="b"/>
            <a:pathLst>
              <a:path w="7721600">
                <a:moveTo>
                  <a:pt x="0" y="0"/>
                </a:moveTo>
                <a:lnTo>
                  <a:pt x="7721600" y="0"/>
                </a:lnTo>
              </a:path>
            </a:pathLst>
          </a:custGeom>
          <a:ln w="19050">
            <a:solidFill>
              <a:schemeClr val="accent3"/>
            </a:solidFill>
          </a:ln>
        </p:spPr>
        <p:txBody>
          <a:bodyPr wrap="square" lIns="0" tIns="0" rIns="0" bIns="0" rtlCol="0"/>
          <a:lstStyle/>
          <a:p>
            <a:endParaRPr sz="1622"/>
          </a:p>
        </p:txBody>
      </p:sp>
      <p:sp>
        <p:nvSpPr>
          <p:cNvPr id="24" name="Title 23">
            <a:extLst>
              <a:ext uri="{FF2B5EF4-FFF2-40B4-BE49-F238E27FC236}">
                <a16:creationId xmlns:a16="http://schemas.microsoft.com/office/drawing/2014/main" id="{74582B84-AFBF-C14B-A4DA-884520648B28}"/>
              </a:ext>
            </a:extLst>
          </p:cNvPr>
          <p:cNvSpPr>
            <a:spLocks noGrp="1"/>
          </p:cNvSpPr>
          <p:nvPr>
            <p:ph type="title" hasCustomPrompt="1"/>
          </p:nvPr>
        </p:nvSpPr>
        <p:spPr>
          <a:xfrm>
            <a:off x="714210" y="476304"/>
            <a:ext cx="11903474" cy="555682"/>
          </a:xfrm>
          <a:prstGeom prst="rect">
            <a:avLst/>
          </a:prstGeom>
        </p:spPr>
        <p:txBody>
          <a:bodyPr vert="horz" wrap="square" lIns="0" tIns="0" rIns="0" bIns="0" rtlCol="0">
            <a:noAutofit/>
          </a:bodyPr>
          <a:lstStyle>
            <a:lvl1pPr>
              <a:defRPr lang="en-US" sz="2205" spc="-54" dirty="0">
                <a:solidFill>
                  <a:srgbClr val="575756"/>
                </a:solidFill>
                <a:latin typeface="EYInterstate Light" panose="02000506000000020004" pitchFamily="2" charset="0"/>
                <a:ea typeface="+mn-ea"/>
                <a:cs typeface="EYInterstate Light" panose="02000506000000020004" pitchFamily="2" charset="0"/>
              </a:defRPr>
            </a:lvl1pPr>
          </a:lstStyle>
          <a:p>
            <a:pPr marL="12352" lvl="0" defTabSz="889317">
              <a:lnSpc>
                <a:spcPct val="100000"/>
              </a:lnSpc>
            </a:pPr>
            <a:r>
              <a:rPr lang="en-US"/>
              <a:t>CLICK TO EDIT MASTER TITLE STYLE</a:t>
            </a:r>
          </a:p>
        </p:txBody>
      </p:sp>
    </p:spTree>
    <p:extLst>
      <p:ext uri="{BB962C8B-B14F-4D97-AF65-F5344CB8AC3E}">
        <p14:creationId xmlns:p14="http://schemas.microsoft.com/office/powerpoint/2010/main" val="315045562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Standard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161042594"/>
              </p:ext>
            </p:extLst>
          </p:nvPr>
        </p:nvGraphicFramePr>
        <p:xfrm>
          <a:off x="1588" y="1591"/>
          <a:ext cx="1588" cy="1587"/>
        </p:xfrm>
        <a:graphic>
          <a:graphicData uri="http://schemas.openxmlformats.org/presentationml/2006/ole">
            <mc:AlternateContent xmlns:mc="http://schemas.openxmlformats.org/markup-compatibility/2006">
              <mc:Choice xmlns:v="urn:schemas-microsoft-com:vml" Requires="v">
                <p:oleObj spid="_x0000_s18434" name="think-cell Slide" r:id="rId4" imgW="360" imgH="360" progId="TCLayout.ActiveDocument.1">
                  <p:embed/>
                </p:oleObj>
              </mc:Choice>
              <mc:Fallback>
                <p:oleObj name="think-cell Slide" r:id="rId4" imgW="360" imgH="360" progId="TCLayout.ActiveDocument.1">
                  <p:embed/>
                  <p:pic>
                    <p:nvPicPr>
                      <p:cNvPr id="4" name="Object 3" hidden="1"/>
                      <p:cNvPicPr/>
                      <p:nvPr/>
                    </p:nvPicPr>
                    <p:blipFill>
                      <a:blip r:embed="rId5"/>
                      <a:stretch>
                        <a:fillRect/>
                      </a:stretch>
                    </p:blipFill>
                    <p:spPr>
                      <a:xfrm>
                        <a:off x="1588" y="1591"/>
                        <a:ext cx="1588" cy="1587"/>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783BE9ED-87EF-4BBE-B243-0CE42D8AFCDD}"/>
              </a:ext>
            </a:extLst>
          </p:cNvPr>
          <p:cNvPicPr>
            <a:picLocks noChangeAspect="1"/>
          </p:cNvPicPr>
          <p:nvPr userDrawn="1"/>
        </p:nvPicPr>
        <p:blipFill rotWithShape="1">
          <a:blip r:embed="rId6" cstate="print">
            <a:duotone>
              <a:prstClr val="black"/>
              <a:schemeClr val="tx2">
                <a:tint val="45000"/>
                <a:satMod val="400000"/>
              </a:schemeClr>
            </a:duotone>
            <a:extLst>
              <a:ext uri="{28A0092B-C50C-407E-A947-70E740481C1C}">
                <a14:useLocalDpi xmlns:a14="http://schemas.microsoft.com/office/drawing/2010/main" val="0"/>
              </a:ext>
            </a:extLst>
          </a:blip>
          <a:srcRect b="15599"/>
          <a:stretch/>
        </p:blipFill>
        <p:spPr>
          <a:xfrm>
            <a:off x="3" y="0"/>
            <a:ext cx="13438217" cy="7561263"/>
          </a:xfrm>
          <a:prstGeom prst="rect">
            <a:avLst/>
          </a:prstGeom>
        </p:spPr>
      </p:pic>
    </p:spTree>
    <p:extLst>
      <p:ext uri="{BB962C8B-B14F-4D97-AF65-F5344CB8AC3E}">
        <p14:creationId xmlns:p14="http://schemas.microsoft.com/office/powerpoint/2010/main" val="772580779"/>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Standard slide_no bullets_no headers">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474476965"/>
              </p:ext>
            </p:extLst>
          </p:nvPr>
        </p:nvGraphicFramePr>
        <p:xfrm>
          <a:off x="1588" y="1591"/>
          <a:ext cx="1588" cy="1587"/>
        </p:xfrm>
        <a:graphic>
          <a:graphicData uri="http://schemas.openxmlformats.org/presentationml/2006/ole">
            <mc:AlternateContent xmlns:mc="http://schemas.openxmlformats.org/markup-compatibility/2006">
              <mc:Choice xmlns:v="urn:schemas-microsoft-com:vml" Requires="v">
                <p:oleObj spid="_x0000_s19458" name="think-cell Slide" r:id="rId4" imgW="493" imgH="493" progId="TCLayout.ActiveDocument.1">
                  <p:embed/>
                </p:oleObj>
              </mc:Choice>
              <mc:Fallback>
                <p:oleObj name="think-cell Slide" r:id="rId4" imgW="493" imgH="493" progId="TCLayout.ActiveDocument.1">
                  <p:embed/>
                  <p:pic>
                    <p:nvPicPr>
                      <p:cNvPr id="4" name="Object 3" hidden="1"/>
                      <p:cNvPicPr/>
                      <p:nvPr/>
                    </p:nvPicPr>
                    <p:blipFill>
                      <a:blip r:embed="rId5"/>
                      <a:stretch>
                        <a:fillRect/>
                      </a:stretch>
                    </p:blipFill>
                    <p:spPr>
                      <a:xfrm>
                        <a:off x="1588" y="1591"/>
                        <a:ext cx="1588" cy="1587"/>
                      </a:xfrm>
                      <a:prstGeom prst="rect">
                        <a:avLst/>
                      </a:prstGeom>
                    </p:spPr>
                  </p:pic>
                </p:oleObj>
              </mc:Fallback>
            </mc:AlternateContent>
          </a:graphicData>
        </a:graphic>
      </p:graphicFrame>
      <p:sp>
        <p:nvSpPr>
          <p:cNvPr id="2" name="Title 1"/>
          <p:cNvSpPr>
            <a:spLocks noGrp="1"/>
          </p:cNvSpPr>
          <p:nvPr>
            <p:ph type="title" hasCustomPrompt="1"/>
          </p:nvPr>
        </p:nvSpPr>
        <p:spPr>
          <a:xfrm>
            <a:off x="943201" y="608400"/>
            <a:ext cx="11700000" cy="741600"/>
          </a:xfrm>
          <a:prstGeom prst="rect">
            <a:avLst/>
          </a:prstGeom>
        </p:spPr>
        <p:txBody>
          <a:bodyPr/>
          <a:lstStyle>
            <a:lvl1pPr>
              <a:defRPr sz="2400"/>
            </a:lvl1pPr>
          </a:lstStyle>
          <a:p>
            <a:r>
              <a:rPr lang="en-US"/>
              <a:t>CLICK TO EDIT MASTER TITLE STYLE</a:t>
            </a:r>
            <a:endParaRPr lang="en-GB"/>
          </a:p>
        </p:txBody>
      </p:sp>
    </p:spTree>
    <p:extLst>
      <p:ext uri="{BB962C8B-B14F-4D97-AF65-F5344CB8AC3E}">
        <p14:creationId xmlns:p14="http://schemas.microsoft.com/office/powerpoint/2010/main" val="659384813"/>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Custom Layout">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A8BBA6AB-52DA-1F4F-A9F2-32A0449550D3}"/>
              </a:ext>
            </a:extLst>
          </p:cNvPr>
          <p:cNvSpPr/>
          <p:nvPr userDrawn="1"/>
        </p:nvSpPr>
        <p:spPr>
          <a:xfrm>
            <a:off x="943906" y="428151"/>
            <a:ext cx="1260000" cy="10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5" name="Title 4">
            <a:extLst>
              <a:ext uri="{FF2B5EF4-FFF2-40B4-BE49-F238E27FC236}">
                <a16:creationId xmlns:a16="http://schemas.microsoft.com/office/drawing/2014/main" id="{CEA215F3-869A-0348-BB46-F05B965212F4}"/>
              </a:ext>
            </a:extLst>
          </p:cNvPr>
          <p:cNvSpPr>
            <a:spLocks noGrp="1"/>
          </p:cNvSpPr>
          <p:nvPr>
            <p:ph type="title"/>
          </p:nvPr>
        </p:nvSpPr>
        <p:spPr>
          <a:xfrm>
            <a:off x="943906" y="608399"/>
            <a:ext cx="12098656" cy="811646"/>
          </a:xfrm>
          <a:prstGeom prst="rect">
            <a:avLst/>
          </a:prstGeom>
        </p:spPr>
        <p:txBody>
          <a:bodyPr lIns="0"/>
          <a:lstStyle>
            <a:lvl1pPr>
              <a:defRPr sz="2400"/>
            </a:lvl1pPr>
          </a:lstStyle>
          <a:p>
            <a:r>
              <a:rPr lang="en-US"/>
              <a:t>Click to edit Master title style</a:t>
            </a:r>
            <a:endParaRPr lang="en-GB"/>
          </a:p>
        </p:txBody>
      </p:sp>
    </p:spTree>
    <p:extLst>
      <p:ext uri="{BB962C8B-B14F-4D97-AF65-F5344CB8AC3E}">
        <p14:creationId xmlns:p14="http://schemas.microsoft.com/office/powerpoint/2010/main" val="88848706"/>
      </p:ext>
    </p:extLst>
  </p:cSld>
  <p:clrMapOvr>
    <a:overrideClrMapping bg1="dk1" tx1="lt1" bg2="dk2" tx2="lt2" accent1="accent1" accent2="accent2" accent3="accent3" accent4="accent4" accent5="accent5" accent6="accent6" hlink="hlink" folHlink="folHlink"/>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1_Custom Layout">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4310687"/>
      </p:ext>
    </p:extLst>
  </p:cSld>
  <p:clrMapOvr>
    <a:overrideClrMapping bg1="dk1" tx1="lt1" bg2="dk2" tx2="lt2" accent1="accent1" accent2="accent2" accent3="accent3" accent4="accent4" accent5="accent5" accent6="accent6" hlink="hlink" folHlink="folHlink"/>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5_Blank">
    <p:bg>
      <p:bgPr>
        <a:solidFill>
          <a:schemeClr val="tx1"/>
        </a:solidFill>
        <a:effectLst/>
      </p:bgPr>
    </p:bg>
    <p:spTree>
      <p:nvGrpSpPr>
        <p:cNvPr id="1" name=""/>
        <p:cNvGrpSpPr/>
        <p:nvPr/>
      </p:nvGrpSpPr>
      <p:grpSpPr>
        <a:xfrm>
          <a:off x="0" y="0"/>
          <a:ext cx="0" cy="0"/>
          <a:chOff x="0" y="0"/>
          <a:chExt cx="0" cy="0"/>
        </a:xfrm>
      </p:grpSpPr>
      <p:sp>
        <p:nvSpPr>
          <p:cNvPr id="15" name="object 7">
            <a:extLst>
              <a:ext uri="{FF2B5EF4-FFF2-40B4-BE49-F238E27FC236}">
                <a16:creationId xmlns:a16="http://schemas.microsoft.com/office/drawing/2014/main" id="{A9E07F53-5493-D745-9EB3-56AA82429EB9}"/>
              </a:ext>
            </a:extLst>
          </p:cNvPr>
          <p:cNvSpPr/>
          <p:nvPr userDrawn="1"/>
        </p:nvSpPr>
        <p:spPr>
          <a:xfrm>
            <a:off x="714208" y="396917"/>
            <a:ext cx="3967825" cy="0"/>
          </a:xfrm>
          <a:custGeom>
            <a:avLst/>
            <a:gdLst/>
            <a:ahLst/>
            <a:cxnLst/>
            <a:rect l="l" t="t" r="r" b="b"/>
            <a:pathLst>
              <a:path w="7721600">
                <a:moveTo>
                  <a:pt x="0" y="0"/>
                </a:moveTo>
                <a:lnTo>
                  <a:pt x="7721600" y="0"/>
                </a:lnTo>
              </a:path>
            </a:pathLst>
          </a:custGeom>
          <a:ln w="19050">
            <a:solidFill>
              <a:schemeClr val="accent3"/>
            </a:solidFill>
          </a:ln>
        </p:spPr>
        <p:txBody>
          <a:bodyPr wrap="square" lIns="0" tIns="0" rIns="0" bIns="0" rtlCol="0"/>
          <a:lstStyle/>
          <a:p>
            <a:endParaRPr sz="1622"/>
          </a:p>
        </p:txBody>
      </p:sp>
      <p:sp>
        <p:nvSpPr>
          <p:cNvPr id="24" name="Title 23">
            <a:extLst>
              <a:ext uri="{FF2B5EF4-FFF2-40B4-BE49-F238E27FC236}">
                <a16:creationId xmlns:a16="http://schemas.microsoft.com/office/drawing/2014/main" id="{74582B84-AFBF-C14B-A4DA-884520648B28}"/>
              </a:ext>
            </a:extLst>
          </p:cNvPr>
          <p:cNvSpPr>
            <a:spLocks noGrp="1"/>
          </p:cNvSpPr>
          <p:nvPr>
            <p:ph type="title" hasCustomPrompt="1"/>
          </p:nvPr>
        </p:nvSpPr>
        <p:spPr>
          <a:xfrm>
            <a:off x="714210" y="476304"/>
            <a:ext cx="11903474" cy="555682"/>
          </a:xfrm>
          <a:prstGeom prst="rect">
            <a:avLst/>
          </a:prstGeom>
        </p:spPr>
        <p:txBody>
          <a:bodyPr vert="horz" wrap="square" lIns="0" tIns="0" rIns="0" bIns="0" rtlCol="0">
            <a:noAutofit/>
          </a:bodyPr>
          <a:lstStyle>
            <a:lvl1pPr>
              <a:defRPr lang="en-US" sz="2205" spc="-54" dirty="0">
                <a:solidFill>
                  <a:srgbClr val="575756"/>
                </a:solidFill>
                <a:latin typeface="EYInterstate Light" panose="02000506000000020004" pitchFamily="2" charset="0"/>
                <a:ea typeface="+mn-ea"/>
                <a:cs typeface="EYInterstate Light" panose="02000506000000020004" pitchFamily="2" charset="0"/>
              </a:defRPr>
            </a:lvl1pPr>
          </a:lstStyle>
          <a:p>
            <a:pPr marL="12352" lvl="0" defTabSz="889317">
              <a:lnSpc>
                <a:spcPct val="100000"/>
              </a:lnSpc>
            </a:pPr>
            <a:r>
              <a:rPr lang="en-US"/>
              <a:t>CLICK TO EDIT MASTER TITLE STYLE</a:t>
            </a:r>
          </a:p>
        </p:txBody>
      </p:sp>
    </p:spTree>
    <p:extLst>
      <p:ext uri="{BB962C8B-B14F-4D97-AF65-F5344CB8AC3E}">
        <p14:creationId xmlns:p14="http://schemas.microsoft.com/office/powerpoint/2010/main" val="378392554"/>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Standard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559561171"/>
              </p:ext>
            </p:extLst>
          </p:nvPr>
        </p:nvGraphicFramePr>
        <p:xfrm>
          <a:off x="1588" y="1591"/>
          <a:ext cx="1588" cy="1587"/>
        </p:xfrm>
        <a:graphic>
          <a:graphicData uri="http://schemas.openxmlformats.org/presentationml/2006/ole">
            <mc:AlternateContent xmlns:mc="http://schemas.openxmlformats.org/markup-compatibility/2006">
              <mc:Choice xmlns:v="urn:schemas-microsoft-com:vml" Requires="v">
                <p:oleObj spid="_x0000_s21506" name="think-cell Slide" r:id="rId4" imgW="360" imgH="360" progId="TCLayout.ActiveDocument.1">
                  <p:embed/>
                </p:oleObj>
              </mc:Choice>
              <mc:Fallback>
                <p:oleObj name="think-cell Slide" r:id="rId4" imgW="360" imgH="360" progId="TCLayout.ActiveDocument.1">
                  <p:embed/>
                  <p:pic>
                    <p:nvPicPr>
                      <p:cNvPr id="4" name="Object 3" hidden="1"/>
                      <p:cNvPicPr/>
                      <p:nvPr/>
                    </p:nvPicPr>
                    <p:blipFill>
                      <a:blip r:embed="rId5"/>
                      <a:stretch>
                        <a:fillRect/>
                      </a:stretch>
                    </p:blipFill>
                    <p:spPr>
                      <a:xfrm>
                        <a:off x="1588" y="1591"/>
                        <a:ext cx="1588" cy="1587"/>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783BE9ED-87EF-4BBE-B243-0CE42D8AFCDD}"/>
              </a:ext>
            </a:extLst>
          </p:cNvPr>
          <p:cNvPicPr>
            <a:picLocks noChangeAspect="1"/>
          </p:cNvPicPr>
          <p:nvPr userDrawn="1"/>
        </p:nvPicPr>
        <p:blipFill rotWithShape="1">
          <a:blip r:embed="rId6" cstate="print">
            <a:duotone>
              <a:prstClr val="black"/>
              <a:schemeClr val="tx2">
                <a:tint val="45000"/>
                <a:satMod val="400000"/>
              </a:schemeClr>
            </a:duotone>
            <a:extLst>
              <a:ext uri="{28A0092B-C50C-407E-A947-70E740481C1C}">
                <a14:useLocalDpi xmlns:a14="http://schemas.microsoft.com/office/drawing/2010/main" val="0"/>
              </a:ext>
            </a:extLst>
          </a:blip>
          <a:srcRect b="15599"/>
          <a:stretch/>
        </p:blipFill>
        <p:spPr>
          <a:xfrm>
            <a:off x="3" y="0"/>
            <a:ext cx="13438217" cy="7561263"/>
          </a:xfrm>
          <a:prstGeom prst="rect">
            <a:avLst/>
          </a:prstGeom>
        </p:spPr>
      </p:pic>
    </p:spTree>
    <p:extLst>
      <p:ext uri="{BB962C8B-B14F-4D97-AF65-F5344CB8AC3E}">
        <p14:creationId xmlns:p14="http://schemas.microsoft.com/office/powerpoint/2010/main" val="3629993564"/>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Standard slide_no bullets_no headers">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12769064"/>
              </p:ext>
            </p:extLst>
          </p:nvPr>
        </p:nvGraphicFramePr>
        <p:xfrm>
          <a:off x="1588" y="1591"/>
          <a:ext cx="1588" cy="1587"/>
        </p:xfrm>
        <a:graphic>
          <a:graphicData uri="http://schemas.openxmlformats.org/presentationml/2006/ole">
            <mc:AlternateContent xmlns:mc="http://schemas.openxmlformats.org/markup-compatibility/2006">
              <mc:Choice xmlns:v="urn:schemas-microsoft-com:vml" Requires="v">
                <p:oleObj spid="_x0000_s22530" name="think-cell Slide" r:id="rId4" imgW="493" imgH="493" progId="TCLayout.ActiveDocument.1">
                  <p:embed/>
                </p:oleObj>
              </mc:Choice>
              <mc:Fallback>
                <p:oleObj name="think-cell Slide" r:id="rId4" imgW="493" imgH="493" progId="TCLayout.ActiveDocument.1">
                  <p:embed/>
                  <p:pic>
                    <p:nvPicPr>
                      <p:cNvPr id="4" name="Object 3" hidden="1"/>
                      <p:cNvPicPr/>
                      <p:nvPr/>
                    </p:nvPicPr>
                    <p:blipFill>
                      <a:blip r:embed="rId5"/>
                      <a:stretch>
                        <a:fillRect/>
                      </a:stretch>
                    </p:blipFill>
                    <p:spPr>
                      <a:xfrm>
                        <a:off x="1588" y="1591"/>
                        <a:ext cx="1588" cy="1587"/>
                      </a:xfrm>
                      <a:prstGeom prst="rect">
                        <a:avLst/>
                      </a:prstGeom>
                    </p:spPr>
                  </p:pic>
                </p:oleObj>
              </mc:Fallback>
            </mc:AlternateContent>
          </a:graphicData>
        </a:graphic>
      </p:graphicFrame>
      <p:sp>
        <p:nvSpPr>
          <p:cNvPr id="2" name="Title 1"/>
          <p:cNvSpPr>
            <a:spLocks noGrp="1"/>
          </p:cNvSpPr>
          <p:nvPr>
            <p:ph type="title" hasCustomPrompt="1"/>
          </p:nvPr>
        </p:nvSpPr>
        <p:spPr>
          <a:xfrm>
            <a:off x="943201" y="608400"/>
            <a:ext cx="11700000" cy="741600"/>
          </a:xfrm>
          <a:prstGeom prst="rect">
            <a:avLst/>
          </a:prstGeom>
        </p:spPr>
        <p:txBody>
          <a:bodyPr/>
          <a:lstStyle>
            <a:lvl1pPr>
              <a:defRPr sz="2400"/>
            </a:lvl1pPr>
          </a:lstStyle>
          <a:p>
            <a:r>
              <a:rPr lang="en-US"/>
              <a:t>CLICK TO EDIT MASTER TITLE STYLE</a:t>
            </a:r>
            <a:endParaRPr lang="en-GB"/>
          </a:p>
        </p:txBody>
      </p:sp>
    </p:spTree>
    <p:extLst>
      <p:ext uri="{BB962C8B-B14F-4D97-AF65-F5344CB8AC3E}">
        <p14:creationId xmlns:p14="http://schemas.microsoft.com/office/powerpoint/2010/main" val="3829858927"/>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Custom Layout">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A8BBA6AB-52DA-1F4F-A9F2-32A0449550D3}"/>
              </a:ext>
            </a:extLst>
          </p:cNvPr>
          <p:cNvSpPr/>
          <p:nvPr userDrawn="1"/>
        </p:nvSpPr>
        <p:spPr>
          <a:xfrm>
            <a:off x="943906" y="428151"/>
            <a:ext cx="1260000" cy="10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5" name="Title 4">
            <a:extLst>
              <a:ext uri="{FF2B5EF4-FFF2-40B4-BE49-F238E27FC236}">
                <a16:creationId xmlns:a16="http://schemas.microsoft.com/office/drawing/2014/main" id="{CEA215F3-869A-0348-BB46-F05B965212F4}"/>
              </a:ext>
            </a:extLst>
          </p:cNvPr>
          <p:cNvSpPr>
            <a:spLocks noGrp="1"/>
          </p:cNvSpPr>
          <p:nvPr>
            <p:ph type="title"/>
          </p:nvPr>
        </p:nvSpPr>
        <p:spPr>
          <a:xfrm>
            <a:off x="943906" y="608399"/>
            <a:ext cx="12098656" cy="811646"/>
          </a:xfrm>
          <a:prstGeom prst="rect">
            <a:avLst/>
          </a:prstGeom>
        </p:spPr>
        <p:txBody>
          <a:bodyPr lIns="0"/>
          <a:lstStyle>
            <a:lvl1pPr>
              <a:defRPr sz="2400"/>
            </a:lvl1pPr>
          </a:lstStyle>
          <a:p>
            <a:r>
              <a:rPr lang="en-US"/>
              <a:t>Click to edit Master title style</a:t>
            </a:r>
            <a:endParaRPr lang="en-GB"/>
          </a:p>
        </p:txBody>
      </p:sp>
    </p:spTree>
    <p:extLst>
      <p:ext uri="{BB962C8B-B14F-4D97-AF65-F5344CB8AC3E}">
        <p14:creationId xmlns:p14="http://schemas.microsoft.com/office/powerpoint/2010/main" val="3666596445"/>
      </p:ext>
    </p:extLst>
  </p:cSld>
  <p:clrMapOvr>
    <a:overrideClrMapping bg1="dk1" tx1="lt1" bg2="dk2" tx2="lt2" accent1="accent1" accent2="accent2" accent3="accent3" accent4="accent4" accent5="accent5" accent6="accent6" hlink="hlink" folHlink="folHlink"/>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1_Custom Layout">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38601258"/>
      </p:ext>
    </p:extLst>
  </p:cSld>
  <p:clrMapOvr>
    <a:overrideClrMapping bg1="dk1" tx1="lt1" bg2="dk2" tx2="lt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tandard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541557555"/>
              </p:ext>
            </p:extLst>
          </p:nvPr>
        </p:nvGraphicFramePr>
        <p:xfrm>
          <a:off x="1588" y="1589"/>
          <a:ext cx="1588" cy="1587"/>
        </p:xfrm>
        <a:graphic>
          <a:graphicData uri="http://schemas.openxmlformats.org/presentationml/2006/ole">
            <mc:AlternateContent xmlns:mc="http://schemas.openxmlformats.org/markup-compatibility/2006">
              <mc:Choice xmlns:v="urn:schemas-microsoft-com:vml" Requires="v">
                <p:oleObj spid="_x0000_s5122" name="think-cell Slide" r:id="rId4" imgW="360" imgH="360" progId="TCLayout.ActiveDocument.1">
                  <p:embed/>
                </p:oleObj>
              </mc:Choice>
              <mc:Fallback>
                <p:oleObj name="think-cell Slide" r:id="rId4" imgW="360" imgH="360" progId="TCLayout.ActiveDocument.1">
                  <p:embed/>
                  <p:pic>
                    <p:nvPicPr>
                      <p:cNvPr id="4" name="Object 3" hidden="1"/>
                      <p:cNvPicPr/>
                      <p:nvPr/>
                    </p:nvPicPr>
                    <p:blipFill>
                      <a:blip r:embed="rId5"/>
                      <a:stretch>
                        <a:fillRect/>
                      </a:stretch>
                    </p:blipFill>
                    <p:spPr>
                      <a:xfrm>
                        <a:off x="1588" y="1589"/>
                        <a:ext cx="1588" cy="1587"/>
                      </a:xfrm>
                      <a:prstGeom prst="rect">
                        <a:avLst/>
                      </a:prstGeom>
                    </p:spPr>
                  </p:pic>
                </p:oleObj>
              </mc:Fallback>
            </mc:AlternateContent>
          </a:graphicData>
        </a:graphic>
      </p:graphicFrame>
      <p:pic>
        <p:nvPicPr>
          <p:cNvPr id="6" name="Picture 5">
            <a:extLst>
              <a:ext uri="{FF2B5EF4-FFF2-40B4-BE49-F238E27FC236}">
                <a16:creationId xmlns:a16="http://schemas.microsoft.com/office/drawing/2014/main" id="{CBA8B177-D175-4D5D-8912-2C8BA53F5CE4}"/>
              </a:ext>
            </a:extLst>
          </p:cNvPr>
          <p:cNvPicPr>
            <a:picLocks noChangeAspect="1"/>
          </p:cNvPicPr>
          <p:nvPr userDrawn="1"/>
        </p:nvPicPr>
        <p:blipFill rotWithShape="1">
          <a:blip r:embed="rId6" cstate="email">
            <a:extLst>
              <a:ext uri="{28A0092B-C50C-407E-A947-70E740481C1C}">
                <a14:useLocalDpi xmlns:a14="http://schemas.microsoft.com/office/drawing/2010/main"/>
              </a:ext>
            </a:extLst>
          </a:blip>
          <a:srcRect/>
          <a:stretch/>
        </p:blipFill>
        <p:spPr>
          <a:xfrm>
            <a:off x="0" y="0"/>
            <a:ext cx="13442950" cy="7561263"/>
          </a:xfrm>
          <a:prstGeom prst="rect">
            <a:avLst/>
          </a:prstGeom>
        </p:spPr>
      </p:pic>
    </p:spTree>
    <p:extLst>
      <p:ext uri="{BB962C8B-B14F-4D97-AF65-F5344CB8AC3E}">
        <p14:creationId xmlns:p14="http://schemas.microsoft.com/office/powerpoint/2010/main" val="138666310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5_Blank">
    <p:bg>
      <p:bgPr>
        <a:solidFill>
          <a:schemeClr val="tx1"/>
        </a:solidFill>
        <a:effectLst/>
      </p:bgPr>
    </p:bg>
    <p:spTree>
      <p:nvGrpSpPr>
        <p:cNvPr id="1" name=""/>
        <p:cNvGrpSpPr/>
        <p:nvPr/>
      </p:nvGrpSpPr>
      <p:grpSpPr>
        <a:xfrm>
          <a:off x="0" y="0"/>
          <a:ext cx="0" cy="0"/>
          <a:chOff x="0" y="0"/>
          <a:chExt cx="0" cy="0"/>
        </a:xfrm>
      </p:grpSpPr>
      <p:sp>
        <p:nvSpPr>
          <p:cNvPr id="15" name="object 7">
            <a:extLst>
              <a:ext uri="{FF2B5EF4-FFF2-40B4-BE49-F238E27FC236}">
                <a16:creationId xmlns:a16="http://schemas.microsoft.com/office/drawing/2014/main" id="{A9E07F53-5493-D745-9EB3-56AA82429EB9}"/>
              </a:ext>
            </a:extLst>
          </p:cNvPr>
          <p:cNvSpPr/>
          <p:nvPr userDrawn="1"/>
        </p:nvSpPr>
        <p:spPr>
          <a:xfrm>
            <a:off x="714208" y="396917"/>
            <a:ext cx="3967825" cy="0"/>
          </a:xfrm>
          <a:custGeom>
            <a:avLst/>
            <a:gdLst/>
            <a:ahLst/>
            <a:cxnLst/>
            <a:rect l="l" t="t" r="r" b="b"/>
            <a:pathLst>
              <a:path w="7721600">
                <a:moveTo>
                  <a:pt x="0" y="0"/>
                </a:moveTo>
                <a:lnTo>
                  <a:pt x="7721600" y="0"/>
                </a:lnTo>
              </a:path>
            </a:pathLst>
          </a:custGeom>
          <a:ln w="19050">
            <a:solidFill>
              <a:schemeClr val="accent3"/>
            </a:solidFill>
          </a:ln>
        </p:spPr>
        <p:txBody>
          <a:bodyPr wrap="square" lIns="0" tIns="0" rIns="0" bIns="0" rtlCol="0"/>
          <a:lstStyle/>
          <a:p>
            <a:endParaRPr sz="1622"/>
          </a:p>
        </p:txBody>
      </p:sp>
      <p:sp>
        <p:nvSpPr>
          <p:cNvPr id="24" name="Title 23">
            <a:extLst>
              <a:ext uri="{FF2B5EF4-FFF2-40B4-BE49-F238E27FC236}">
                <a16:creationId xmlns:a16="http://schemas.microsoft.com/office/drawing/2014/main" id="{74582B84-AFBF-C14B-A4DA-884520648B28}"/>
              </a:ext>
            </a:extLst>
          </p:cNvPr>
          <p:cNvSpPr>
            <a:spLocks noGrp="1"/>
          </p:cNvSpPr>
          <p:nvPr>
            <p:ph type="title" hasCustomPrompt="1"/>
          </p:nvPr>
        </p:nvSpPr>
        <p:spPr>
          <a:xfrm>
            <a:off x="714210" y="476304"/>
            <a:ext cx="11903474" cy="555682"/>
          </a:xfrm>
          <a:prstGeom prst="rect">
            <a:avLst/>
          </a:prstGeom>
        </p:spPr>
        <p:txBody>
          <a:bodyPr vert="horz" wrap="square" lIns="0" tIns="0" rIns="0" bIns="0" rtlCol="0">
            <a:noAutofit/>
          </a:bodyPr>
          <a:lstStyle>
            <a:lvl1pPr>
              <a:defRPr lang="en-US" sz="2205" spc="-54" dirty="0">
                <a:solidFill>
                  <a:srgbClr val="575756"/>
                </a:solidFill>
                <a:latin typeface="EYInterstate Light" panose="02000506000000020004" pitchFamily="2" charset="0"/>
                <a:ea typeface="+mn-ea"/>
                <a:cs typeface="EYInterstate Light" panose="02000506000000020004" pitchFamily="2" charset="0"/>
              </a:defRPr>
            </a:lvl1pPr>
          </a:lstStyle>
          <a:p>
            <a:pPr marL="12352" lvl="0" defTabSz="889317">
              <a:lnSpc>
                <a:spcPct val="100000"/>
              </a:lnSpc>
            </a:pPr>
            <a:r>
              <a:rPr lang="en-US"/>
              <a:t>CLICK TO EDIT MASTER TITLE STYLE</a:t>
            </a:r>
          </a:p>
        </p:txBody>
      </p:sp>
    </p:spTree>
    <p:extLst>
      <p:ext uri="{BB962C8B-B14F-4D97-AF65-F5344CB8AC3E}">
        <p14:creationId xmlns:p14="http://schemas.microsoft.com/office/powerpoint/2010/main" val="1390298982"/>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obj" preserve="1">
  <p:cSld name="Single column bullets">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F7556BB-4111-49CC-AB7C-63453AD31EE9}"/>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578" name="think-cell Slide" r:id="rId5" imgW="648" imgH="649" progId="TCLayout.ActiveDocument.1">
                  <p:embed/>
                </p:oleObj>
              </mc:Choice>
              <mc:Fallback>
                <p:oleObj name="think-cell Slide" r:id="rId5" imgW="648" imgH="649" progId="TCLayout.ActiveDocument.1">
                  <p:embed/>
                  <p:pic>
                    <p:nvPicPr>
                      <p:cNvPr id="5" name="Object 4" hidden="1">
                        <a:extLst>
                          <a:ext uri="{FF2B5EF4-FFF2-40B4-BE49-F238E27FC236}">
                            <a16:creationId xmlns:a16="http://schemas.microsoft.com/office/drawing/2014/main" id="{6F7556BB-4111-49CC-AB7C-63453AD31EE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719B727D-C1BA-4201-BFCB-022DA857122A}"/>
              </a:ext>
            </a:extLst>
          </p:cNvPr>
          <p:cNvSpPr/>
          <p:nvPr userDrawn="1">
            <p:custDataLst>
              <p:tags r:id="rId3"/>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eaLnBrk="1">
              <a:lnSpc>
                <a:spcPct val="95000"/>
              </a:lnSpc>
              <a:spcBef>
                <a:spcPct val="0"/>
              </a:spcBef>
              <a:spcAft>
                <a:spcPct val="0"/>
              </a:spcAft>
            </a:pPr>
            <a:endParaRPr lang="en-US" sz="2400" b="0" i="0" baseline="0">
              <a:solidFill>
                <a:schemeClr val="tx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2" name="Title 1"/>
          <p:cNvSpPr>
            <a:spLocks noGrp="1"/>
          </p:cNvSpPr>
          <p:nvPr>
            <p:ph type="title"/>
          </p:nvPr>
        </p:nvSpPr>
        <p:spPr>
          <a:xfrm>
            <a:off x="476106" y="504825"/>
            <a:ext cx="12582669" cy="611188"/>
          </a:xfrm>
        </p:spPr>
        <p:txBody>
          <a:bodyPr/>
          <a:lstStyle>
            <a:lvl1pPr>
              <a:defRPr sz="2400">
                <a:solidFill>
                  <a:schemeClr val="tx1"/>
                </a:solidFill>
              </a:defRPr>
            </a:lvl1pPr>
          </a:lstStyle>
          <a:p>
            <a:r>
              <a:rPr lang="en-US"/>
              <a:t>Click to edit Master title style</a:t>
            </a:r>
            <a:endParaRPr lang="en-GB"/>
          </a:p>
        </p:txBody>
      </p:sp>
      <p:sp>
        <p:nvSpPr>
          <p:cNvPr id="3" name="Content Placeholder 2"/>
          <p:cNvSpPr>
            <a:spLocks noGrp="1"/>
          </p:cNvSpPr>
          <p:nvPr>
            <p:ph idx="1"/>
          </p:nvPr>
        </p:nvSpPr>
        <p:spPr>
          <a:xfrm>
            <a:off x="476106" y="1447800"/>
            <a:ext cx="12582669" cy="53927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Rectangle 5">
            <a:extLst>
              <a:ext uri="{FF2B5EF4-FFF2-40B4-BE49-F238E27FC236}">
                <a16:creationId xmlns:a16="http://schemas.microsoft.com/office/drawing/2014/main" id="{8AB9594D-CBE9-433D-9241-0FF3FAAE27F9}"/>
              </a:ext>
            </a:extLst>
          </p:cNvPr>
          <p:cNvSpPr/>
          <p:nvPr userDrawn="1"/>
        </p:nvSpPr>
        <p:spPr>
          <a:xfrm>
            <a:off x="873023" y="304028"/>
            <a:ext cx="1389208" cy="39692"/>
          </a:xfrm>
          <a:prstGeom prst="rect">
            <a:avLst/>
          </a:prstGeom>
          <a:solidFill>
            <a:srgbClr val="FBE4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15"/>
          </a:p>
        </p:txBody>
      </p:sp>
      <p:sp>
        <p:nvSpPr>
          <p:cNvPr id="7" name="TextBox 6">
            <a:extLst>
              <a:ext uri="{FF2B5EF4-FFF2-40B4-BE49-F238E27FC236}">
                <a16:creationId xmlns:a16="http://schemas.microsoft.com/office/drawing/2014/main" id="{7508638C-32E7-4B5C-BC32-43EE15BA8019}"/>
              </a:ext>
            </a:extLst>
          </p:cNvPr>
          <p:cNvSpPr txBox="1"/>
          <p:nvPr userDrawn="1"/>
        </p:nvSpPr>
        <p:spPr>
          <a:xfrm>
            <a:off x="11986630" y="7242636"/>
            <a:ext cx="1058500" cy="218304"/>
          </a:xfrm>
          <a:prstGeom prst="rect">
            <a:avLst/>
          </a:prstGeom>
          <a:noFill/>
        </p:spPr>
        <p:txBody>
          <a:bodyPr wrap="square" lIns="0" tIns="0" rIns="0" bIns="0" rtlCol="0">
            <a:noAutofit/>
          </a:bodyPr>
          <a:lstStyle/>
          <a:p>
            <a:pPr algn="r"/>
            <a:r>
              <a:rPr lang="en-GB" sz="900">
                <a:solidFill>
                  <a:schemeClr val="tx1">
                    <a:lumMod val="75000"/>
                    <a:lumOff val="25000"/>
                  </a:schemeClr>
                </a:solidFill>
                <a:latin typeface="EYInterstate Light" panose="02000506000000020004" pitchFamily="2" charset="0"/>
              </a:rPr>
              <a:t>EY |</a:t>
            </a:r>
            <a:r>
              <a:rPr lang="en-GB" sz="900" baseline="0">
                <a:solidFill>
                  <a:schemeClr val="tx1">
                    <a:lumMod val="75000"/>
                    <a:lumOff val="25000"/>
                  </a:schemeClr>
                </a:solidFill>
                <a:latin typeface="EYInterstate Light" panose="02000506000000020004" pitchFamily="2" charset="0"/>
              </a:rPr>
              <a:t> </a:t>
            </a:r>
            <a:fld id="{9AE4D82F-B047-469B-AC52-A46321747EAF}" type="slidenum">
              <a:rPr lang="en-GB" sz="900" smtClean="0">
                <a:solidFill>
                  <a:schemeClr val="tx1">
                    <a:lumMod val="75000"/>
                    <a:lumOff val="25000"/>
                  </a:schemeClr>
                </a:solidFill>
                <a:latin typeface="EYInterstate Light" panose="02000506000000020004" pitchFamily="2" charset="0"/>
              </a:rPr>
              <a:pPr algn="r"/>
              <a:t>‹#›</a:t>
            </a:fld>
            <a:endParaRPr lang="en-GB" sz="900">
              <a:solidFill>
                <a:schemeClr val="tx1">
                  <a:lumMod val="75000"/>
                  <a:lumOff val="25000"/>
                </a:schemeClr>
              </a:solidFill>
              <a:latin typeface="EYInterstate Light" panose="02000506000000020004" pitchFamily="2" charset="0"/>
            </a:endParaRPr>
          </a:p>
        </p:txBody>
      </p:sp>
      <p:sp>
        <p:nvSpPr>
          <p:cNvPr id="8" name="Rectangle 7">
            <a:extLst>
              <a:ext uri="{FF2B5EF4-FFF2-40B4-BE49-F238E27FC236}">
                <a16:creationId xmlns:a16="http://schemas.microsoft.com/office/drawing/2014/main" id="{D70663DC-BE57-41E2-9676-8AFDB2D7ADE0}"/>
              </a:ext>
            </a:extLst>
          </p:cNvPr>
          <p:cNvSpPr/>
          <p:nvPr userDrawn="1"/>
        </p:nvSpPr>
        <p:spPr>
          <a:xfrm>
            <a:off x="476106" y="7242636"/>
            <a:ext cx="9766360" cy="2628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marL="0" marR="0" indent="0" algn="l" defTabSz="1042990" rtl="0" eaLnBrk="1" fontAlgn="auto" latinLnBrk="0" hangingPunct="1">
              <a:lnSpc>
                <a:spcPct val="100000"/>
              </a:lnSpc>
              <a:spcBef>
                <a:spcPts val="0"/>
              </a:spcBef>
              <a:spcAft>
                <a:spcPts val="0"/>
              </a:spcAft>
              <a:buClrTx/>
              <a:buSzTx/>
              <a:buFontTx/>
              <a:buNone/>
              <a:tabLst/>
              <a:defRPr/>
            </a:pPr>
            <a:r>
              <a:rPr lang="en-AU" sz="800">
                <a:solidFill>
                  <a:schemeClr val="tx1">
                    <a:lumMod val="75000"/>
                    <a:lumOff val="25000"/>
                  </a:schemeClr>
                </a:solidFill>
                <a:latin typeface="EYInterstate Light" panose="02000506000000020004" pitchFamily="2" charset="0"/>
              </a:rPr>
              <a:t>Copyright © 2020 Ernst &amp; Young Australia. All Rights Reserved. Liability limited by a scheme approved under Professional Standards Legislation</a:t>
            </a:r>
          </a:p>
          <a:p>
            <a:pPr algn="l"/>
            <a:endParaRPr lang="en-AU" sz="800">
              <a:solidFill>
                <a:schemeClr val="tx1">
                  <a:lumMod val="75000"/>
                  <a:lumOff val="25000"/>
                </a:schemeClr>
              </a:solidFill>
              <a:latin typeface="EYInterstate Light" panose="02000506000000020004" pitchFamily="2" charset="0"/>
            </a:endParaRPr>
          </a:p>
        </p:txBody>
      </p:sp>
    </p:spTree>
    <p:extLst>
      <p:ext uri="{BB962C8B-B14F-4D97-AF65-F5344CB8AC3E}">
        <p14:creationId xmlns:p14="http://schemas.microsoft.com/office/powerpoint/2010/main" val="4070027919"/>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obj" preserve="1">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a:xfrm>
            <a:off x="672149" y="1571790"/>
            <a:ext cx="12098655" cy="518198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Line 10"/>
          <p:cNvSpPr>
            <a:spLocks noChangeShapeType="1"/>
          </p:cNvSpPr>
          <p:nvPr userDrawn="1"/>
        </p:nvSpPr>
        <p:spPr bwMode="auto">
          <a:xfrm>
            <a:off x="672149" y="1151058"/>
            <a:ext cx="1209865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984" noProof="0">
              <a:solidFill>
                <a:schemeClr val="bg1"/>
              </a:solidFill>
            </a:endParaRPr>
          </a:p>
        </p:txBody>
      </p:sp>
      <p:sp>
        <p:nvSpPr>
          <p:cNvPr id="8" name="Line 11"/>
          <p:cNvSpPr>
            <a:spLocks noChangeShapeType="1"/>
          </p:cNvSpPr>
          <p:nvPr userDrawn="1"/>
        </p:nvSpPr>
        <p:spPr bwMode="auto">
          <a:xfrm>
            <a:off x="672149" y="6885790"/>
            <a:ext cx="1209865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984" noProof="0">
              <a:solidFill>
                <a:schemeClr val="bg1"/>
              </a:solidFill>
            </a:endParaRPr>
          </a:p>
        </p:txBody>
      </p:sp>
      <p:sp>
        <p:nvSpPr>
          <p:cNvPr id="5" name="Date Placeholder 4"/>
          <p:cNvSpPr>
            <a:spLocks noGrp="1"/>
          </p:cNvSpPr>
          <p:nvPr>
            <p:ph type="dt" sz="half" idx="10"/>
          </p:nvPr>
        </p:nvSpPr>
        <p:spPr/>
        <p:txBody>
          <a:bodyPr/>
          <a:lstStyle/>
          <a:p>
            <a:r>
              <a:rPr lang="en-US"/>
              <a:t>1 January 2014</a:t>
            </a:r>
          </a:p>
        </p:txBody>
      </p:sp>
      <p:sp>
        <p:nvSpPr>
          <p:cNvPr id="9" name="Footer Placeholder 8"/>
          <p:cNvSpPr>
            <a:spLocks noGrp="1"/>
          </p:cNvSpPr>
          <p:nvPr>
            <p:ph type="ftr" sz="quarter" idx="11"/>
          </p:nvPr>
        </p:nvSpPr>
        <p:spPr/>
        <p:txBody>
          <a:bodyPr/>
          <a:lstStyle/>
          <a:p>
            <a:r>
              <a:rPr lang="en-GB"/>
              <a:t>Presentation title</a:t>
            </a:r>
          </a:p>
        </p:txBody>
      </p:sp>
    </p:spTree>
    <p:extLst>
      <p:ext uri="{BB962C8B-B14F-4D97-AF65-F5344CB8AC3E}">
        <p14:creationId xmlns:p14="http://schemas.microsoft.com/office/powerpoint/2010/main" val="2932751738"/>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obj" preserve="1">
  <p:cSld name="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lvl1pPr marL="0" indent="0">
              <a:spcBef>
                <a:spcPts val="0"/>
              </a:spcBef>
              <a:buNone/>
              <a:defRPr/>
            </a:lvl1pPr>
            <a:lvl2pPr marL="0" indent="0">
              <a:spcBef>
                <a:spcPts val="0"/>
              </a:spcBef>
              <a:buNone/>
              <a:defRPr/>
            </a:lvl2pPr>
            <a:lvl3pPr marL="0" indent="0">
              <a:spcBef>
                <a:spcPts val="0"/>
              </a:spcBef>
              <a:buNone/>
              <a:defRPr/>
            </a:lvl3pPr>
            <a:lvl4pPr marL="0" indent="0">
              <a:spcBef>
                <a:spcPts val="0"/>
              </a:spcBef>
              <a:buNone/>
              <a:defRPr/>
            </a:lvl4pPr>
            <a:lvl5pPr marL="0" indent="0">
              <a:spcBef>
                <a:spcPts val="0"/>
              </a:spcBef>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Line 10"/>
          <p:cNvSpPr>
            <a:spLocks noChangeShapeType="1"/>
          </p:cNvSpPr>
          <p:nvPr userDrawn="1"/>
        </p:nvSpPr>
        <p:spPr bwMode="auto">
          <a:xfrm>
            <a:off x="672149" y="1151058"/>
            <a:ext cx="1209865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984" noProof="0">
              <a:solidFill>
                <a:schemeClr val="bg1"/>
              </a:solidFill>
            </a:endParaRPr>
          </a:p>
        </p:txBody>
      </p:sp>
      <p:sp>
        <p:nvSpPr>
          <p:cNvPr id="8" name="Line 11"/>
          <p:cNvSpPr>
            <a:spLocks noChangeShapeType="1"/>
          </p:cNvSpPr>
          <p:nvPr userDrawn="1"/>
        </p:nvSpPr>
        <p:spPr bwMode="auto">
          <a:xfrm>
            <a:off x="672149" y="6885790"/>
            <a:ext cx="1209865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984" noProof="0">
              <a:solidFill>
                <a:schemeClr val="bg1"/>
              </a:solidFill>
            </a:endParaRPr>
          </a:p>
        </p:txBody>
      </p:sp>
      <p:sp>
        <p:nvSpPr>
          <p:cNvPr id="4" name="Date Placeholder 3"/>
          <p:cNvSpPr>
            <a:spLocks noGrp="1"/>
          </p:cNvSpPr>
          <p:nvPr>
            <p:ph type="dt" sz="half" idx="10"/>
          </p:nvPr>
        </p:nvSpPr>
        <p:spPr/>
        <p:txBody>
          <a:bodyPr/>
          <a:lstStyle/>
          <a:p>
            <a:r>
              <a:rPr lang="en-US"/>
              <a:t>1 January 2014</a:t>
            </a:r>
          </a:p>
        </p:txBody>
      </p:sp>
      <p:sp>
        <p:nvSpPr>
          <p:cNvPr id="6" name="Footer Placeholder 5"/>
          <p:cNvSpPr>
            <a:spLocks noGrp="1"/>
          </p:cNvSpPr>
          <p:nvPr>
            <p:ph type="ftr" sz="quarter" idx="11"/>
          </p:nvPr>
        </p:nvSpPr>
        <p:spPr/>
        <p:txBody>
          <a:bodyPr/>
          <a:lstStyle/>
          <a:p>
            <a:r>
              <a:rPr lang="en-GB"/>
              <a:t>Presentation title</a:t>
            </a:r>
          </a:p>
        </p:txBody>
      </p:sp>
    </p:spTree>
    <p:extLst>
      <p:ext uri="{BB962C8B-B14F-4D97-AF65-F5344CB8AC3E}">
        <p14:creationId xmlns:p14="http://schemas.microsoft.com/office/powerpoint/2010/main" val="460522193"/>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obj" preserve="1">
  <p:cSld name="Standard slide_no_first_level_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lvl1pPr marL="0" indent="0">
              <a:buNone/>
              <a:defRPr/>
            </a:lvl1pPr>
            <a:lvl2pPr marL="392991">
              <a:defRPr/>
            </a:lvl2pPr>
            <a:lvl3pPr marL="785982">
              <a:defRPr/>
            </a:lvl3pPr>
            <a:lvl4pPr marL="1178972">
              <a:defRPr/>
            </a:lvl4pPr>
            <a:lvl5pPr marL="1571963">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Line 10"/>
          <p:cNvSpPr>
            <a:spLocks noChangeShapeType="1"/>
          </p:cNvSpPr>
          <p:nvPr userDrawn="1"/>
        </p:nvSpPr>
        <p:spPr bwMode="auto">
          <a:xfrm>
            <a:off x="672149" y="1151058"/>
            <a:ext cx="1209865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984" noProof="0">
              <a:solidFill>
                <a:schemeClr val="bg1"/>
              </a:solidFill>
            </a:endParaRPr>
          </a:p>
        </p:txBody>
      </p:sp>
      <p:sp>
        <p:nvSpPr>
          <p:cNvPr id="8" name="Line 11"/>
          <p:cNvSpPr>
            <a:spLocks noChangeShapeType="1"/>
          </p:cNvSpPr>
          <p:nvPr userDrawn="1"/>
        </p:nvSpPr>
        <p:spPr bwMode="auto">
          <a:xfrm>
            <a:off x="672149" y="6885790"/>
            <a:ext cx="1209865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984" noProof="0">
              <a:solidFill>
                <a:schemeClr val="bg1"/>
              </a:solidFill>
            </a:endParaRPr>
          </a:p>
        </p:txBody>
      </p:sp>
      <p:sp>
        <p:nvSpPr>
          <p:cNvPr id="4" name="Date Placeholder 3"/>
          <p:cNvSpPr>
            <a:spLocks noGrp="1"/>
          </p:cNvSpPr>
          <p:nvPr>
            <p:ph type="dt" sz="half" idx="10"/>
          </p:nvPr>
        </p:nvSpPr>
        <p:spPr/>
        <p:txBody>
          <a:bodyPr/>
          <a:lstStyle/>
          <a:p>
            <a:r>
              <a:rPr lang="en-US"/>
              <a:t>1 January 2014</a:t>
            </a:r>
          </a:p>
        </p:txBody>
      </p:sp>
      <p:sp>
        <p:nvSpPr>
          <p:cNvPr id="6" name="Footer Placeholder 5"/>
          <p:cNvSpPr>
            <a:spLocks noGrp="1"/>
          </p:cNvSpPr>
          <p:nvPr>
            <p:ph type="ftr" sz="quarter" idx="11"/>
          </p:nvPr>
        </p:nvSpPr>
        <p:spPr/>
        <p:txBody>
          <a:bodyPr/>
          <a:lstStyle/>
          <a:p>
            <a:r>
              <a:rPr lang="en-GB"/>
              <a:t>Presentation title</a:t>
            </a:r>
          </a:p>
        </p:txBody>
      </p:sp>
    </p:spTree>
    <p:extLst>
      <p:ext uri="{BB962C8B-B14F-4D97-AF65-F5344CB8AC3E}">
        <p14:creationId xmlns:p14="http://schemas.microsoft.com/office/powerpoint/2010/main" val="1479720738"/>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7" name="Line 10"/>
          <p:cNvSpPr>
            <a:spLocks noChangeShapeType="1"/>
          </p:cNvSpPr>
          <p:nvPr userDrawn="1"/>
        </p:nvSpPr>
        <p:spPr bwMode="auto">
          <a:xfrm>
            <a:off x="672149" y="1151058"/>
            <a:ext cx="1209865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984" noProof="0">
              <a:solidFill>
                <a:schemeClr val="bg1"/>
              </a:solidFill>
            </a:endParaRPr>
          </a:p>
        </p:txBody>
      </p:sp>
      <p:sp>
        <p:nvSpPr>
          <p:cNvPr id="8" name="Line 11"/>
          <p:cNvSpPr>
            <a:spLocks noChangeShapeType="1"/>
          </p:cNvSpPr>
          <p:nvPr userDrawn="1"/>
        </p:nvSpPr>
        <p:spPr bwMode="auto">
          <a:xfrm>
            <a:off x="672149" y="6885790"/>
            <a:ext cx="1209865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984" noProof="0">
              <a:solidFill>
                <a:schemeClr val="bg1"/>
              </a:solidFill>
            </a:endParaRPr>
          </a:p>
        </p:txBody>
      </p:sp>
      <p:sp>
        <p:nvSpPr>
          <p:cNvPr id="3" name="Date Placeholder 2"/>
          <p:cNvSpPr>
            <a:spLocks noGrp="1"/>
          </p:cNvSpPr>
          <p:nvPr>
            <p:ph type="dt" sz="half" idx="10"/>
          </p:nvPr>
        </p:nvSpPr>
        <p:spPr/>
        <p:txBody>
          <a:bodyPr/>
          <a:lstStyle>
            <a:lvl1pPr>
              <a:defRPr>
                <a:solidFill>
                  <a:schemeClr val="bg1"/>
                </a:solidFill>
              </a:defRPr>
            </a:lvl1pPr>
          </a:lstStyle>
          <a:p>
            <a:r>
              <a:rPr lang="en-US"/>
              <a:t>1 January 2014</a:t>
            </a:r>
          </a:p>
        </p:txBody>
      </p:sp>
      <p:sp>
        <p:nvSpPr>
          <p:cNvPr id="4" name="Footer Placeholder 3"/>
          <p:cNvSpPr>
            <a:spLocks noGrp="1"/>
          </p:cNvSpPr>
          <p:nvPr>
            <p:ph type="ftr" sz="quarter" idx="11"/>
          </p:nvPr>
        </p:nvSpPr>
        <p:spPr/>
        <p:txBody>
          <a:bodyPr/>
          <a:lstStyle>
            <a:lvl1pPr>
              <a:defRPr>
                <a:solidFill>
                  <a:schemeClr val="bg1"/>
                </a:solidFill>
              </a:defRPr>
            </a:lvl1pPr>
          </a:lstStyle>
          <a:p>
            <a:r>
              <a:rPr lang="en-GB"/>
              <a:t>Presentation title</a:t>
            </a:r>
          </a:p>
        </p:txBody>
      </p:sp>
    </p:spTree>
    <p:extLst>
      <p:ext uri="{BB962C8B-B14F-4D97-AF65-F5344CB8AC3E}">
        <p14:creationId xmlns:p14="http://schemas.microsoft.com/office/powerpoint/2010/main" val="2304421568"/>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only, no 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8" name="Line 11"/>
          <p:cNvSpPr>
            <a:spLocks noChangeShapeType="1"/>
          </p:cNvSpPr>
          <p:nvPr userDrawn="1"/>
        </p:nvSpPr>
        <p:spPr bwMode="auto">
          <a:xfrm>
            <a:off x="672149" y="6885790"/>
            <a:ext cx="1209865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984" noProof="0">
              <a:solidFill>
                <a:schemeClr val="bg1"/>
              </a:solidFill>
            </a:endParaRPr>
          </a:p>
        </p:txBody>
      </p:sp>
      <p:sp>
        <p:nvSpPr>
          <p:cNvPr id="3" name="Date Placeholder 2"/>
          <p:cNvSpPr>
            <a:spLocks noGrp="1"/>
          </p:cNvSpPr>
          <p:nvPr>
            <p:ph type="dt" sz="half" idx="10"/>
          </p:nvPr>
        </p:nvSpPr>
        <p:spPr/>
        <p:txBody>
          <a:bodyPr/>
          <a:lstStyle>
            <a:lvl1pPr>
              <a:defRPr>
                <a:solidFill>
                  <a:schemeClr val="bg1"/>
                </a:solidFill>
              </a:defRPr>
            </a:lvl1pPr>
          </a:lstStyle>
          <a:p>
            <a:r>
              <a:rPr lang="en-US"/>
              <a:t>1 January 2014</a:t>
            </a:r>
          </a:p>
        </p:txBody>
      </p:sp>
      <p:sp>
        <p:nvSpPr>
          <p:cNvPr id="4" name="Footer Placeholder 3"/>
          <p:cNvSpPr>
            <a:spLocks noGrp="1"/>
          </p:cNvSpPr>
          <p:nvPr>
            <p:ph type="ftr" sz="quarter" idx="11"/>
          </p:nvPr>
        </p:nvSpPr>
        <p:spPr/>
        <p:txBody>
          <a:bodyPr/>
          <a:lstStyle>
            <a:lvl1pPr>
              <a:defRPr>
                <a:solidFill>
                  <a:schemeClr val="bg1"/>
                </a:solidFill>
              </a:defRPr>
            </a:lvl1pPr>
          </a:lstStyle>
          <a:p>
            <a:r>
              <a:rPr lang="en-GB"/>
              <a:t>Presentation title</a:t>
            </a:r>
          </a:p>
        </p:txBody>
      </p:sp>
    </p:spTree>
    <p:extLst>
      <p:ext uri="{BB962C8B-B14F-4D97-AF65-F5344CB8AC3E}">
        <p14:creationId xmlns:p14="http://schemas.microsoft.com/office/powerpoint/2010/main" val="776996337"/>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3" name="Content Placeholder 2"/>
          <p:cNvSpPr>
            <a:spLocks noGrp="1"/>
          </p:cNvSpPr>
          <p:nvPr>
            <p:ph sz="half" idx="1"/>
          </p:nvPr>
        </p:nvSpPr>
        <p:spPr>
          <a:xfrm>
            <a:off x="672148" y="1571763"/>
            <a:ext cx="5937303" cy="5182617"/>
          </a:xfrm>
        </p:spPr>
        <p:txBody>
          <a:bodyPr/>
          <a:lstStyle>
            <a:lvl1pPr>
              <a:defRPr sz="2645">
                <a:solidFill>
                  <a:schemeClr val="bg1"/>
                </a:solidFill>
              </a:defRPr>
            </a:lvl1pPr>
            <a:lvl2pPr>
              <a:defRPr sz="2645">
                <a:solidFill>
                  <a:schemeClr val="bg1"/>
                </a:solidFill>
              </a:defRPr>
            </a:lvl2pPr>
            <a:lvl3pPr>
              <a:defRPr sz="2204">
                <a:solidFill>
                  <a:schemeClr val="bg1"/>
                </a:solidFill>
              </a:defRPr>
            </a:lvl3pPr>
            <a:lvl4pPr>
              <a:defRPr sz="1984">
                <a:solidFill>
                  <a:schemeClr val="bg1"/>
                </a:solidFill>
              </a:defRPr>
            </a:lvl4pPr>
            <a:lvl5pPr>
              <a:defRPr sz="1984">
                <a:solidFill>
                  <a:schemeClr val="bg1"/>
                </a:solidFill>
              </a:defRPr>
            </a:lvl5pPr>
            <a:lvl6pPr>
              <a:defRPr sz="1984"/>
            </a:lvl6pPr>
            <a:lvl7pPr>
              <a:defRPr sz="1984"/>
            </a:lvl7pPr>
            <a:lvl8pPr>
              <a:defRPr sz="1984"/>
            </a:lvl8pPr>
            <a:lvl9pPr>
              <a:defRPr sz="1984"/>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833500" y="1571763"/>
            <a:ext cx="5937303" cy="5182617"/>
          </a:xfrm>
        </p:spPr>
        <p:txBody>
          <a:bodyPr/>
          <a:lstStyle>
            <a:lvl1pPr marL="392991" indent="-392991" algn="l" defTabSz="1007669" rtl="0" eaLnBrk="1" latinLnBrk="0" hangingPunct="1">
              <a:spcBef>
                <a:spcPct val="20000"/>
              </a:spcBef>
              <a:buClr>
                <a:schemeClr val="accent2"/>
              </a:buClr>
              <a:buSzPct val="70000"/>
              <a:buFont typeface="Arial" pitchFamily="34" charset="0"/>
              <a:buChar char="►"/>
              <a:defRPr lang="en-US" sz="2645" kern="1200" dirty="0" smtClean="0">
                <a:solidFill>
                  <a:schemeClr val="bg1"/>
                </a:solidFill>
                <a:latin typeface="+mn-lt"/>
                <a:ea typeface="+mn-ea"/>
                <a:cs typeface="+mn-cs"/>
              </a:defRPr>
            </a:lvl1pPr>
            <a:lvl2pPr marL="785982" indent="-392991" algn="l" defTabSz="1007669" rtl="0" eaLnBrk="1" latinLnBrk="0" hangingPunct="1">
              <a:spcBef>
                <a:spcPct val="20000"/>
              </a:spcBef>
              <a:buClr>
                <a:schemeClr val="accent2"/>
              </a:buClr>
              <a:buSzPct val="70000"/>
              <a:buFont typeface="Arial" pitchFamily="34" charset="0"/>
              <a:buChar char="►"/>
              <a:defRPr lang="en-US" sz="2645" kern="1200" dirty="0" smtClean="0">
                <a:solidFill>
                  <a:schemeClr val="bg1"/>
                </a:solidFill>
                <a:latin typeface="+mn-lt"/>
                <a:ea typeface="+mn-ea"/>
                <a:cs typeface="+mn-cs"/>
              </a:defRPr>
            </a:lvl2pPr>
            <a:lvl3pPr marL="1178972" indent="-392991" algn="l" defTabSz="1007669" rtl="0" eaLnBrk="1" latinLnBrk="0" hangingPunct="1">
              <a:spcBef>
                <a:spcPct val="20000"/>
              </a:spcBef>
              <a:buClr>
                <a:schemeClr val="accent2"/>
              </a:buClr>
              <a:buSzPct val="70000"/>
              <a:buFont typeface="Arial" pitchFamily="34" charset="0"/>
              <a:buChar char="►"/>
              <a:defRPr lang="en-US" sz="2204" kern="1200" dirty="0" smtClean="0">
                <a:solidFill>
                  <a:schemeClr val="bg1"/>
                </a:solidFill>
                <a:latin typeface="+mn-lt"/>
                <a:ea typeface="+mn-ea"/>
                <a:cs typeface="+mn-cs"/>
              </a:defRPr>
            </a:lvl3pPr>
            <a:lvl4pPr marL="1571963" indent="-392991" algn="l" defTabSz="1007669" rtl="0" eaLnBrk="1" latinLnBrk="0" hangingPunct="1">
              <a:spcBef>
                <a:spcPct val="20000"/>
              </a:spcBef>
              <a:buClr>
                <a:schemeClr val="accent2"/>
              </a:buClr>
              <a:buSzPct val="70000"/>
              <a:buFont typeface="Arial" pitchFamily="34" charset="0"/>
              <a:buChar char="►"/>
              <a:defRPr lang="en-US" sz="1984" kern="1200" dirty="0" smtClean="0">
                <a:solidFill>
                  <a:schemeClr val="bg1"/>
                </a:solidFill>
                <a:latin typeface="+mn-lt"/>
                <a:ea typeface="+mn-ea"/>
                <a:cs typeface="+mn-cs"/>
              </a:defRPr>
            </a:lvl4pPr>
            <a:lvl5pPr marL="1964954" indent="-392991" algn="l" defTabSz="1007669" rtl="0" eaLnBrk="1" latinLnBrk="0" hangingPunct="1">
              <a:spcBef>
                <a:spcPct val="20000"/>
              </a:spcBef>
              <a:buClr>
                <a:schemeClr val="accent2"/>
              </a:buClr>
              <a:buSzPct val="70000"/>
              <a:buFont typeface="Arial" pitchFamily="34" charset="0"/>
              <a:buChar char="►"/>
              <a:defRPr lang="en-GB" sz="1984" kern="1200" dirty="0">
                <a:solidFill>
                  <a:schemeClr val="bg1"/>
                </a:solidFill>
                <a:latin typeface="+mn-lt"/>
                <a:ea typeface="+mn-ea"/>
                <a:cs typeface="+mn-cs"/>
              </a:defRPr>
            </a:lvl5pPr>
            <a:lvl6pPr>
              <a:defRPr sz="1984"/>
            </a:lvl6pPr>
            <a:lvl7pPr>
              <a:defRPr sz="1984"/>
            </a:lvl7pPr>
            <a:lvl8pPr>
              <a:defRPr sz="1984"/>
            </a:lvl8pPr>
            <a:lvl9pPr>
              <a:defRPr sz="1984"/>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Line 10"/>
          <p:cNvSpPr>
            <a:spLocks noChangeShapeType="1"/>
          </p:cNvSpPr>
          <p:nvPr userDrawn="1"/>
        </p:nvSpPr>
        <p:spPr bwMode="auto">
          <a:xfrm>
            <a:off x="672149" y="1151058"/>
            <a:ext cx="1209865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984" noProof="0">
              <a:solidFill>
                <a:schemeClr val="bg1"/>
              </a:solidFill>
            </a:endParaRPr>
          </a:p>
        </p:txBody>
      </p:sp>
      <p:sp>
        <p:nvSpPr>
          <p:cNvPr id="12" name="Line 11"/>
          <p:cNvSpPr>
            <a:spLocks noChangeShapeType="1"/>
          </p:cNvSpPr>
          <p:nvPr userDrawn="1"/>
        </p:nvSpPr>
        <p:spPr bwMode="auto">
          <a:xfrm>
            <a:off x="672149" y="6885790"/>
            <a:ext cx="1209865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984" noProof="0">
              <a:solidFill>
                <a:schemeClr val="bg1"/>
              </a:solidFill>
            </a:endParaRPr>
          </a:p>
        </p:txBody>
      </p:sp>
      <p:sp>
        <p:nvSpPr>
          <p:cNvPr id="5" name="Date Placeholder 4"/>
          <p:cNvSpPr>
            <a:spLocks noGrp="1"/>
          </p:cNvSpPr>
          <p:nvPr>
            <p:ph type="dt" sz="half" idx="10"/>
          </p:nvPr>
        </p:nvSpPr>
        <p:spPr/>
        <p:txBody>
          <a:bodyPr/>
          <a:lstStyle>
            <a:lvl1pPr>
              <a:defRPr>
                <a:solidFill>
                  <a:schemeClr val="bg1"/>
                </a:solidFill>
              </a:defRPr>
            </a:lvl1pPr>
          </a:lstStyle>
          <a:p>
            <a:r>
              <a:rPr lang="en-US"/>
              <a:t>1 January 2014</a:t>
            </a:r>
          </a:p>
        </p:txBody>
      </p:sp>
      <p:sp>
        <p:nvSpPr>
          <p:cNvPr id="7" name="Footer Placeholder 6"/>
          <p:cNvSpPr>
            <a:spLocks noGrp="1"/>
          </p:cNvSpPr>
          <p:nvPr>
            <p:ph type="ftr" sz="quarter" idx="11"/>
          </p:nvPr>
        </p:nvSpPr>
        <p:spPr/>
        <p:txBody>
          <a:bodyPr/>
          <a:lstStyle>
            <a:lvl1pPr>
              <a:defRPr>
                <a:solidFill>
                  <a:schemeClr val="bg1"/>
                </a:solidFill>
              </a:defRPr>
            </a:lvl1pPr>
          </a:lstStyle>
          <a:p>
            <a:r>
              <a:rPr lang="en-GB"/>
              <a:t>Presentation title</a:t>
            </a:r>
          </a:p>
        </p:txBody>
      </p:sp>
    </p:spTree>
    <p:extLst>
      <p:ext uri="{BB962C8B-B14F-4D97-AF65-F5344CB8AC3E}">
        <p14:creationId xmlns:p14="http://schemas.microsoft.com/office/powerpoint/2010/main" val="857166984"/>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wo columns with heading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675157" y="2349031"/>
            <a:ext cx="5943478" cy="4405696"/>
          </a:xfrm>
        </p:spPr>
        <p:txBody>
          <a:bodyPr/>
          <a:lstStyle>
            <a:lvl1pPr>
              <a:defRPr sz="2645"/>
            </a:lvl1pPr>
            <a:lvl2pPr>
              <a:defRPr sz="2645"/>
            </a:lvl2pPr>
            <a:lvl3pPr marL="1191359" indent="-393621">
              <a:defRPr sz="2204"/>
            </a:lvl3pPr>
            <a:lvl4pPr>
              <a:defRPr sz="1984"/>
            </a:lvl4pPr>
            <a:lvl5pPr>
              <a:defRPr sz="1984"/>
            </a:lvl5pPr>
            <a:lvl6pPr>
              <a:defRPr sz="1984"/>
            </a:lvl6pPr>
            <a:lvl7pPr>
              <a:defRPr sz="1984"/>
            </a:lvl7pPr>
            <a:lvl8pPr>
              <a:defRPr sz="1984"/>
            </a:lvl8pPr>
            <a:lvl9pPr>
              <a:defRPr sz="1984"/>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832182" y="2349031"/>
            <a:ext cx="5943478" cy="4405696"/>
          </a:xfrm>
        </p:spPr>
        <p:txBody>
          <a:bodyPr/>
          <a:lstStyle>
            <a:lvl1pPr>
              <a:defRPr sz="2645"/>
            </a:lvl1pPr>
            <a:lvl2pPr>
              <a:defRPr sz="2645"/>
            </a:lvl2pPr>
            <a:lvl3pPr>
              <a:defRPr sz="2204"/>
            </a:lvl3pPr>
            <a:lvl4pPr>
              <a:defRPr sz="1984"/>
            </a:lvl4pPr>
            <a:lvl5pPr>
              <a:defRPr sz="1984"/>
            </a:lvl5pPr>
            <a:lvl6pPr>
              <a:defRPr sz="1984"/>
            </a:lvl6pPr>
            <a:lvl7pPr>
              <a:defRPr sz="1984"/>
            </a:lvl7pPr>
            <a:lvl8pPr>
              <a:defRPr sz="1984"/>
            </a:lvl8pPr>
            <a:lvl9pPr>
              <a:defRPr sz="1984"/>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Line 10"/>
          <p:cNvSpPr>
            <a:spLocks noChangeShapeType="1"/>
          </p:cNvSpPr>
          <p:nvPr userDrawn="1"/>
        </p:nvSpPr>
        <p:spPr bwMode="auto">
          <a:xfrm>
            <a:off x="672149" y="1151058"/>
            <a:ext cx="1209865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984" noProof="0">
              <a:solidFill>
                <a:schemeClr val="bg1"/>
              </a:solidFill>
            </a:endParaRPr>
          </a:p>
        </p:txBody>
      </p:sp>
      <p:sp>
        <p:nvSpPr>
          <p:cNvPr id="10" name="Text Placeholder 9"/>
          <p:cNvSpPr>
            <a:spLocks noGrp="1"/>
          </p:cNvSpPr>
          <p:nvPr>
            <p:ph type="body" sz="quarter" idx="12"/>
          </p:nvPr>
        </p:nvSpPr>
        <p:spPr>
          <a:xfrm>
            <a:off x="675157" y="1573492"/>
            <a:ext cx="5943478" cy="706512"/>
          </a:xfrm>
        </p:spPr>
        <p:txBody>
          <a:bodyPr anchor="t" anchorCtr="0"/>
          <a:lstStyle>
            <a:lvl1pPr>
              <a:buNone/>
              <a:defRPr b="1"/>
            </a:lvl1pPr>
          </a:lstStyle>
          <a:p>
            <a:pPr lvl="0"/>
            <a:r>
              <a:rPr lang="en-US"/>
              <a:t>Click to edit Master text styles</a:t>
            </a:r>
          </a:p>
        </p:txBody>
      </p:sp>
      <p:sp>
        <p:nvSpPr>
          <p:cNvPr id="11" name="Text Placeholder 9"/>
          <p:cNvSpPr>
            <a:spLocks noGrp="1"/>
          </p:cNvSpPr>
          <p:nvPr>
            <p:ph type="body" sz="quarter" idx="13"/>
          </p:nvPr>
        </p:nvSpPr>
        <p:spPr>
          <a:xfrm>
            <a:off x="6832182" y="1573492"/>
            <a:ext cx="5943478" cy="706512"/>
          </a:xfrm>
        </p:spPr>
        <p:txBody>
          <a:bodyPr anchor="t" anchorCtr="0"/>
          <a:lstStyle>
            <a:lvl1pPr>
              <a:buNone/>
              <a:defRPr b="1"/>
            </a:lvl1pPr>
          </a:lstStyle>
          <a:p>
            <a:pPr lvl="0"/>
            <a:r>
              <a:rPr lang="en-US"/>
              <a:t>Click to edit Master text styles</a:t>
            </a:r>
          </a:p>
        </p:txBody>
      </p:sp>
      <p:sp>
        <p:nvSpPr>
          <p:cNvPr id="9" name="Line 11"/>
          <p:cNvSpPr>
            <a:spLocks noChangeShapeType="1"/>
          </p:cNvSpPr>
          <p:nvPr userDrawn="1"/>
        </p:nvSpPr>
        <p:spPr bwMode="auto">
          <a:xfrm>
            <a:off x="672149" y="6885790"/>
            <a:ext cx="1209865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984" noProof="0">
              <a:solidFill>
                <a:schemeClr val="bg1"/>
              </a:solidFill>
            </a:endParaRPr>
          </a:p>
        </p:txBody>
      </p:sp>
      <p:sp>
        <p:nvSpPr>
          <p:cNvPr id="5" name="Date Placeholder 4"/>
          <p:cNvSpPr>
            <a:spLocks noGrp="1"/>
          </p:cNvSpPr>
          <p:nvPr>
            <p:ph type="dt" sz="half" idx="14"/>
          </p:nvPr>
        </p:nvSpPr>
        <p:spPr/>
        <p:txBody>
          <a:bodyPr/>
          <a:lstStyle/>
          <a:p>
            <a:r>
              <a:rPr lang="en-US"/>
              <a:t>1 January 2014</a:t>
            </a:r>
          </a:p>
        </p:txBody>
      </p:sp>
      <p:sp>
        <p:nvSpPr>
          <p:cNvPr id="7" name="Footer Placeholder 6"/>
          <p:cNvSpPr>
            <a:spLocks noGrp="1"/>
          </p:cNvSpPr>
          <p:nvPr>
            <p:ph type="ftr" sz="quarter" idx="15"/>
          </p:nvPr>
        </p:nvSpPr>
        <p:spPr/>
        <p:txBody>
          <a:bodyPr/>
          <a:lstStyle/>
          <a:p>
            <a:r>
              <a:rPr lang="en-GB"/>
              <a:t>Presentation title</a:t>
            </a:r>
          </a:p>
        </p:txBody>
      </p:sp>
    </p:spTree>
    <p:extLst>
      <p:ext uri="{BB962C8B-B14F-4D97-AF65-F5344CB8AC3E}">
        <p14:creationId xmlns:p14="http://schemas.microsoft.com/office/powerpoint/2010/main" val="2301712285"/>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Key statement">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a:xfrm>
            <a:off x="669817" y="1130691"/>
            <a:ext cx="12098655" cy="1811553"/>
          </a:xfrm>
        </p:spPr>
        <p:txBody>
          <a:bodyPr/>
          <a:lstStyle>
            <a:lvl1pPr marL="0" indent="0" algn="l">
              <a:lnSpc>
                <a:spcPct val="85000"/>
              </a:lnSpc>
              <a:spcBef>
                <a:spcPts val="0"/>
              </a:spcBef>
              <a:buNone/>
              <a:defRPr sz="5510" b="1">
                <a:solidFill>
                  <a:schemeClr val="bg2"/>
                </a:solidFill>
                <a:latin typeface="+mj-lt"/>
              </a:defRPr>
            </a:lvl1pPr>
            <a:lvl2pPr marL="0" indent="0">
              <a:buNone/>
              <a:defRPr/>
            </a:lvl2pPr>
            <a:lvl3pPr marL="0" indent="0">
              <a:buNone/>
              <a:defRPr/>
            </a:lvl3pPr>
            <a:lvl4pPr marL="0" indent="0">
              <a:buNone/>
              <a:defRPr/>
            </a:lvl4pPr>
            <a:lvl5pPr marL="0" indent="0">
              <a:buNone/>
              <a:defRPr/>
            </a:lvl5pPr>
          </a:lstStyle>
          <a:p>
            <a:pPr lvl="0"/>
            <a:r>
              <a:rPr lang="en-US"/>
              <a:t>Click to edit Master text styles</a:t>
            </a:r>
          </a:p>
        </p:txBody>
      </p:sp>
      <p:sp>
        <p:nvSpPr>
          <p:cNvPr id="5" name="Line 11"/>
          <p:cNvSpPr>
            <a:spLocks noChangeShapeType="1"/>
          </p:cNvSpPr>
          <p:nvPr userDrawn="1"/>
        </p:nvSpPr>
        <p:spPr bwMode="auto">
          <a:xfrm>
            <a:off x="672149" y="6885790"/>
            <a:ext cx="1209865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984" noProof="0">
              <a:solidFill>
                <a:schemeClr val="bg1"/>
              </a:solidFill>
            </a:endParaRPr>
          </a:p>
        </p:txBody>
      </p:sp>
      <p:sp>
        <p:nvSpPr>
          <p:cNvPr id="2" name="Date Placeholder 1"/>
          <p:cNvSpPr>
            <a:spLocks noGrp="1"/>
          </p:cNvSpPr>
          <p:nvPr>
            <p:ph type="dt" sz="half" idx="12"/>
          </p:nvPr>
        </p:nvSpPr>
        <p:spPr/>
        <p:txBody>
          <a:bodyPr/>
          <a:lstStyle>
            <a:lvl1pPr>
              <a:defRPr>
                <a:solidFill>
                  <a:schemeClr val="bg1"/>
                </a:solidFill>
              </a:defRPr>
            </a:lvl1pPr>
          </a:lstStyle>
          <a:p>
            <a:r>
              <a:rPr lang="en-US"/>
              <a:t>1 January 2014</a:t>
            </a:r>
          </a:p>
        </p:txBody>
      </p:sp>
      <p:sp>
        <p:nvSpPr>
          <p:cNvPr id="4" name="Footer Placeholder 3"/>
          <p:cNvSpPr>
            <a:spLocks noGrp="1"/>
          </p:cNvSpPr>
          <p:nvPr>
            <p:ph type="ftr" sz="quarter" idx="13"/>
          </p:nvPr>
        </p:nvSpPr>
        <p:spPr/>
        <p:txBody>
          <a:bodyPr/>
          <a:lstStyle>
            <a:lvl1pPr>
              <a:defRPr>
                <a:solidFill>
                  <a:schemeClr val="bg1"/>
                </a:solidFill>
              </a:defRPr>
            </a:lvl1pPr>
          </a:lstStyle>
          <a:p>
            <a:r>
              <a:rPr lang="en-GB"/>
              <a:t>Presentation title</a:t>
            </a:r>
          </a:p>
        </p:txBody>
      </p:sp>
    </p:spTree>
    <p:extLst>
      <p:ext uri="{BB962C8B-B14F-4D97-AF65-F5344CB8AC3E}">
        <p14:creationId xmlns:p14="http://schemas.microsoft.com/office/powerpoint/2010/main" val="28192355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tandard slide_no bullets_no headers">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487861091"/>
              </p:ext>
            </p:extLst>
          </p:nvPr>
        </p:nvGraphicFramePr>
        <p:xfrm>
          <a:off x="1588" y="1589"/>
          <a:ext cx="1588" cy="1587"/>
        </p:xfrm>
        <a:graphic>
          <a:graphicData uri="http://schemas.openxmlformats.org/presentationml/2006/ole">
            <mc:AlternateContent xmlns:mc="http://schemas.openxmlformats.org/markup-compatibility/2006">
              <mc:Choice xmlns:v="urn:schemas-microsoft-com:vml" Requires="v">
                <p:oleObj spid="_x0000_s6146" name="think-cell Slide" r:id="rId4" imgW="493" imgH="493" progId="TCLayout.ActiveDocument.1">
                  <p:embed/>
                </p:oleObj>
              </mc:Choice>
              <mc:Fallback>
                <p:oleObj name="think-cell Slide" r:id="rId4" imgW="493" imgH="493" progId="TCLayout.ActiveDocument.1">
                  <p:embed/>
                  <p:pic>
                    <p:nvPicPr>
                      <p:cNvPr id="4" name="Object 3" hidden="1"/>
                      <p:cNvPicPr/>
                      <p:nvPr/>
                    </p:nvPicPr>
                    <p:blipFill>
                      <a:blip r:embed="rId5"/>
                      <a:stretch>
                        <a:fillRect/>
                      </a:stretch>
                    </p:blipFill>
                    <p:spPr>
                      <a:xfrm>
                        <a:off x="1588" y="1589"/>
                        <a:ext cx="1588" cy="1587"/>
                      </a:xfrm>
                      <a:prstGeom prst="rect">
                        <a:avLst/>
                      </a:prstGeom>
                    </p:spPr>
                  </p:pic>
                </p:oleObj>
              </mc:Fallback>
            </mc:AlternateContent>
          </a:graphicData>
        </a:graphic>
      </p:graphicFrame>
      <p:sp>
        <p:nvSpPr>
          <p:cNvPr id="2" name="Title 1"/>
          <p:cNvSpPr>
            <a:spLocks noGrp="1"/>
          </p:cNvSpPr>
          <p:nvPr>
            <p:ph type="title" hasCustomPrompt="1"/>
          </p:nvPr>
        </p:nvSpPr>
        <p:spPr>
          <a:xfrm>
            <a:off x="943200" y="608400"/>
            <a:ext cx="11700000" cy="741600"/>
          </a:xfrm>
          <a:prstGeom prst="rect">
            <a:avLst/>
          </a:prstGeom>
        </p:spPr>
        <p:txBody>
          <a:bodyPr/>
          <a:lstStyle>
            <a:lvl1pPr>
              <a:defRPr sz="2400"/>
            </a:lvl1pPr>
          </a:lstStyle>
          <a:p>
            <a:r>
              <a:rPr lang="en-US"/>
              <a:t>CLICK TO EDIT MASTER TITLE STYLE</a:t>
            </a:r>
            <a:endParaRPr lang="en-GB"/>
          </a:p>
        </p:txBody>
      </p:sp>
    </p:spTree>
    <p:extLst>
      <p:ext uri="{BB962C8B-B14F-4D97-AF65-F5344CB8AC3E}">
        <p14:creationId xmlns:p14="http://schemas.microsoft.com/office/powerpoint/2010/main" val="1334625018"/>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7" name="Line 11"/>
          <p:cNvSpPr>
            <a:spLocks noChangeShapeType="1"/>
          </p:cNvSpPr>
          <p:nvPr userDrawn="1"/>
        </p:nvSpPr>
        <p:spPr bwMode="auto">
          <a:xfrm>
            <a:off x="669815" y="6885790"/>
            <a:ext cx="12098655" cy="0"/>
          </a:xfrm>
          <a:prstGeom prst="line">
            <a:avLst/>
          </a:prstGeom>
          <a:noFill/>
          <a:ln w="3175">
            <a:solidFill>
              <a:srgbClr val="808080"/>
            </a:solidFill>
            <a:round/>
            <a:headEnd/>
            <a:tailEnd/>
          </a:ln>
          <a:effectLst/>
        </p:spPr>
        <p:txBody>
          <a:bodyPr wrap="none" anchor="ctr"/>
          <a:lstStyle/>
          <a:p>
            <a:endParaRPr lang="en-US" sz="992" noProof="0">
              <a:solidFill>
                <a:schemeClr val="bg1"/>
              </a:solidFill>
            </a:endParaRPr>
          </a:p>
        </p:txBody>
      </p:sp>
      <p:sp>
        <p:nvSpPr>
          <p:cNvPr id="2" name="Date Placeholder 1"/>
          <p:cNvSpPr>
            <a:spLocks noGrp="1"/>
          </p:cNvSpPr>
          <p:nvPr>
            <p:ph type="dt" sz="half" idx="10"/>
          </p:nvPr>
        </p:nvSpPr>
        <p:spPr/>
        <p:txBody>
          <a:bodyPr/>
          <a:lstStyle/>
          <a:p>
            <a:r>
              <a:rPr lang="en-US"/>
              <a:t>1 January 2014</a:t>
            </a:r>
          </a:p>
        </p:txBody>
      </p:sp>
      <p:sp>
        <p:nvSpPr>
          <p:cNvPr id="3" name="Footer Placeholder 2"/>
          <p:cNvSpPr>
            <a:spLocks noGrp="1"/>
          </p:cNvSpPr>
          <p:nvPr>
            <p:ph type="ftr" sz="quarter" idx="11"/>
          </p:nvPr>
        </p:nvSpPr>
        <p:spPr/>
        <p:txBody>
          <a:bodyPr/>
          <a:lstStyle/>
          <a:p>
            <a:r>
              <a:rPr lang="en-GB"/>
              <a:t>Presentation title</a:t>
            </a:r>
          </a:p>
        </p:txBody>
      </p:sp>
    </p:spTree>
    <p:extLst>
      <p:ext uri="{BB962C8B-B14F-4D97-AF65-F5344CB8AC3E}">
        <p14:creationId xmlns:p14="http://schemas.microsoft.com/office/powerpoint/2010/main" val="1900221249"/>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Final legal text">
    <p:spTree>
      <p:nvGrpSpPr>
        <p:cNvPr id="1" name=""/>
        <p:cNvGrpSpPr/>
        <p:nvPr/>
      </p:nvGrpSpPr>
      <p:grpSpPr>
        <a:xfrm>
          <a:off x="0" y="0"/>
          <a:ext cx="0" cy="0"/>
          <a:chOff x="0" y="0"/>
          <a:chExt cx="0" cy="0"/>
        </a:xfrm>
      </p:grpSpPr>
      <p:sp>
        <p:nvSpPr>
          <p:cNvPr id="8" name="Content Placeholder 2"/>
          <p:cNvSpPr>
            <a:spLocks noGrp="1"/>
          </p:cNvSpPr>
          <p:nvPr>
            <p:ph idx="1"/>
          </p:nvPr>
        </p:nvSpPr>
        <p:spPr>
          <a:xfrm>
            <a:off x="669813" y="792884"/>
            <a:ext cx="5154895" cy="5744335"/>
          </a:xfrm>
        </p:spPr>
        <p:txBody>
          <a:bodyPr/>
          <a:lstStyle>
            <a:lvl1pPr marL="0" indent="0" algn="l" defTabSz="1096890" rtl="0" fontAlgn="base">
              <a:lnSpc>
                <a:spcPct val="100000"/>
              </a:lnSpc>
              <a:spcBef>
                <a:spcPct val="70000"/>
              </a:spcBef>
              <a:spcAft>
                <a:spcPct val="0"/>
              </a:spcAft>
              <a:buSzPct val="100000"/>
              <a:buNone/>
              <a:defRPr lang="en-US" sz="1322" kern="1200" noProof="0" dirty="0" smtClean="0">
                <a:solidFill>
                  <a:schemeClr val="bg1"/>
                </a:solidFill>
                <a:latin typeface="Arial" pitchFamily="34" charset="0"/>
                <a:ea typeface="+mn-ea"/>
                <a:cs typeface="Arial" pitchFamily="34" charset="0"/>
              </a:defRPr>
            </a:lvl1pPr>
            <a:lvl2pPr marL="0" indent="0" algn="l" defTabSz="1096890" rtl="0" fontAlgn="base">
              <a:lnSpc>
                <a:spcPct val="100000"/>
              </a:lnSpc>
              <a:spcBef>
                <a:spcPct val="0"/>
              </a:spcBef>
              <a:spcAft>
                <a:spcPct val="0"/>
              </a:spcAft>
              <a:buSzPct val="100000"/>
              <a:buNone/>
              <a:defRPr lang="en-US" sz="992" b="1" kern="1200" noProof="0" dirty="0" smtClean="0">
                <a:solidFill>
                  <a:schemeClr val="bg1"/>
                </a:solidFill>
                <a:latin typeface="Arial" pitchFamily="34" charset="0"/>
                <a:ea typeface="+mn-ea"/>
                <a:cs typeface="Arial" pitchFamily="34" charset="0"/>
              </a:defRPr>
            </a:lvl2pPr>
            <a:lvl3pPr marL="194187" indent="-194187" algn="l" defTabSz="1096890" rtl="0" fontAlgn="base">
              <a:lnSpc>
                <a:spcPct val="100000"/>
              </a:lnSpc>
              <a:spcBef>
                <a:spcPct val="0"/>
              </a:spcBef>
              <a:spcAft>
                <a:spcPct val="0"/>
              </a:spcAft>
              <a:buClr>
                <a:schemeClr val="accent2"/>
              </a:buClr>
              <a:buSzPct val="70000"/>
              <a:buFont typeface="Arial" pitchFamily="34" charset="0"/>
              <a:buChar char="►"/>
              <a:defRPr lang="en-US" sz="992" b="1" kern="1200" noProof="0" dirty="0" smtClean="0">
                <a:solidFill>
                  <a:schemeClr val="bg1"/>
                </a:solidFill>
                <a:latin typeface="Arial" pitchFamily="34" charset="0"/>
                <a:ea typeface="+mn-ea"/>
                <a:cs typeface="Arial" pitchFamily="34" charset="0"/>
              </a:defRPr>
            </a:lvl3pPr>
            <a:lvl4pPr marL="0" indent="0" algn="l" defTabSz="1096890" rtl="0" fontAlgn="base">
              <a:lnSpc>
                <a:spcPct val="100000"/>
              </a:lnSpc>
              <a:spcBef>
                <a:spcPct val="0"/>
              </a:spcBef>
              <a:spcAft>
                <a:spcPct val="0"/>
              </a:spcAft>
              <a:buSzPct val="100000"/>
              <a:buNone/>
              <a:defRPr lang="en-US" sz="882" kern="1200" noProof="0" dirty="0" smtClean="0">
                <a:solidFill>
                  <a:schemeClr val="bg1"/>
                </a:solidFill>
                <a:latin typeface="Arial" pitchFamily="34" charset="0"/>
                <a:ea typeface="+mn-ea"/>
                <a:cs typeface="Arial" pitchFamily="34" charset="0"/>
              </a:defRPr>
            </a:lvl4pPr>
            <a:lvl5pPr marL="208182" indent="-208182" algn="l" defTabSz="1096890" rtl="0" fontAlgn="base">
              <a:lnSpc>
                <a:spcPct val="100000"/>
              </a:lnSpc>
              <a:spcBef>
                <a:spcPct val="0"/>
              </a:spcBef>
              <a:spcAft>
                <a:spcPct val="0"/>
              </a:spcAft>
              <a:buClr>
                <a:schemeClr val="accent2"/>
              </a:buClr>
              <a:buSzPct val="70000"/>
              <a:buFont typeface="Arial" pitchFamily="34" charset="0"/>
              <a:buChar char="►"/>
              <a:defRPr lang="en-US" sz="882" kern="1200" noProof="0" dirty="0">
                <a:solidFill>
                  <a:schemeClr val="bg1"/>
                </a:solidFill>
                <a:latin typeface="Arial" pitchFamily="34" charset="0"/>
                <a:ea typeface="+mn-ea"/>
                <a:cs typeface="Arial"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157305589"/>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431906107"/>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userDrawn="1">
  <p:cSld name="1_Cover alternate 2">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1750"/>
            <a:ext cx="13442950" cy="7561263"/>
          </a:xfrm>
          <a:prstGeom prst="rect">
            <a:avLst/>
          </a:prstGeom>
        </p:spPr>
      </p:pic>
      <p:sp>
        <p:nvSpPr>
          <p:cNvPr id="8" name="Freeform 5"/>
          <p:cNvSpPr>
            <a:spLocks noChangeAspect="1"/>
          </p:cNvSpPr>
          <p:nvPr userDrawn="1"/>
        </p:nvSpPr>
        <p:spPr bwMode="gray">
          <a:xfrm rot="10800000">
            <a:off x="4817712" y="504087"/>
            <a:ext cx="7958226" cy="5039092"/>
          </a:xfrm>
          <a:custGeom>
            <a:avLst/>
            <a:gdLst>
              <a:gd name="connsiteX0" fmla="*/ 0 w 10000"/>
              <a:gd name="connsiteY0" fmla="*/ 0 h 9745"/>
              <a:gd name="connsiteX1" fmla="*/ 921 w 10000"/>
              <a:gd name="connsiteY1" fmla="*/ 9745 h 9745"/>
              <a:gd name="connsiteX2" fmla="*/ 10000 w 10000"/>
              <a:gd name="connsiteY2" fmla="*/ 7201 h 9745"/>
              <a:gd name="connsiteX3" fmla="*/ 10000 w 10000"/>
              <a:gd name="connsiteY3" fmla="*/ 0 h 9745"/>
              <a:gd name="connsiteX4" fmla="*/ 0 w 10000"/>
              <a:gd name="connsiteY4" fmla="*/ 0 h 9745"/>
              <a:gd name="connsiteX0" fmla="*/ 0 w 9079"/>
              <a:gd name="connsiteY0" fmla="*/ 0 h 10000"/>
              <a:gd name="connsiteX1" fmla="*/ 0 w 9079"/>
              <a:gd name="connsiteY1" fmla="*/ 10000 h 10000"/>
              <a:gd name="connsiteX2" fmla="*/ 9079 w 9079"/>
              <a:gd name="connsiteY2" fmla="*/ 7389 h 10000"/>
              <a:gd name="connsiteX3" fmla="*/ 9079 w 9079"/>
              <a:gd name="connsiteY3" fmla="*/ 0 h 10000"/>
              <a:gd name="connsiteX4" fmla="*/ 0 w 9079"/>
              <a:gd name="connsiteY4" fmla="*/ 0 h 10000"/>
              <a:gd name="connsiteX0" fmla="*/ 5 w 10000"/>
              <a:gd name="connsiteY0" fmla="*/ 2555 h 10000"/>
              <a:gd name="connsiteX1" fmla="*/ 0 w 10000"/>
              <a:gd name="connsiteY1" fmla="*/ 10000 h 10000"/>
              <a:gd name="connsiteX2" fmla="*/ 10000 w 10000"/>
              <a:gd name="connsiteY2" fmla="*/ 7389 h 10000"/>
              <a:gd name="connsiteX3" fmla="*/ 10000 w 10000"/>
              <a:gd name="connsiteY3" fmla="*/ 0 h 10000"/>
              <a:gd name="connsiteX4" fmla="*/ 5 w 10000"/>
              <a:gd name="connsiteY4" fmla="*/ 2555 h 10000"/>
              <a:gd name="connsiteX0" fmla="*/ 5 w 10000"/>
              <a:gd name="connsiteY0" fmla="*/ 0 h 7445"/>
              <a:gd name="connsiteX1" fmla="*/ 0 w 10000"/>
              <a:gd name="connsiteY1" fmla="*/ 7445 h 7445"/>
              <a:gd name="connsiteX2" fmla="*/ 10000 w 10000"/>
              <a:gd name="connsiteY2" fmla="*/ 4834 h 7445"/>
              <a:gd name="connsiteX3" fmla="*/ 10000 w 10000"/>
              <a:gd name="connsiteY3" fmla="*/ 7 h 7445"/>
              <a:gd name="connsiteX4" fmla="*/ 5 w 10000"/>
              <a:gd name="connsiteY4" fmla="*/ 0 h 7445"/>
              <a:gd name="connsiteX0" fmla="*/ 5 w 10000"/>
              <a:gd name="connsiteY0" fmla="*/ 0 h 10000"/>
              <a:gd name="connsiteX1" fmla="*/ 0 w 10000"/>
              <a:gd name="connsiteY1" fmla="*/ 10000 h 10000"/>
              <a:gd name="connsiteX2" fmla="*/ 8453 w 10000"/>
              <a:gd name="connsiteY2" fmla="*/ 7036 h 10000"/>
              <a:gd name="connsiteX3" fmla="*/ 10000 w 10000"/>
              <a:gd name="connsiteY3" fmla="*/ 9 h 10000"/>
              <a:gd name="connsiteX4" fmla="*/ 5 w 10000"/>
              <a:gd name="connsiteY4" fmla="*/ 0 h 10000"/>
              <a:gd name="connsiteX0" fmla="*/ 5 w 8453"/>
              <a:gd name="connsiteY0" fmla="*/ 4143 h 14143"/>
              <a:gd name="connsiteX1" fmla="*/ 0 w 8453"/>
              <a:gd name="connsiteY1" fmla="*/ 14143 h 14143"/>
              <a:gd name="connsiteX2" fmla="*/ 8453 w 8453"/>
              <a:gd name="connsiteY2" fmla="*/ 11179 h 14143"/>
              <a:gd name="connsiteX3" fmla="*/ 8453 w 8453"/>
              <a:gd name="connsiteY3" fmla="*/ 0 h 14143"/>
              <a:gd name="connsiteX4" fmla="*/ 5 w 8453"/>
              <a:gd name="connsiteY4" fmla="*/ 4143 h 14143"/>
              <a:gd name="connsiteX0" fmla="*/ 6 w 10000"/>
              <a:gd name="connsiteY0" fmla="*/ 0 h 10007"/>
              <a:gd name="connsiteX1" fmla="*/ 0 w 10000"/>
              <a:gd name="connsiteY1" fmla="*/ 10007 h 10007"/>
              <a:gd name="connsiteX2" fmla="*/ 10000 w 10000"/>
              <a:gd name="connsiteY2" fmla="*/ 7911 h 10007"/>
              <a:gd name="connsiteX3" fmla="*/ 10000 w 10000"/>
              <a:gd name="connsiteY3" fmla="*/ 7 h 10007"/>
              <a:gd name="connsiteX4" fmla="*/ 6 w 10000"/>
              <a:gd name="connsiteY4" fmla="*/ 0 h 1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7">
                <a:moveTo>
                  <a:pt x="6" y="0"/>
                </a:moveTo>
                <a:cubicBezTo>
                  <a:pt x="4" y="2358"/>
                  <a:pt x="2" y="7650"/>
                  <a:pt x="0" y="10007"/>
                </a:cubicBezTo>
                <a:lnTo>
                  <a:pt x="10000" y="7911"/>
                </a:lnTo>
                <a:lnTo>
                  <a:pt x="10000" y="7"/>
                </a:lnTo>
                <a:lnTo>
                  <a:pt x="6" y="0"/>
                </a:lnTo>
                <a:close/>
              </a:path>
            </a:pathLst>
          </a:custGeom>
          <a:solidFill>
            <a:schemeClr val="accent2"/>
          </a:solidFill>
          <a:ln w="9525">
            <a:noFill/>
            <a:round/>
            <a:headEnd/>
            <a:tailEnd/>
          </a:ln>
        </p:spPr>
        <p:txBody>
          <a:bodyPr vert="horz" wrap="square" lIns="75538" tIns="37769" rIns="75538" bIns="37769" numCol="1" anchor="t" anchorCtr="0" compatLnSpc="1">
            <a:prstTxWarp prst="textNoShape">
              <a:avLst/>
            </a:prstTxWarp>
          </a:bodyPr>
          <a:lstStyle/>
          <a:p>
            <a:endParaRPr lang="en-GB" sz="1487"/>
          </a:p>
        </p:txBody>
      </p:sp>
      <p:sp>
        <p:nvSpPr>
          <p:cNvPr id="9" name="Title 1"/>
          <p:cNvSpPr>
            <a:spLocks noGrp="1"/>
          </p:cNvSpPr>
          <p:nvPr>
            <p:ph type="ctrTitle"/>
          </p:nvPr>
        </p:nvSpPr>
        <p:spPr>
          <a:xfrm>
            <a:off x="5229444" y="1849529"/>
            <a:ext cx="7205422" cy="948631"/>
          </a:xfrm>
        </p:spPr>
        <p:txBody>
          <a:bodyPr/>
          <a:lstStyle>
            <a:lvl1pPr>
              <a:defRPr>
                <a:solidFill>
                  <a:srgbClr val="404040"/>
                </a:solidFill>
                <a:latin typeface="+mn-lt"/>
                <a:cs typeface="Arial" pitchFamily="34" charset="0"/>
              </a:defRPr>
            </a:lvl1pPr>
          </a:lstStyle>
          <a:p>
            <a:r>
              <a:rPr lang="en-US"/>
              <a:t>Click to edit Master title style</a:t>
            </a:r>
            <a:endParaRPr lang="en-GB"/>
          </a:p>
        </p:txBody>
      </p:sp>
      <p:sp>
        <p:nvSpPr>
          <p:cNvPr id="10" name="Subtitle 2"/>
          <p:cNvSpPr>
            <a:spLocks noGrp="1"/>
          </p:cNvSpPr>
          <p:nvPr>
            <p:ph type="subTitle" idx="1"/>
          </p:nvPr>
        </p:nvSpPr>
        <p:spPr>
          <a:xfrm>
            <a:off x="5229444" y="2960478"/>
            <a:ext cx="7205422" cy="711960"/>
          </a:xfrm>
        </p:spPr>
        <p:txBody>
          <a:bodyPr/>
          <a:lstStyle>
            <a:lvl1pPr marL="0" indent="0" algn="l">
              <a:buNone/>
              <a:defRPr sz="1652">
                <a:solidFill>
                  <a:srgbClr val="404040"/>
                </a:solidFill>
                <a:latin typeface="+mn-lt"/>
                <a:cs typeface="Arial" pitchFamily="34" charset="0"/>
              </a:defRPr>
            </a:lvl1pPr>
            <a:lvl2pPr marL="0" indent="0" algn="l">
              <a:buNone/>
              <a:defRPr sz="1321">
                <a:solidFill>
                  <a:srgbClr val="404040"/>
                </a:solidFill>
              </a:defRPr>
            </a:lvl2pPr>
            <a:lvl3pPr marL="755348" indent="0" algn="ctr">
              <a:buNone/>
              <a:defRPr>
                <a:solidFill>
                  <a:schemeClr val="tx1">
                    <a:tint val="75000"/>
                  </a:schemeClr>
                </a:solidFill>
              </a:defRPr>
            </a:lvl3pPr>
            <a:lvl4pPr marL="1133022" indent="0" algn="ctr">
              <a:buNone/>
              <a:defRPr>
                <a:solidFill>
                  <a:schemeClr val="tx1">
                    <a:tint val="75000"/>
                  </a:schemeClr>
                </a:solidFill>
              </a:defRPr>
            </a:lvl4pPr>
            <a:lvl5pPr marL="1510697" indent="0" algn="ctr">
              <a:buNone/>
              <a:defRPr>
                <a:solidFill>
                  <a:schemeClr val="tx1">
                    <a:tint val="75000"/>
                  </a:schemeClr>
                </a:solidFill>
              </a:defRPr>
            </a:lvl5pPr>
            <a:lvl6pPr marL="1888372" indent="0" algn="ctr">
              <a:buNone/>
              <a:defRPr>
                <a:solidFill>
                  <a:schemeClr val="tx1">
                    <a:tint val="75000"/>
                  </a:schemeClr>
                </a:solidFill>
              </a:defRPr>
            </a:lvl6pPr>
            <a:lvl7pPr marL="2266046" indent="0" algn="ctr">
              <a:buNone/>
              <a:defRPr>
                <a:solidFill>
                  <a:schemeClr val="tx1">
                    <a:tint val="75000"/>
                  </a:schemeClr>
                </a:solidFill>
              </a:defRPr>
            </a:lvl7pPr>
            <a:lvl8pPr marL="2643720" indent="0" algn="ctr">
              <a:buNone/>
              <a:defRPr>
                <a:solidFill>
                  <a:schemeClr val="tx1">
                    <a:tint val="75000"/>
                  </a:schemeClr>
                </a:solidFill>
              </a:defRPr>
            </a:lvl8pPr>
            <a:lvl9pPr marL="3021394" indent="0" algn="ctr">
              <a:buNone/>
              <a:defRPr>
                <a:solidFill>
                  <a:schemeClr val="tx1">
                    <a:tint val="75000"/>
                  </a:schemeClr>
                </a:solidFill>
              </a:defRPr>
            </a:lvl9pPr>
          </a:lstStyle>
          <a:p>
            <a:pPr lvl="0"/>
            <a:r>
              <a:rPr lang="en-US"/>
              <a:t>Click to edit Master subtitle style</a:t>
            </a:r>
            <a:endParaRPr lang="en-GB"/>
          </a:p>
        </p:txBody>
      </p:sp>
      <p:grpSp>
        <p:nvGrpSpPr>
          <p:cNvPr id="11" name="Group 10"/>
          <p:cNvGrpSpPr/>
          <p:nvPr userDrawn="1"/>
        </p:nvGrpSpPr>
        <p:grpSpPr>
          <a:xfrm>
            <a:off x="11333156" y="5887983"/>
            <a:ext cx="1451651" cy="1275964"/>
            <a:chOff x="7708900" y="5340350"/>
            <a:chExt cx="987425" cy="1157288"/>
          </a:xfrm>
        </p:grpSpPr>
        <p:sp>
          <p:nvSpPr>
            <p:cNvPr id="3" name="AutoShape 3"/>
            <p:cNvSpPr>
              <a:spLocks noChangeAspect="1" noChangeArrowheads="1" noTextEdit="1"/>
            </p:cNvSpPr>
            <p:nvPr userDrawn="1"/>
          </p:nvSpPr>
          <p:spPr bwMode="auto">
            <a:xfrm>
              <a:off x="7708900" y="5340350"/>
              <a:ext cx="987425" cy="1157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487"/>
            </a:p>
          </p:txBody>
        </p:sp>
        <p:sp>
          <p:nvSpPr>
            <p:cNvPr id="4" name="Freeform 5"/>
            <p:cNvSpPr>
              <a:spLocks/>
            </p:cNvSpPr>
            <p:nvPr userDrawn="1"/>
          </p:nvSpPr>
          <p:spPr bwMode="auto">
            <a:xfrm>
              <a:off x="7708900" y="5340350"/>
              <a:ext cx="790575" cy="288925"/>
            </a:xfrm>
            <a:custGeom>
              <a:avLst/>
              <a:gdLst>
                <a:gd name="T0" fmla="*/ 2491 w 2491"/>
                <a:gd name="T1" fmla="*/ 0 h 910"/>
                <a:gd name="T2" fmla="*/ 0 w 2491"/>
                <a:gd name="T3" fmla="*/ 910 h 910"/>
                <a:gd name="T4" fmla="*/ 2491 w 2491"/>
                <a:gd name="T5" fmla="*/ 469 h 910"/>
                <a:gd name="T6" fmla="*/ 2491 w 2491"/>
                <a:gd name="T7" fmla="*/ 0 h 910"/>
              </a:gdLst>
              <a:ahLst/>
              <a:cxnLst>
                <a:cxn ang="0">
                  <a:pos x="T0" y="T1"/>
                </a:cxn>
                <a:cxn ang="0">
                  <a:pos x="T2" y="T3"/>
                </a:cxn>
                <a:cxn ang="0">
                  <a:pos x="T4" y="T5"/>
                </a:cxn>
                <a:cxn ang="0">
                  <a:pos x="T6" y="T7"/>
                </a:cxn>
              </a:cxnLst>
              <a:rect l="0" t="0" r="r" b="b"/>
              <a:pathLst>
                <a:path w="2491" h="910">
                  <a:moveTo>
                    <a:pt x="2491" y="0"/>
                  </a:moveTo>
                  <a:lnTo>
                    <a:pt x="0" y="910"/>
                  </a:lnTo>
                  <a:lnTo>
                    <a:pt x="2491" y="469"/>
                  </a:lnTo>
                  <a:lnTo>
                    <a:pt x="2491" y="0"/>
                  </a:lnTo>
                  <a:close/>
                </a:path>
              </a:pathLst>
            </a:custGeom>
            <a:solidFill>
              <a:srgbClr val="FFE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487"/>
            </a:p>
          </p:txBody>
        </p:sp>
        <p:sp>
          <p:nvSpPr>
            <p:cNvPr id="5" name="Freeform 6"/>
            <p:cNvSpPr>
              <a:spLocks noEditPoints="1"/>
            </p:cNvSpPr>
            <p:nvPr userDrawn="1"/>
          </p:nvSpPr>
          <p:spPr bwMode="auto">
            <a:xfrm>
              <a:off x="7708900" y="5749925"/>
              <a:ext cx="987425" cy="747713"/>
            </a:xfrm>
            <a:custGeom>
              <a:avLst/>
              <a:gdLst>
                <a:gd name="T0" fmla="*/ 235 w 3110"/>
                <a:gd name="T1" fmla="*/ 1600 h 2357"/>
                <a:gd name="T2" fmla="*/ 255 w 3110"/>
                <a:gd name="T3" fmla="*/ 1809 h 2357"/>
                <a:gd name="T4" fmla="*/ 152 w 3110"/>
                <a:gd name="T5" fmla="*/ 1823 h 2357"/>
                <a:gd name="T6" fmla="*/ 353 w 3110"/>
                <a:gd name="T7" fmla="*/ 1774 h 2357"/>
                <a:gd name="T8" fmla="*/ 419 w 3110"/>
                <a:gd name="T9" fmla="*/ 1871 h 2357"/>
                <a:gd name="T10" fmla="*/ 1148 w 3110"/>
                <a:gd name="T11" fmla="*/ 1664 h 2357"/>
                <a:gd name="T12" fmla="*/ 1225 w 3110"/>
                <a:gd name="T13" fmla="*/ 1751 h 2357"/>
                <a:gd name="T14" fmla="*/ 701 w 3110"/>
                <a:gd name="T15" fmla="*/ 1558 h 2357"/>
                <a:gd name="T16" fmla="*/ 744 w 3110"/>
                <a:gd name="T17" fmla="*/ 1723 h 2357"/>
                <a:gd name="T18" fmla="*/ 866 w 3110"/>
                <a:gd name="T19" fmla="*/ 1868 h 2357"/>
                <a:gd name="T20" fmla="*/ 838 w 3110"/>
                <a:gd name="T21" fmla="*/ 1696 h 2357"/>
                <a:gd name="T22" fmla="*/ 2035 w 3110"/>
                <a:gd name="T23" fmla="*/ 1874 h 2357"/>
                <a:gd name="T24" fmla="*/ 2173 w 3110"/>
                <a:gd name="T25" fmla="*/ 1760 h 2357"/>
                <a:gd name="T26" fmla="*/ 2115 w 3110"/>
                <a:gd name="T27" fmla="*/ 1743 h 2357"/>
                <a:gd name="T28" fmla="*/ 2074 w 3110"/>
                <a:gd name="T29" fmla="*/ 1696 h 2357"/>
                <a:gd name="T30" fmla="*/ 1318 w 3110"/>
                <a:gd name="T31" fmla="*/ 1748 h 2357"/>
                <a:gd name="T32" fmla="*/ 1455 w 3110"/>
                <a:gd name="T33" fmla="*/ 1858 h 2357"/>
                <a:gd name="T34" fmla="*/ 1484 w 3110"/>
                <a:gd name="T35" fmla="*/ 1938 h 2357"/>
                <a:gd name="T36" fmla="*/ 1378 w 3110"/>
                <a:gd name="T37" fmla="*/ 1794 h 2357"/>
                <a:gd name="T38" fmla="*/ 1740 w 3110"/>
                <a:gd name="T39" fmla="*/ 1690 h 2357"/>
                <a:gd name="T40" fmla="*/ 1644 w 3110"/>
                <a:gd name="T41" fmla="*/ 1791 h 2357"/>
                <a:gd name="T42" fmla="*/ 1835 w 3110"/>
                <a:gd name="T43" fmla="*/ 1723 h 2357"/>
                <a:gd name="T44" fmla="*/ 1698 w 3110"/>
                <a:gd name="T45" fmla="*/ 1800 h 2357"/>
                <a:gd name="T46" fmla="*/ 1721 w 3110"/>
                <a:gd name="T47" fmla="*/ 1831 h 2357"/>
                <a:gd name="T48" fmla="*/ 2256 w 3110"/>
                <a:gd name="T49" fmla="*/ 1780 h 2357"/>
                <a:gd name="T50" fmla="*/ 2243 w 3110"/>
                <a:gd name="T51" fmla="*/ 1665 h 2357"/>
                <a:gd name="T52" fmla="*/ 2306 w 3110"/>
                <a:gd name="T53" fmla="*/ 1880 h 2357"/>
                <a:gd name="T54" fmla="*/ 2338 w 3110"/>
                <a:gd name="T55" fmla="*/ 1722 h 2357"/>
                <a:gd name="T56" fmla="*/ 2929 w 3110"/>
                <a:gd name="T57" fmla="*/ 1763 h 2357"/>
                <a:gd name="T58" fmla="*/ 2750 w 3110"/>
                <a:gd name="T59" fmla="*/ 1695 h 2357"/>
                <a:gd name="T60" fmla="*/ 2872 w 3110"/>
                <a:gd name="T61" fmla="*/ 1874 h 2357"/>
                <a:gd name="T62" fmla="*/ 2658 w 3110"/>
                <a:gd name="T63" fmla="*/ 1797 h 2357"/>
                <a:gd name="T64" fmla="*/ 2623 w 3110"/>
                <a:gd name="T65" fmla="*/ 1867 h 2357"/>
                <a:gd name="T66" fmla="*/ 2482 w 3110"/>
                <a:gd name="T67" fmla="*/ 1876 h 2357"/>
                <a:gd name="T68" fmla="*/ 2513 w 3110"/>
                <a:gd name="T69" fmla="*/ 1825 h 2357"/>
                <a:gd name="T70" fmla="*/ 3019 w 3110"/>
                <a:gd name="T71" fmla="*/ 1651 h 2357"/>
                <a:gd name="T72" fmla="*/ 981 w 3110"/>
                <a:gd name="T73" fmla="*/ 1874 h 2357"/>
                <a:gd name="T74" fmla="*/ 2433 w 3110"/>
                <a:gd name="T75" fmla="*/ 2085 h 2357"/>
                <a:gd name="T76" fmla="*/ 2528 w 3110"/>
                <a:gd name="T77" fmla="*/ 2268 h 2357"/>
                <a:gd name="T78" fmla="*/ 2503 w 3110"/>
                <a:gd name="T79" fmla="*/ 2090 h 2357"/>
                <a:gd name="T80" fmla="*/ 631 w 3110"/>
                <a:gd name="T81" fmla="*/ 2093 h 2357"/>
                <a:gd name="T82" fmla="*/ 677 w 3110"/>
                <a:gd name="T83" fmla="*/ 2105 h 2357"/>
                <a:gd name="T84" fmla="*/ 203 w 3110"/>
                <a:gd name="T85" fmla="*/ 2151 h 2357"/>
                <a:gd name="T86" fmla="*/ 312 w 3110"/>
                <a:gd name="T87" fmla="*/ 2190 h 2357"/>
                <a:gd name="T88" fmla="*/ 507 w 3110"/>
                <a:gd name="T89" fmla="*/ 2190 h 2357"/>
                <a:gd name="T90" fmla="*/ 377 w 3110"/>
                <a:gd name="T91" fmla="*/ 2201 h 2357"/>
                <a:gd name="T92" fmla="*/ 442 w 3110"/>
                <a:gd name="T93" fmla="*/ 2201 h 2357"/>
                <a:gd name="T94" fmla="*/ 2213 w 3110"/>
                <a:gd name="T95" fmla="*/ 2056 h 2357"/>
                <a:gd name="T96" fmla="*/ 1608 w 3110"/>
                <a:gd name="T97" fmla="*/ 2042 h 2357"/>
                <a:gd name="T98" fmla="*/ 1951 w 3110"/>
                <a:gd name="T99" fmla="*/ 2062 h 2357"/>
                <a:gd name="T100" fmla="*/ 2016 w 3110"/>
                <a:gd name="T101" fmla="*/ 2271 h 2357"/>
                <a:gd name="T102" fmla="*/ 2075 w 3110"/>
                <a:gd name="T103" fmla="*/ 2057 h 2357"/>
                <a:gd name="T104" fmla="*/ 2016 w 3110"/>
                <a:gd name="T105" fmla="*/ 2089 h 2357"/>
                <a:gd name="T106" fmla="*/ 772 w 3110"/>
                <a:gd name="T107" fmla="*/ 1949 h 2357"/>
                <a:gd name="T108" fmla="*/ 1210 w 3110"/>
                <a:gd name="T109" fmla="*/ 2052 h 2357"/>
                <a:gd name="T110" fmla="*/ 1116 w 3110"/>
                <a:gd name="T111" fmla="*/ 2102 h 2357"/>
                <a:gd name="T112" fmla="*/ 1289 w 3110"/>
                <a:gd name="T113" fmla="*/ 2093 h 2357"/>
                <a:gd name="T114" fmla="*/ 1395 w 3110"/>
                <a:gd name="T115" fmla="*/ 2266 h 2357"/>
                <a:gd name="T116" fmla="*/ 1413 w 3110"/>
                <a:gd name="T117" fmla="*/ 2350 h 2357"/>
                <a:gd name="T118" fmla="*/ 1364 w 3110"/>
                <a:gd name="T119" fmla="*/ 2217 h 2357"/>
                <a:gd name="T120" fmla="*/ 1000 w 3110"/>
                <a:gd name="T121" fmla="*/ 2141 h 2357"/>
                <a:gd name="T122" fmla="*/ 400 w 3110"/>
                <a:gd name="T123" fmla="*/ 970 h 2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110" h="2357">
                  <a:moveTo>
                    <a:pt x="259" y="1777"/>
                  </a:moveTo>
                  <a:lnTo>
                    <a:pt x="259" y="1777"/>
                  </a:lnTo>
                  <a:lnTo>
                    <a:pt x="259" y="1769"/>
                  </a:lnTo>
                  <a:lnTo>
                    <a:pt x="258" y="1762"/>
                  </a:lnTo>
                  <a:lnTo>
                    <a:pt x="255" y="1749"/>
                  </a:lnTo>
                  <a:lnTo>
                    <a:pt x="249" y="1738"/>
                  </a:lnTo>
                  <a:lnTo>
                    <a:pt x="242" y="1729"/>
                  </a:lnTo>
                  <a:lnTo>
                    <a:pt x="235" y="1722"/>
                  </a:lnTo>
                  <a:lnTo>
                    <a:pt x="227" y="1717"/>
                  </a:lnTo>
                  <a:lnTo>
                    <a:pt x="220" y="1712"/>
                  </a:lnTo>
                  <a:lnTo>
                    <a:pt x="213" y="1709"/>
                  </a:lnTo>
                  <a:lnTo>
                    <a:pt x="213" y="1709"/>
                  </a:lnTo>
                  <a:lnTo>
                    <a:pt x="221" y="1703"/>
                  </a:lnTo>
                  <a:lnTo>
                    <a:pt x="228" y="1698"/>
                  </a:lnTo>
                  <a:lnTo>
                    <a:pt x="233" y="1691"/>
                  </a:lnTo>
                  <a:lnTo>
                    <a:pt x="239" y="1683"/>
                  </a:lnTo>
                  <a:lnTo>
                    <a:pt x="243" y="1675"/>
                  </a:lnTo>
                  <a:lnTo>
                    <a:pt x="246" y="1666"/>
                  </a:lnTo>
                  <a:lnTo>
                    <a:pt x="248" y="1658"/>
                  </a:lnTo>
                  <a:lnTo>
                    <a:pt x="248" y="1648"/>
                  </a:lnTo>
                  <a:lnTo>
                    <a:pt x="248" y="1648"/>
                  </a:lnTo>
                  <a:lnTo>
                    <a:pt x="248" y="1639"/>
                  </a:lnTo>
                  <a:lnTo>
                    <a:pt x="247" y="1630"/>
                  </a:lnTo>
                  <a:lnTo>
                    <a:pt x="245" y="1622"/>
                  </a:lnTo>
                  <a:lnTo>
                    <a:pt x="242" y="1614"/>
                  </a:lnTo>
                  <a:lnTo>
                    <a:pt x="239" y="1606"/>
                  </a:lnTo>
                  <a:lnTo>
                    <a:pt x="235" y="1600"/>
                  </a:lnTo>
                  <a:lnTo>
                    <a:pt x="229" y="1594"/>
                  </a:lnTo>
                  <a:lnTo>
                    <a:pt x="223" y="1589"/>
                  </a:lnTo>
                  <a:lnTo>
                    <a:pt x="217" y="1584"/>
                  </a:lnTo>
                  <a:lnTo>
                    <a:pt x="210" y="1580"/>
                  </a:lnTo>
                  <a:lnTo>
                    <a:pt x="202" y="1576"/>
                  </a:lnTo>
                  <a:lnTo>
                    <a:pt x="193" y="1573"/>
                  </a:lnTo>
                  <a:lnTo>
                    <a:pt x="185" y="1571"/>
                  </a:lnTo>
                  <a:lnTo>
                    <a:pt x="175" y="1569"/>
                  </a:lnTo>
                  <a:lnTo>
                    <a:pt x="165" y="1569"/>
                  </a:lnTo>
                  <a:lnTo>
                    <a:pt x="153" y="1568"/>
                  </a:lnTo>
                  <a:lnTo>
                    <a:pt x="22" y="1568"/>
                  </a:lnTo>
                  <a:lnTo>
                    <a:pt x="22" y="1874"/>
                  </a:lnTo>
                  <a:lnTo>
                    <a:pt x="152" y="1874"/>
                  </a:lnTo>
                  <a:lnTo>
                    <a:pt x="152" y="1874"/>
                  </a:lnTo>
                  <a:lnTo>
                    <a:pt x="165" y="1874"/>
                  </a:lnTo>
                  <a:lnTo>
                    <a:pt x="176" y="1873"/>
                  </a:lnTo>
                  <a:lnTo>
                    <a:pt x="187" y="1871"/>
                  </a:lnTo>
                  <a:lnTo>
                    <a:pt x="197" y="1868"/>
                  </a:lnTo>
                  <a:lnTo>
                    <a:pt x="207" y="1864"/>
                  </a:lnTo>
                  <a:lnTo>
                    <a:pt x="216" y="1860"/>
                  </a:lnTo>
                  <a:lnTo>
                    <a:pt x="223" y="1854"/>
                  </a:lnTo>
                  <a:lnTo>
                    <a:pt x="230" y="1849"/>
                  </a:lnTo>
                  <a:lnTo>
                    <a:pt x="237" y="1842"/>
                  </a:lnTo>
                  <a:lnTo>
                    <a:pt x="242" y="1834"/>
                  </a:lnTo>
                  <a:lnTo>
                    <a:pt x="248" y="1827"/>
                  </a:lnTo>
                  <a:lnTo>
                    <a:pt x="251" y="1818"/>
                  </a:lnTo>
                  <a:lnTo>
                    <a:pt x="255" y="1809"/>
                  </a:lnTo>
                  <a:lnTo>
                    <a:pt x="257" y="1799"/>
                  </a:lnTo>
                  <a:lnTo>
                    <a:pt x="258" y="1788"/>
                  </a:lnTo>
                  <a:lnTo>
                    <a:pt x="259" y="1777"/>
                  </a:lnTo>
                  <a:lnTo>
                    <a:pt x="259" y="1777"/>
                  </a:lnTo>
                  <a:close/>
                  <a:moveTo>
                    <a:pt x="152" y="1823"/>
                  </a:moveTo>
                  <a:lnTo>
                    <a:pt x="79" y="1823"/>
                  </a:lnTo>
                  <a:lnTo>
                    <a:pt x="79" y="1735"/>
                  </a:lnTo>
                  <a:lnTo>
                    <a:pt x="152" y="1735"/>
                  </a:lnTo>
                  <a:lnTo>
                    <a:pt x="152" y="1735"/>
                  </a:lnTo>
                  <a:lnTo>
                    <a:pt x="163" y="1737"/>
                  </a:lnTo>
                  <a:lnTo>
                    <a:pt x="172" y="1738"/>
                  </a:lnTo>
                  <a:lnTo>
                    <a:pt x="180" y="1741"/>
                  </a:lnTo>
                  <a:lnTo>
                    <a:pt x="187" y="1747"/>
                  </a:lnTo>
                  <a:lnTo>
                    <a:pt x="192" y="1752"/>
                  </a:lnTo>
                  <a:lnTo>
                    <a:pt x="196" y="1760"/>
                  </a:lnTo>
                  <a:lnTo>
                    <a:pt x="198" y="1769"/>
                  </a:lnTo>
                  <a:lnTo>
                    <a:pt x="199" y="1779"/>
                  </a:lnTo>
                  <a:lnTo>
                    <a:pt x="199" y="1779"/>
                  </a:lnTo>
                  <a:lnTo>
                    <a:pt x="198" y="1789"/>
                  </a:lnTo>
                  <a:lnTo>
                    <a:pt x="196" y="1798"/>
                  </a:lnTo>
                  <a:lnTo>
                    <a:pt x="191" y="1805"/>
                  </a:lnTo>
                  <a:lnTo>
                    <a:pt x="187" y="1811"/>
                  </a:lnTo>
                  <a:lnTo>
                    <a:pt x="180" y="1817"/>
                  </a:lnTo>
                  <a:lnTo>
                    <a:pt x="172" y="1820"/>
                  </a:lnTo>
                  <a:lnTo>
                    <a:pt x="162" y="1822"/>
                  </a:lnTo>
                  <a:lnTo>
                    <a:pt x="152" y="1823"/>
                  </a:lnTo>
                  <a:lnTo>
                    <a:pt x="152" y="1823"/>
                  </a:lnTo>
                  <a:close/>
                  <a:moveTo>
                    <a:pt x="151" y="1685"/>
                  </a:moveTo>
                  <a:lnTo>
                    <a:pt x="79" y="1685"/>
                  </a:lnTo>
                  <a:lnTo>
                    <a:pt x="79" y="1620"/>
                  </a:lnTo>
                  <a:lnTo>
                    <a:pt x="149" y="1620"/>
                  </a:lnTo>
                  <a:lnTo>
                    <a:pt x="149" y="1620"/>
                  </a:lnTo>
                  <a:lnTo>
                    <a:pt x="158" y="1621"/>
                  </a:lnTo>
                  <a:lnTo>
                    <a:pt x="167" y="1622"/>
                  </a:lnTo>
                  <a:lnTo>
                    <a:pt x="173" y="1624"/>
                  </a:lnTo>
                  <a:lnTo>
                    <a:pt x="179" y="1628"/>
                  </a:lnTo>
                  <a:lnTo>
                    <a:pt x="183" y="1633"/>
                  </a:lnTo>
                  <a:lnTo>
                    <a:pt x="187" y="1639"/>
                  </a:lnTo>
                  <a:lnTo>
                    <a:pt x="188" y="1645"/>
                  </a:lnTo>
                  <a:lnTo>
                    <a:pt x="189" y="1653"/>
                  </a:lnTo>
                  <a:lnTo>
                    <a:pt x="189" y="1653"/>
                  </a:lnTo>
                  <a:lnTo>
                    <a:pt x="189" y="1659"/>
                  </a:lnTo>
                  <a:lnTo>
                    <a:pt x="188" y="1664"/>
                  </a:lnTo>
                  <a:lnTo>
                    <a:pt x="186" y="1670"/>
                  </a:lnTo>
                  <a:lnTo>
                    <a:pt x="182" y="1674"/>
                  </a:lnTo>
                  <a:lnTo>
                    <a:pt x="177" y="1679"/>
                  </a:lnTo>
                  <a:lnTo>
                    <a:pt x="170" y="1682"/>
                  </a:lnTo>
                  <a:lnTo>
                    <a:pt x="162" y="1684"/>
                  </a:lnTo>
                  <a:lnTo>
                    <a:pt x="151" y="1685"/>
                  </a:lnTo>
                  <a:lnTo>
                    <a:pt x="151" y="1685"/>
                  </a:lnTo>
                  <a:close/>
                  <a:moveTo>
                    <a:pt x="298" y="1778"/>
                  </a:moveTo>
                  <a:lnTo>
                    <a:pt x="298" y="1651"/>
                  </a:lnTo>
                  <a:lnTo>
                    <a:pt x="353" y="1651"/>
                  </a:lnTo>
                  <a:lnTo>
                    <a:pt x="353" y="1774"/>
                  </a:lnTo>
                  <a:lnTo>
                    <a:pt x="353" y="1774"/>
                  </a:lnTo>
                  <a:lnTo>
                    <a:pt x="353" y="1787"/>
                  </a:lnTo>
                  <a:lnTo>
                    <a:pt x="356" y="1799"/>
                  </a:lnTo>
                  <a:lnTo>
                    <a:pt x="359" y="1808"/>
                  </a:lnTo>
                  <a:lnTo>
                    <a:pt x="363" y="1815"/>
                  </a:lnTo>
                  <a:lnTo>
                    <a:pt x="369" y="1821"/>
                  </a:lnTo>
                  <a:lnTo>
                    <a:pt x="376" y="1825"/>
                  </a:lnTo>
                  <a:lnTo>
                    <a:pt x="385" y="1828"/>
                  </a:lnTo>
                  <a:lnTo>
                    <a:pt x="395" y="1829"/>
                  </a:lnTo>
                  <a:lnTo>
                    <a:pt x="395" y="1829"/>
                  </a:lnTo>
                  <a:lnTo>
                    <a:pt x="405" y="1828"/>
                  </a:lnTo>
                  <a:lnTo>
                    <a:pt x="412" y="1825"/>
                  </a:lnTo>
                  <a:lnTo>
                    <a:pt x="420" y="1821"/>
                  </a:lnTo>
                  <a:lnTo>
                    <a:pt x="426" y="1815"/>
                  </a:lnTo>
                  <a:lnTo>
                    <a:pt x="430" y="1808"/>
                  </a:lnTo>
                  <a:lnTo>
                    <a:pt x="433" y="1798"/>
                  </a:lnTo>
                  <a:lnTo>
                    <a:pt x="436" y="1787"/>
                  </a:lnTo>
                  <a:lnTo>
                    <a:pt x="436" y="1774"/>
                  </a:lnTo>
                  <a:lnTo>
                    <a:pt x="436" y="1651"/>
                  </a:lnTo>
                  <a:lnTo>
                    <a:pt x="491" y="1651"/>
                  </a:lnTo>
                  <a:lnTo>
                    <a:pt x="491" y="1874"/>
                  </a:lnTo>
                  <a:lnTo>
                    <a:pt x="436" y="1874"/>
                  </a:lnTo>
                  <a:lnTo>
                    <a:pt x="436" y="1857"/>
                  </a:lnTo>
                  <a:lnTo>
                    <a:pt x="436" y="1857"/>
                  </a:lnTo>
                  <a:lnTo>
                    <a:pt x="431" y="1862"/>
                  </a:lnTo>
                  <a:lnTo>
                    <a:pt x="425" y="1867"/>
                  </a:lnTo>
                  <a:lnTo>
                    <a:pt x="419" y="1871"/>
                  </a:lnTo>
                  <a:lnTo>
                    <a:pt x="412" y="1873"/>
                  </a:lnTo>
                  <a:lnTo>
                    <a:pt x="406" y="1877"/>
                  </a:lnTo>
                  <a:lnTo>
                    <a:pt x="398" y="1878"/>
                  </a:lnTo>
                  <a:lnTo>
                    <a:pt x="390" y="1879"/>
                  </a:lnTo>
                  <a:lnTo>
                    <a:pt x="382" y="1880"/>
                  </a:lnTo>
                  <a:lnTo>
                    <a:pt x="382" y="1880"/>
                  </a:lnTo>
                  <a:lnTo>
                    <a:pt x="369" y="1879"/>
                  </a:lnTo>
                  <a:lnTo>
                    <a:pt x="358" y="1877"/>
                  </a:lnTo>
                  <a:lnTo>
                    <a:pt x="348" y="1873"/>
                  </a:lnTo>
                  <a:lnTo>
                    <a:pt x="338" y="1869"/>
                  </a:lnTo>
                  <a:lnTo>
                    <a:pt x="330" y="1863"/>
                  </a:lnTo>
                  <a:lnTo>
                    <a:pt x="323" y="1858"/>
                  </a:lnTo>
                  <a:lnTo>
                    <a:pt x="318" y="1850"/>
                  </a:lnTo>
                  <a:lnTo>
                    <a:pt x="312" y="1842"/>
                  </a:lnTo>
                  <a:lnTo>
                    <a:pt x="309" y="1834"/>
                  </a:lnTo>
                  <a:lnTo>
                    <a:pt x="306" y="1827"/>
                  </a:lnTo>
                  <a:lnTo>
                    <a:pt x="301" y="1809"/>
                  </a:lnTo>
                  <a:lnTo>
                    <a:pt x="299" y="1792"/>
                  </a:lnTo>
                  <a:lnTo>
                    <a:pt x="298" y="1778"/>
                  </a:lnTo>
                  <a:lnTo>
                    <a:pt x="298" y="1778"/>
                  </a:lnTo>
                  <a:close/>
                  <a:moveTo>
                    <a:pt x="1143" y="1874"/>
                  </a:moveTo>
                  <a:lnTo>
                    <a:pt x="1087" y="1874"/>
                  </a:lnTo>
                  <a:lnTo>
                    <a:pt x="1087" y="1651"/>
                  </a:lnTo>
                  <a:lnTo>
                    <a:pt x="1143" y="1651"/>
                  </a:lnTo>
                  <a:lnTo>
                    <a:pt x="1143" y="1670"/>
                  </a:lnTo>
                  <a:lnTo>
                    <a:pt x="1143" y="1670"/>
                  </a:lnTo>
                  <a:lnTo>
                    <a:pt x="1148" y="1664"/>
                  </a:lnTo>
                  <a:lnTo>
                    <a:pt x="1154" y="1659"/>
                  </a:lnTo>
                  <a:lnTo>
                    <a:pt x="1160" y="1655"/>
                  </a:lnTo>
                  <a:lnTo>
                    <a:pt x="1167" y="1652"/>
                  </a:lnTo>
                  <a:lnTo>
                    <a:pt x="1175" y="1649"/>
                  </a:lnTo>
                  <a:lnTo>
                    <a:pt x="1182" y="1648"/>
                  </a:lnTo>
                  <a:lnTo>
                    <a:pt x="1190" y="1646"/>
                  </a:lnTo>
                  <a:lnTo>
                    <a:pt x="1198" y="1645"/>
                  </a:lnTo>
                  <a:lnTo>
                    <a:pt x="1198" y="1645"/>
                  </a:lnTo>
                  <a:lnTo>
                    <a:pt x="1208" y="1646"/>
                  </a:lnTo>
                  <a:lnTo>
                    <a:pt x="1217" y="1648"/>
                  </a:lnTo>
                  <a:lnTo>
                    <a:pt x="1226" y="1650"/>
                  </a:lnTo>
                  <a:lnTo>
                    <a:pt x="1234" y="1652"/>
                  </a:lnTo>
                  <a:lnTo>
                    <a:pt x="1242" y="1655"/>
                  </a:lnTo>
                  <a:lnTo>
                    <a:pt x="1248" y="1661"/>
                  </a:lnTo>
                  <a:lnTo>
                    <a:pt x="1254" y="1665"/>
                  </a:lnTo>
                  <a:lnTo>
                    <a:pt x="1259" y="1672"/>
                  </a:lnTo>
                  <a:lnTo>
                    <a:pt x="1265" y="1679"/>
                  </a:lnTo>
                  <a:lnTo>
                    <a:pt x="1268" y="1686"/>
                  </a:lnTo>
                  <a:lnTo>
                    <a:pt x="1273" y="1694"/>
                  </a:lnTo>
                  <a:lnTo>
                    <a:pt x="1275" y="1703"/>
                  </a:lnTo>
                  <a:lnTo>
                    <a:pt x="1277" y="1713"/>
                  </a:lnTo>
                  <a:lnTo>
                    <a:pt x="1279" y="1724"/>
                  </a:lnTo>
                  <a:lnTo>
                    <a:pt x="1280" y="1735"/>
                  </a:lnTo>
                  <a:lnTo>
                    <a:pt x="1280" y="1748"/>
                  </a:lnTo>
                  <a:lnTo>
                    <a:pt x="1280" y="1874"/>
                  </a:lnTo>
                  <a:lnTo>
                    <a:pt x="1225" y="1874"/>
                  </a:lnTo>
                  <a:lnTo>
                    <a:pt x="1225" y="1751"/>
                  </a:lnTo>
                  <a:lnTo>
                    <a:pt x="1225" y="1751"/>
                  </a:lnTo>
                  <a:lnTo>
                    <a:pt x="1225" y="1738"/>
                  </a:lnTo>
                  <a:lnTo>
                    <a:pt x="1223" y="1727"/>
                  </a:lnTo>
                  <a:lnTo>
                    <a:pt x="1219" y="1718"/>
                  </a:lnTo>
                  <a:lnTo>
                    <a:pt x="1215" y="1710"/>
                  </a:lnTo>
                  <a:lnTo>
                    <a:pt x="1209" y="1704"/>
                  </a:lnTo>
                  <a:lnTo>
                    <a:pt x="1203" y="1700"/>
                  </a:lnTo>
                  <a:lnTo>
                    <a:pt x="1195" y="1698"/>
                  </a:lnTo>
                  <a:lnTo>
                    <a:pt x="1185" y="1696"/>
                  </a:lnTo>
                  <a:lnTo>
                    <a:pt x="1185" y="1696"/>
                  </a:lnTo>
                  <a:lnTo>
                    <a:pt x="1175" y="1698"/>
                  </a:lnTo>
                  <a:lnTo>
                    <a:pt x="1166" y="1700"/>
                  </a:lnTo>
                  <a:lnTo>
                    <a:pt x="1159" y="1704"/>
                  </a:lnTo>
                  <a:lnTo>
                    <a:pt x="1154" y="1710"/>
                  </a:lnTo>
                  <a:lnTo>
                    <a:pt x="1148" y="1718"/>
                  </a:lnTo>
                  <a:lnTo>
                    <a:pt x="1145" y="1728"/>
                  </a:lnTo>
                  <a:lnTo>
                    <a:pt x="1143" y="1739"/>
                  </a:lnTo>
                  <a:lnTo>
                    <a:pt x="1143" y="1751"/>
                  </a:lnTo>
                  <a:lnTo>
                    <a:pt x="1143" y="1874"/>
                  </a:lnTo>
                  <a:close/>
                  <a:moveTo>
                    <a:pt x="597" y="1762"/>
                  </a:moveTo>
                  <a:lnTo>
                    <a:pt x="597" y="1874"/>
                  </a:lnTo>
                  <a:lnTo>
                    <a:pt x="541" y="1874"/>
                  </a:lnTo>
                  <a:lnTo>
                    <a:pt x="541" y="1651"/>
                  </a:lnTo>
                  <a:lnTo>
                    <a:pt x="597" y="1651"/>
                  </a:lnTo>
                  <a:lnTo>
                    <a:pt x="597" y="1762"/>
                  </a:lnTo>
                  <a:close/>
                  <a:moveTo>
                    <a:pt x="646" y="1585"/>
                  </a:moveTo>
                  <a:lnTo>
                    <a:pt x="701" y="1558"/>
                  </a:lnTo>
                  <a:lnTo>
                    <a:pt x="701" y="1760"/>
                  </a:lnTo>
                  <a:lnTo>
                    <a:pt x="701" y="1874"/>
                  </a:lnTo>
                  <a:lnTo>
                    <a:pt x="646" y="1874"/>
                  </a:lnTo>
                  <a:lnTo>
                    <a:pt x="646" y="1585"/>
                  </a:lnTo>
                  <a:close/>
                  <a:moveTo>
                    <a:pt x="877" y="1666"/>
                  </a:moveTo>
                  <a:lnTo>
                    <a:pt x="877" y="1666"/>
                  </a:lnTo>
                  <a:lnTo>
                    <a:pt x="873" y="1661"/>
                  </a:lnTo>
                  <a:lnTo>
                    <a:pt x="867" y="1658"/>
                  </a:lnTo>
                  <a:lnTo>
                    <a:pt x="860" y="1653"/>
                  </a:lnTo>
                  <a:lnTo>
                    <a:pt x="855" y="1651"/>
                  </a:lnTo>
                  <a:lnTo>
                    <a:pt x="848" y="1649"/>
                  </a:lnTo>
                  <a:lnTo>
                    <a:pt x="841" y="1646"/>
                  </a:lnTo>
                  <a:lnTo>
                    <a:pt x="828" y="1645"/>
                  </a:lnTo>
                  <a:lnTo>
                    <a:pt x="828" y="1645"/>
                  </a:lnTo>
                  <a:lnTo>
                    <a:pt x="818" y="1646"/>
                  </a:lnTo>
                  <a:lnTo>
                    <a:pt x="808" y="1648"/>
                  </a:lnTo>
                  <a:lnTo>
                    <a:pt x="799" y="1650"/>
                  </a:lnTo>
                  <a:lnTo>
                    <a:pt x="791" y="1653"/>
                  </a:lnTo>
                  <a:lnTo>
                    <a:pt x="784" y="1658"/>
                  </a:lnTo>
                  <a:lnTo>
                    <a:pt x="776" y="1663"/>
                  </a:lnTo>
                  <a:lnTo>
                    <a:pt x="769" y="1670"/>
                  </a:lnTo>
                  <a:lnTo>
                    <a:pt x="764" y="1676"/>
                  </a:lnTo>
                  <a:lnTo>
                    <a:pt x="758" y="1684"/>
                  </a:lnTo>
                  <a:lnTo>
                    <a:pt x="754" y="1693"/>
                  </a:lnTo>
                  <a:lnTo>
                    <a:pt x="749" y="1702"/>
                  </a:lnTo>
                  <a:lnTo>
                    <a:pt x="746" y="1712"/>
                  </a:lnTo>
                  <a:lnTo>
                    <a:pt x="744" y="1723"/>
                  </a:lnTo>
                  <a:lnTo>
                    <a:pt x="741" y="1735"/>
                  </a:lnTo>
                  <a:lnTo>
                    <a:pt x="740" y="1748"/>
                  </a:lnTo>
                  <a:lnTo>
                    <a:pt x="740" y="1760"/>
                  </a:lnTo>
                  <a:lnTo>
                    <a:pt x="740" y="1760"/>
                  </a:lnTo>
                  <a:lnTo>
                    <a:pt x="740" y="1774"/>
                  </a:lnTo>
                  <a:lnTo>
                    <a:pt x="741" y="1787"/>
                  </a:lnTo>
                  <a:lnTo>
                    <a:pt x="744" y="1799"/>
                  </a:lnTo>
                  <a:lnTo>
                    <a:pt x="746" y="1810"/>
                  </a:lnTo>
                  <a:lnTo>
                    <a:pt x="749" y="1821"/>
                  </a:lnTo>
                  <a:lnTo>
                    <a:pt x="752" y="1831"/>
                  </a:lnTo>
                  <a:lnTo>
                    <a:pt x="757" y="1840"/>
                  </a:lnTo>
                  <a:lnTo>
                    <a:pt x="762" y="1848"/>
                  </a:lnTo>
                  <a:lnTo>
                    <a:pt x="769" y="1856"/>
                  </a:lnTo>
                  <a:lnTo>
                    <a:pt x="775" y="1861"/>
                  </a:lnTo>
                  <a:lnTo>
                    <a:pt x="783" y="1867"/>
                  </a:lnTo>
                  <a:lnTo>
                    <a:pt x="790" y="1871"/>
                  </a:lnTo>
                  <a:lnTo>
                    <a:pt x="798" y="1874"/>
                  </a:lnTo>
                  <a:lnTo>
                    <a:pt x="807" y="1878"/>
                  </a:lnTo>
                  <a:lnTo>
                    <a:pt x="817" y="1879"/>
                  </a:lnTo>
                  <a:lnTo>
                    <a:pt x="827" y="1880"/>
                  </a:lnTo>
                  <a:lnTo>
                    <a:pt x="827" y="1880"/>
                  </a:lnTo>
                  <a:lnTo>
                    <a:pt x="834" y="1879"/>
                  </a:lnTo>
                  <a:lnTo>
                    <a:pt x="840" y="1878"/>
                  </a:lnTo>
                  <a:lnTo>
                    <a:pt x="847" y="1877"/>
                  </a:lnTo>
                  <a:lnTo>
                    <a:pt x="854" y="1874"/>
                  </a:lnTo>
                  <a:lnTo>
                    <a:pt x="859" y="1871"/>
                  </a:lnTo>
                  <a:lnTo>
                    <a:pt x="866" y="1868"/>
                  </a:lnTo>
                  <a:lnTo>
                    <a:pt x="871" y="1863"/>
                  </a:lnTo>
                  <a:lnTo>
                    <a:pt x="877" y="1858"/>
                  </a:lnTo>
                  <a:lnTo>
                    <a:pt x="877" y="1874"/>
                  </a:lnTo>
                  <a:lnTo>
                    <a:pt x="933" y="1874"/>
                  </a:lnTo>
                  <a:lnTo>
                    <a:pt x="933" y="1558"/>
                  </a:lnTo>
                  <a:lnTo>
                    <a:pt x="877" y="1585"/>
                  </a:lnTo>
                  <a:lnTo>
                    <a:pt x="877" y="1666"/>
                  </a:lnTo>
                  <a:close/>
                  <a:moveTo>
                    <a:pt x="838" y="1829"/>
                  </a:moveTo>
                  <a:lnTo>
                    <a:pt x="838" y="1829"/>
                  </a:lnTo>
                  <a:lnTo>
                    <a:pt x="831" y="1828"/>
                  </a:lnTo>
                  <a:lnTo>
                    <a:pt x="824" y="1825"/>
                  </a:lnTo>
                  <a:lnTo>
                    <a:pt x="817" y="1822"/>
                  </a:lnTo>
                  <a:lnTo>
                    <a:pt x="810" y="1815"/>
                  </a:lnTo>
                  <a:lnTo>
                    <a:pt x="805" y="1807"/>
                  </a:lnTo>
                  <a:lnTo>
                    <a:pt x="800" y="1794"/>
                  </a:lnTo>
                  <a:lnTo>
                    <a:pt x="797" y="1779"/>
                  </a:lnTo>
                  <a:lnTo>
                    <a:pt x="796" y="1759"/>
                  </a:lnTo>
                  <a:lnTo>
                    <a:pt x="796" y="1759"/>
                  </a:lnTo>
                  <a:lnTo>
                    <a:pt x="797" y="1741"/>
                  </a:lnTo>
                  <a:lnTo>
                    <a:pt x="800" y="1728"/>
                  </a:lnTo>
                  <a:lnTo>
                    <a:pt x="805" y="1717"/>
                  </a:lnTo>
                  <a:lnTo>
                    <a:pt x="810" y="1709"/>
                  </a:lnTo>
                  <a:lnTo>
                    <a:pt x="816" y="1702"/>
                  </a:lnTo>
                  <a:lnTo>
                    <a:pt x="824" y="1699"/>
                  </a:lnTo>
                  <a:lnTo>
                    <a:pt x="830" y="1696"/>
                  </a:lnTo>
                  <a:lnTo>
                    <a:pt x="838" y="1696"/>
                  </a:lnTo>
                  <a:lnTo>
                    <a:pt x="838" y="1696"/>
                  </a:lnTo>
                  <a:lnTo>
                    <a:pt x="845" y="1696"/>
                  </a:lnTo>
                  <a:lnTo>
                    <a:pt x="851" y="1699"/>
                  </a:lnTo>
                  <a:lnTo>
                    <a:pt x="858" y="1701"/>
                  </a:lnTo>
                  <a:lnTo>
                    <a:pt x="863" y="1704"/>
                  </a:lnTo>
                  <a:lnTo>
                    <a:pt x="867" y="1708"/>
                  </a:lnTo>
                  <a:lnTo>
                    <a:pt x="871" y="1711"/>
                  </a:lnTo>
                  <a:lnTo>
                    <a:pt x="877" y="1719"/>
                  </a:lnTo>
                  <a:lnTo>
                    <a:pt x="877" y="1807"/>
                  </a:lnTo>
                  <a:lnTo>
                    <a:pt x="877" y="1807"/>
                  </a:lnTo>
                  <a:lnTo>
                    <a:pt x="870" y="1814"/>
                  </a:lnTo>
                  <a:lnTo>
                    <a:pt x="863" y="1821"/>
                  </a:lnTo>
                  <a:lnTo>
                    <a:pt x="858" y="1824"/>
                  </a:lnTo>
                  <a:lnTo>
                    <a:pt x="851" y="1827"/>
                  </a:lnTo>
                  <a:lnTo>
                    <a:pt x="846" y="1828"/>
                  </a:lnTo>
                  <a:lnTo>
                    <a:pt x="838" y="1829"/>
                  </a:lnTo>
                  <a:lnTo>
                    <a:pt x="838" y="1829"/>
                  </a:lnTo>
                  <a:close/>
                  <a:moveTo>
                    <a:pt x="2084" y="1645"/>
                  </a:moveTo>
                  <a:lnTo>
                    <a:pt x="2084" y="1645"/>
                  </a:lnTo>
                  <a:lnTo>
                    <a:pt x="2079" y="1646"/>
                  </a:lnTo>
                  <a:lnTo>
                    <a:pt x="2072" y="1648"/>
                  </a:lnTo>
                  <a:lnTo>
                    <a:pt x="2059" y="1651"/>
                  </a:lnTo>
                  <a:lnTo>
                    <a:pt x="2046" y="1658"/>
                  </a:lnTo>
                  <a:lnTo>
                    <a:pt x="2035" y="1666"/>
                  </a:lnTo>
                  <a:lnTo>
                    <a:pt x="2035" y="1563"/>
                  </a:lnTo>
                  <a:lnTo>
                    <a:pt x="1980" y="1591"/>
                  </a:lnTo>
                  <a:lnTo>
                    <a:pt x="1980" y="1874"/>
                  </a:lnTo>
                  <a:lnTo>
                    <a:pt x="2035" y="1874"/>
                  </a:lnTo>
                  <a:lnTo>
                    <a:pt x="2035" y="1858"/>
                  </a:lnTo>
                  <a:lnTo>
                    <a:pt x="2035" y="1858"/>
                  </a:lnTo>
                  <a:lnTo>
                    <a:pt x="2040" y="1863"/>
                  </a:lnTo>
                  <a:lnTo>
                    <a:pt x="2046" y="1868"/>
                  </a:lnTo>
                  <a:lnTo>
                    <a:pt x="2052" y="1871"/>
                  </a:lnTo>
                  <a:lnTo>
                    <a:pt x="2059" y="1874"/>
                  </a:lnTo>
                  <a:lnTo>
                    <a:pt x="2064" y="1877"/>
                  </a:lnTo>
                  <a:lnTo>
                    <a:pt x="2072" y="1878"/>
                  </a:lnTo>
                  <a:lnTo>
                    <a:pt x="2079" y="1879"/>
                  </a:lnTo>
                  <a:lnTo>
                    <a:pt x="2085" y="1880"/>
                  </a:lnTo>
                  <a:lnTo>
                    <a:pt x="2085" y="1880"/>
                  </a:lnTo>
                  <a:lnTo>
                    <a:pt x="2095" y="1879"/>
                  </a:lnTo>
                  <a:lnTo>
                    <a:pt x="2105" y="1878"/>
                  </a:lnTo>
                  <a:lnTo>
                    <a:pt x="2114" y="1876"/>
                  </a:lnTo>
                  <a:lnTo>
                    <a:pt x="2123" y="1871"/>
                  </a:lnTo>
                  <a:lnTo>
                    <a:pt x="2131" y="1867"/>
                  </a:lnTo>
                  <a:lnTo>
                    <a:pt x="2137" y="1862"/>
                  </a:lnTo>
                  <a:lnTo>
                    <a:pt x="2144" y="1856"/>
                  </a:lnTo>
                  <a:lnTo>
                    <a:pt x="2150" y="1849"/>
                  </a:lnTo>
                  <a:lnTo>
                    <a:pt x="2155" y="1840"/>
                  </a:lnTo>
                  <a:lnTo>
                    <a:pt x="2160" y="1831"/>
                  </a:lnTo>
                  <a:lnTo>
                    <a:pt x="2163" y="1821"/>
                  </a:lnTo>
                  <a:lnTo>
                    <a:pt x="2166" y="1811"/>
                  </a:lnTo>
                  <a:lnTo>
                    <a:pt x="2170" y="1800"/>
                  </a:lnTo>
                  <a:lnTo>
                    <a:pt x="2171" y="1788"/>
                  </a:lnTo>
                  <a:lnTo>
                    <a:pt x="2172" y="1774"/>
                  </a:lnTo>
                  <a:lnTo>
                    <a:pt x="2173" y="1760"/>
                  </a:lnTo>
                  <a:lnTo>
                    <a:pt x="2173" y="1760"/>
                  </a:lnTo>
                  <a:lnTo>
                    <a:pt x="2172" y="1748"/>
                  </a:lnTo>
                  <a:lnTo>
                    <a:pt x="2171" y="1735"/>
                  </a:lnTo>
                  <a:lnTo>
                    <a:pt x="2169" y="1723"/>
                  </a:lnTo>
                  <a:lnTo>
                    <a:pt x="2166" y="1712"/>
                  </a:lnTo>
                  <a:lnTo>
                    <a:pt x="2163" y="1702"/>
                  </a:lnTo>
                  <a:lnTo>
                    <a:pt x="2159" y="1693"/>
                  </a:lnTo>
                  <a:lnTo>
                    <a:pt x="2154" y="1684"/>
                  </a:lnTo>
                  <a:lnTo>
                    <a:pt x="2149" y="1676"/>
                  </a:lnTo>
                  <a:lnTo>
                    <a:pt x="2143" y="1670"/>
                  </a:lnTo>
                  <a:lnTo>
                    <a:pt x="2136" y="1663"/>
                  </a:lnTo>
                  <a:lnTo>
                    <a:pt x="2129" y="1658"/>
                  </a:lnTo>
                  <a:lnTo>
                    <a:pt x="2121" y="1653"/>
                  </a:lnTo>
                  <a:lnTo>
                    <a:pt x="2113" y="1650"/>
                  </a:lnTo>
                  <a:lnTo>
                    <a:pt x="2104" y="1648"/>
                  </a:lnTo>
                  <a:lnTo>
                    <a:pt x="2094" y="1646"/>
                  </a:lnTo>
                  <a:lnTo>
                    <a:pt x="2084" y="1645"/>
                  </a:lnTo>
                  <a:lnTo>
                    <a:pt x="2084" y="1645"/>
                  </a:lnTo>
                  <a:close/>
                  <a:moveTo>
                    <a:pt x="2074" y="1696"/>
                  </a:moveTo>
                  <a:lnTo>
                    <a:pt x="2074" y="1696"/>
                  </a:lnTo>
                  <a:lnTo>
                    <a:pt x="2082" y="1698"/>
                  </a:lnTo>
                  <a:lnTo>
                    <a:pt x="2090" y="1700"/>
                  </a:lnTo>
                  <a:lnTo>
                    <a:pt x="2096" y="1704"/>
                  </a:lnTo>
                  <a:lnTo>
                    <a:pt x="2103" y="1711"/>
                  </a:lnTo>
                  <a:lnTo>
                    <a:pt x="2109" y="1719"/>
                  </a:lnTo>
                  <a:lnTo>
                    <a:pt x="2112" y="1730"/>
                  </a:lnTo>
                  <a:lnTo>
                    <a:pt x="2115" y="1743"/>
                  </a:lnTo>
                  <a:lnTo>
                    <a:pt x="2116" y="1759"/>
                  </a:lnTo>
                  <a:lnTo>
                    <a:pt x="2116" y="1759"/>
                  </a:lnTo>
                  <a:lnTo>
                    <a:pt x="2115" y="1775"/>
                  </a:lnTo>
                  <a:lnTo>
                    <a:pt x="2113" y="1790"/>
                  </a:lnTo>
                  <a:lnTo>
                    <a:pt x="2111" y="1801"/>
                  </a:lnTo>
                  <a:lnTo>
                    <a:pt x="2106" y="1811"/>
                  </a:lnTo>
                  <a:lnTo>
                    <a:pt x="2100" y="1819"/>
                  </a:lnTo>
                  <a:lnTo>
                    <a:pt x="2093" y="1824"/>
                  </a:lnTo>
                  <a:lnTo>
                    <a:pt x="2085" y="1828"/>
                  </a:lnTo>
                  <a:lnTo>
                    <a:pt x="2075" y="1829"/>
                  </a:lnTo>
                  <a:lnTo>
                    <a:pt x="2075" y="1829"/>
                  </a:lnTo>
                  <a:lnTo>
                    <a:pt x="2067" y="1828"/>
                  </a:lnTo>
                  <a:lnTo>
                    <a:pt x="2061" y="1827"/>
                  </a:lnTo>
                  <a:lnTo>
                    <a:pt x="2055" y="1823"/>
                  </a:lnTo>
                  <a:lnTo>
                    <a:pt x="2050" y="1821"/>
                  </a:lnTo>
                  <a:lnTo>
                    <a:pt x="2041" y="1813"/>
                  </a:lnTo>
                  <a:lnTo>
                    <a:pt x="2035" y="1808"/>
                  </a:lnTo>
                  <a:lnTo>
                    <a:pt x="2035" y="1719"/>
                  </a:lnTo>
                  <a:lnTo>
                    <a:pt x="2035" y="1719"/>
                  </a:lnTo>
                  <a:lnTo>
                    <a:pt x="2039" y="1714"/>
                  </a:lnTo>
                  <a:lnTo>
                    <a:pt x="2043" y="1710"/>
                  </a:lnTo>
                  <a:lnTo>
                    <a:pt x="2047" y="1705"/>
                  </a:lnTo>
                  <a:lnTo>
                    <a:pt x="2052" y="1702"/>
                  </a:lnTo>
                  <a:lnTo>
                    <a:pt x="2057" y="1700"/>
                  </a:lnTo>
                  <a:lnTo>
                    <a:pt x="2063" y="1698"/>
                  </a:lnTo>
                  <a:lnTo>
                    <a:pt x="2069" y="1696"/>
                  </a:lnTo>
                  <a:lnTo>
                    <a:pt x="2074" y="1696"/>
                  </a:lnTo>
                  <a:lnTo>
                    <a:pt x="2074" y="1696"/>
                  </a:lnTo>
                  <a:close/>
                  <a:moveTo>
                    <a:pt x="1455" y="1666"/>
                  </a:moveTo>
                  <a:lnTo>
                    <a:pt x="1455" y="1666"/>
                  </a:lnTo>
                  <a:lnTo>
                    <a:pt x="1451" y="1662"/>
                  </a:lnTo>
                  <a:lnTo>
                    <a:pt x="1445" y="1658"/>
                  </a:lnTo>
                  <a:lnTo>
                    <a:pt x="1438" y="1654"/>
                  </a:lnTo>
                  <a:lnTo>
                    <a:pt x="1433" y="1651"/>
                  </a:lnTo>
                  <a:lnTo>
                    <a:pt x="1426" y="1649"/>
                  </a:lnTo>
                  <a:lnTo>
                    <a:pt x="1419" y="1646"/>
                  </a:lnTo>
                  <a:lnTo>
                    <a:pt x="1413" y="1646"/>
                  </a:lnTo>
                  <a:lnTo>
                    <a:pt x="1406" y="1645"/>
                  </a:lnTo>
                  <a:lnTo>
                    <a:pt x="1406" y="1645"/>
                  </a:lnTo>
                  <a:lnTo>
                    <a:pt x="1396" y="1646"/>
                  </a:lnTo>
                  <a:lnTo>
                    <a:pt x="1386" y="1648"/>
                  </a:lnTo>
                  <a:lnTo>
                    <a:pt x="1377" y="1650"/>
                  </a:lnTo>
                  <a:lnTo>
                    <a:pt x="1369" y="1653"/>
                  </a:lnTo>
                  <a:lnTo>
                    <a:pt x="1362" y="1658"/>
                  </a:lnTo>
                  <a:lnTo>
                    <a:pt x="1354" y="1663"/>
                  </a:lnTo>
                  <a:lnTo>
                    <a:pt x="1347" y="1670"/>
                  </a:lnTo>
                  <a:lnTo>
                    <a:pt x="1342" y="1676"/>
                  </a:lnTo>
                  <a:lnTo>
                    <a:pt x="1336" y="1684"/>
                  </a:lnTo>
                  <a:lnTo>
                    <a:pt x="1332" y="1693"/>
                  </a:lnTo>
                  <a:lnTo>
                    <a:pt x="1327" y="1702"/>
                  </a:lnTo>
                  <a:lnTo>
                    <a:pt x="1324" y="1712"/>
                  </a:lnTo>
                  <a:lnTo>
                    <a:pt x="1322" y="1723"/>
                  </a:lnTo>
                  <a:lnTo>
                    <a:pt x="1319" y="1735"/>
                  </a:lnTo>
                  <a:lnTo>
                    <a:pt x="1318" y="1748"/>
                  </a:lnTo>
                  <a:lnTo>
                    <a:pt x="1318" y="1760"/>
                  </a:lnTo>
                  <a:lnTo>
                    <a:pt x="1318" y="1760"/>
                  </a:lnTo>
                  <a:lnTo>
                    <a:pt x="1318" y="1774"/>
                  </a:lnTo>
                  <a:lnTo>
                    <a:pt x="1319" y="1787"/>
                  </a:lnTo>
                  <a:lnTo>
                    <a:pt x="1322" y="1799"/>
                  </a:lnTo>
                  <a:lnTo>
                    <a:pt x="1324" y="1810"/>
                  </a:lnTo>
                  <a:lnTo>
                    <a:pt x="1327" y="1821"/>
                  </a:lnTo>
                  <a:lnTo>
                    <a:pt x="1330" y="1831"/>
                  </a:lnTo>
                  <a:lnTo>
                    <a:pt x="1336" y="1840"/>
                  </a:lnTo>
                  <a:lnTo>
                    <a:pt x="1340" y="1848"/>
                  </a:lnTo>
                  <a:lnTo>
                    <a:pt x="1347" y="1856"/>
                  </a:lnTo>
                  <a:lnTo>
                    <a:pt x="1353" y="1861"/>
                  </a:lnTo>
                  <a:lnTo>
                    <a:pt x="1360" y="1867"/>
                  </a:lnTo>
                  <a:lnTo>
                    <a:pt x="1368" y="1871"/>
                  </a:lnTo>
                  <a:lnTo>
                    <a:pt x="1376" y="1874"/>
                  </a:lnTo>
                  <a:lnTo>
                    <a:pt x="1385" y="1878"/>
                  </a:lnTo>
                  <a:lnTo>
                    <a:pt x="1395" y="1879"/>
                  </a:lnTo>
                  <a:lnTo>
                    <a:pt x="1405" y="1879"/>
                  </a:lnTo>
                  <a:lnTo>
                    <a:pt x="1405" y="1879"/>
                  </a:lnTo>
                  <a:lnTo>
                    <a:pt x="1412" y="1879"/>
                  </a:lnTo>
                  <a:lnTo>
                    <a:pt x="1418" y="1878"/>
                  </a:lnTo>
                  <a:lnTo>
                    <a:pt x="1425" y="1877"/>
                  </a:lnTo>
                  <a:lnTo>
                    <a:pt x="1432" y="1874"/>
                  </a:lnTo>
                  <a:lnTo>
                    <a:pt x="1438" y="1871"/>
                  </a:lnTo>
                  <a:lnTo>
                    <a:pt x="1444" y="1867"/>
                  </a:lnTo>
                  <a:lnTo>
                    <a:pt x="1449" y="1863"/>
                  </a:lnTo>
                  <a:lnTo>
                    <a:pt x="1455" y="1858"/>
                  </a:lnTo>
                  <a:lnTo>
                    <a:pt x="1455" y="1863"/>
                  </a:lnTo>
                  <a:lnTo>
                    <a:pt x="1455" y="1863"/>
                  </a:lnTo>
                  <a:lnTo>
                    <a:pt x="1455" y="1872"/>
                  </a:lnTo>
                  <a:lnTo>
                    <a:pt x="1454" y="1882"/>
                  </a:lnTo>
                  <a:lnTo>
                    <a:pt x="1452" y="1892"/>
                  </a:lnTo>
                  <a:lnTo>
                    <a:pt x="1449" y="1897"/>
                  </a:lnTo>
                  <a:lnTo>
                    <a:pt x="1446" y="1901"/>
                  </a:lnTo>
                  <a:lnTo>
                    <a:pt x="1443" y="1906"/>
                  </a:lnTo>
                  <a:lnTo>
                    <a:pt x="1438" y="1910"/>
                  </a:lnTo>
                  <a:lnTo>
                    <a:pt x="1432" y="1913"/>
                  </a:lnTo>
                  <a:lnTo>
                    <a:pt x="1425" y="1916"/>
                  </a:lnTo>
                  <a:lnTo>
                    <a:pt x="1417" y="1919"/>
                  </a:lnTo>
                  <a:lnTo>
                    <a:pt x="1407" y="1920"/>
                  </a:lnTo>
                  <a:lnTo>
                    <a:pt x="1396" y="1922"/>
                  </a:lnTo>
                  <a:lnTo>
                    <a:pt x="1384" y="1922"/>
                  </a:lnTo>
                  <a:lnTo>
                    <a:pt x="1382" y="1922"/>
                  </a:lnTo>
                  <a:lnTo>
                    <a:pt x="1401" y="1966"/>
                  </a:lnTo>
                  <a:lnTo>
                    <a:pt x="1402" y="1966"/>
                  </a:lnTo>
                  <a:lnTo>
                    <a:pt x="1402" y="1966"/>
                  </a:lnTo>
                  <a:lnTo>
                    <a:pt x="1415" y="1966"/>
                  </a:lnTo>
                  <a:lnTo>
                    <a:pt x="1427" y="1963"/>
                  </a:lnTo>
                  <a:lnTo>
                    <a:pt x="1439" y="1961"/>
                  </a:lnTo>
                  <a:lnTo>
                    <a:pt x="1449" y="1958"/>
                  </a:lnTo>
                  <a:lnTo>
                    <a:pt x="1459" y="1954"/>
                  </a:lnTo>
                  <a:lnTo>
                    <a:pt x="1468" y="1950"/>
                  </a:lnTo>
                  <a:lnTo>
                    <a:pt x="1476" y="1943"/>
                  </a:lnTo>
                  <a:lnTo>
                    <a:pt x="1484" y="1938"/>
                  </a:lnTo>
                  <a:lnTo>
                    <a:pt x="1491" y="1930"/>
                  </a:lnTo>
                  <a:lnTo>
                    <a:pt x="1495" y="1921"/>
                  </a:lnTo>
                  <a:lnTo>
                    <a:pt x="1501" y="1912"/>
                  </a:lnTo>
                  <a:lnTo>
                    <a:pt x="1504" y="1902"/>
                  </a:lnTo>
                  <a:lnTo>
                    <a:pt x="1507" y="1891"/>
                  </a:lnTo>
                  <a:lnTo>
                    <a:pt x="1509" y="1880"/>
                  </a:lnTo>
                  <a:lnTo>
                    <a:pt x="1511" y="1868"/>
                  </a:lnTo>
                  <a:lnTo>
                    <a:pt x="1511" y="1853"/>
                  </a:lnTo>
                  <a:lnTo>
                    <a:pt x="1511" y="1651"/>
                  </a:lnTo>
                  <a:lnTo>
                    <a:pt x="1455" y="1651"/>
                  </a:lnTo>
                  <a:lnTo>
                    <a:pt x="1455" y="1666"/>
                  </a:lnTo>
                  <a:close/>
                  <a:moveTo>
                    <a:pt x="1455" y="1719"/>
                  </a:moveTo>
                  <a:lnTo>
                    <a:pt x="1455" y="1807"/>
                  </a:lnTo>
                  <a:lnTo>
                    <a:pt x="1455" y="1807"/>
                  </a:lnTo>
                  <a:lnTo>
                    <a:pt x="1448" y="1814"/>
                  </a:lnTo>
                  <a:lnTo>
                    <a:pt x="1439" y="1822"/>
                  </a:lnTo>
                  <a:lnTo>
                    <a:pt x="1435" y="1824"/>
                  </a:lnTo>
                  <a:lnTo>
                    <a:pt x="1429" y="1827"/>
                  </a:lnTo>
                  <a:lnTo>
                    <a:pt x="1423" y="1828"/>
                  </a:lnTo>
                  <a:lnTo>
                    <a:pt x="1416" y="1829"/>
                  </a:lnTo>
                  <a:lnTo>
                    <a:pt x="1416" y="1829"/>
                  </a:lnTo>
                  <a:lnTo>
                    <a:pt x="1408" y="1828"/>
                  </a:lnTo>
                  <a:lnTo>
                    <a:pt x="1402" y="1825"/>
                  </a:lnTo>
                  <a:lnTo>
                    <a:pt x="1394" y="1821"/>
                  </a:lnTo>
                  <a:lnTo>
                    <a:pt x="1388" y="1815"/>
                  </a:lnTo>
                  <a:lnTo>
                    <a:pt x="1383" y="1807"/>
                  </a:lnTo>
                  <a:lnTo>
                    <a:pt x="1378" y="1794"/>
                  </a:lnTo>
                  <a:lnTo>
                    <a:pt x="1375" y="1779"/>
                  </a:lnTo>
                  <a:lnTo>
                    <a:pt x="1374" y="1759"/>
                  </a:lnTo>
                  <a:lnTo>
                    <a:pt x="1374" y="1759"/>
                  </a:lnTo>
                  <a:lnTo>
                    <a:pt x="1375" y="1741"/>
                  </a:lnTo>
                  <a:lnTo>
                    <a:pt x="1378" y="1728"/>
                  </a:lnTo>
                  <a:lnTo>
                    <a:pt x="1383" y="1717"/>
                  </a:lnTo>
                  <a:lnTo>
                    <a:pt x="1388" y="1709"/>
                  </a:lnTo>
                  <a:lnTo>
                    <a:pt x="1394" y="1702"/>
                  </a:lnTo>
                  <a:lnTo>
                    <a:pt x="1402" y="1699"/>
                  </a:lnTo>
                  <a:lnTo>
                    <a:pt x="1408" y="1696"/>
                  </a:lnTo>
                  <a:lnTo>
                    <a:pt x="1416" y="1696"/>
                  </a:lnTo>
                  <a:lnTo>
                    <a:pt x="1416" y="1696"/>
                  </a:lnTo>
                  <a:lnTo>
                    <a:pt x="1423" y="1696"/>
                  </a:lnTo>
                  <a:lnTo>
                    <a:pt x="1429" y="1699"/>
                  </a:lnTo>
                  <a:lnTo>
                    <a:pt x="1436" y="1701"/>
                  </a:lnTo>
                  <a:lnTo>
                    <a:pt x="1441" y="1703"/>
                  </a:lnTo>
                  <a:lnTo>
                    <a:pt x="1445" y="1708"/>
                  </a:lnTo>
                  <a:lnTo>
                    <a:pt x="1449" y="1711"/>
                  </a:lnTo>
                  <a:lnTo>
                    <a:pt x="1455" y="1719"/>
                  </a:lnTo>
                  <a:lnTo>
                    <a:pt x="1455" y="1719"/>
                  </a:lnTo>
                  <a:close/>
                  <a:moveTo>
                    <a:pt x="1683" y="1705"/>
                  </a:moveTo>
                  <a:lnTo>
                    <a:pt x="1683" y="1705"/>
                  </a:lnTo>
                  <a:lnTo>
                    <a:pt x="1696" y="1699"/>
                  </a:lnTo>
                  <a:lnTo>
                    <a:pt x="1709" y="1694"/>
                  </a:lnTo>
                  <a:lnTo>
                    <a:pt x="1724" y="1691"/>
                  </a:lnTo>
                  <a:lnTo>
                    <a:pt x="1740" y="1690"/>
                  </a:lnTo>
                  <a:lnTo>
                    <a:pt x="1740" y="1690"/>
                  </a:lnTo>
                  <a:lnTo>
                    <a:pt x="1750" y="1691"/>
                  </a:lnTo>
                  <a:lnTo>
                    <a:pt x="1757" y="1692"/>
                  </a:lnTo>
                  <a:lnTo>
                    <a:pt x="1764" y="1694"/>
                  </a:lnTo>
                  <a:lnTo>
                    <a:pt x="1770" y="1699"/>
                  </a:lnTo>
                  <a:lnTo>
                    <a:pt x="1774" y="1703"/>
                  </a:lnTo>
                  <a:lnTo>
                    <a:pt x="1777" y="1709"/>
                  </a:lnTo>
                  <a:lnTo>
                    <a:pt x="1780" y="1714"/>
                  </a:lnTo>
                  <a:lnTo>
                    <a:pt x="1780" y="1722"/>
                  </a:lnTo>
                  <a:lnTo>
                    <a:pt x="1780" y="1738"/>
                  </a:lnTo>
                  <a:lnTo>
                    <a:pt x="1780" y="1738"/>
                  </a:lnTo>
                  <a:lnTo>
                    <a:pt x="1770" y="1733"/>
                  </a:lnTo>
                  <a:lnTo>
                    <a:pt x="1757" y="1730"/>
                  </a:lnTo>
                  <a:lnTo>
                    <a:pt x="1745" y="1728"/>
                  </a:lnTo>
                  <a:lnTo>
                    <a:pt x="1732" y="1727"/>
                  </a:lnTo>
                  <a:lnTo>
                    <a:pt x="1732" y="1727"/>
                  </a:lnTo>
                  <a:lnTo>
                    <a:pt x="1716" y="1728"/>
                  </a:lnTo>
                  <a:lnTo>
                    <a:pt x="1701" y="1731"/>
                  </a:lnTo>
                  <a:lnTo>
                    <a:pt x="1686" y="1735"/>
                  </a:lnTo>
                  <a:lnTo>
                    <a:pt x="1678" y="1739"/>
                  </a:lnTo>
                  <a:lnTo>
                    <a:pt x="1672" y="1743"/>
                  </a:lnTo>
                  <a:lnTo>
                    <a:pt x="1666" y="1748"/>
                  </a:lnTo>
                  <a:lnTo>
                    <a:pt x="1661" y="1753"/>
                  </a:lnTo>
                  <a:lnTo>
                    <a:pt x="1655" y="1759"/>
                  </a:lnTo>
                  <a:lnTo>
                    <a:pt x="1651" y="1765"/>
                  </a:lnTo>
                  <a:lnTo>
                    <a:pt x="1647" y="1773"/>
                  </a:lnTo>
                  <a:lnTo>
                    <a:pt x="1645" y="1782"/>
                  </a:lnTo>
                  <a:lnTo>
                    <a:pt x="1644" y="1791"/>
                  </a:lnTo>
                  <a:lnTo>
                    <a:pt x="1643" y="1800"/>
                  </a:lnTo>
                  <a:lnTo>
                    <a:pt x="1643" y="1800"/>
                  </a:lnTo>
                  <a:lnTo>
                    <a:pt x="1644" y="1811"/>
                  </a:lnTo>
                  <a:lnTo>
                    <a:pt x="1645" y="1821"/>
                  </a:lnTo>
                  <a:lnTo>
                    <a:pt x="1647" y="1829"/>
                  </a:lnTo>
                  <a:lnTo>
                    <a:pt x="1651" y="1838"/>
                  </a:lnTo>
                  <a:lnTo>
                    <a:pt x="1654" y="1844"/>
                  </a:lnTo>
                  <a:lnTo>
                    <a:pt x="1659" y="1851"/>
                  </a:lnTo>
                  <a:lnTo>
                    <a:pt x="1664" y="1857"/>
                  </a:lnTo>
                  <a:lnTo>
                    <a:pt x="1671" y="1862"/>
                  </a:lnTo>
                  <a:lnTo>
                    <a:pt x="1676" y="1867"/>
                  </a:lnTo>
                  <a:lnTo>
                    <a:pt x="1683" y="1870"/>
                  </a:lnTo>
                  <a:lnTo>
                    <a:pt x="1697" y="1876"/>
                  </a:lnTo>
                  <a:lnTo>
                    <a:pt x="1712" y="1879"/>
                  </a:lnTo>
                  <a:lnTo>
                    <a:pt x="1726" y="1880"/>
                  </a:lnTo>
                  <a:lnTo>
                    <a:pt x="1726" y="1880"/>
                  </a:lnTo>
                  <a:lnTo>
                    <a:pt x="1738" y="1878"/>
                  </a:lnTo>
                  <a:lnTo>
                    <a:pt x="1746" y="1877"/>
                  </a:lnTo>
                  <a:lnTo>
                    <a:pt x="1753" y="1874"/>
                  </a:lnTo>
                  <a:lnTo>
                    <a:pt x="1761" y="1871"/>
                  </a:lnTo>
                  <a:lnTo>
                    <a:pt x="1767" y="1867"/>
                  </a:lnTo>
                  <a:lnTo>
                    <a:pt x="1774" y="1862"/>
                  </a:lnTo>
                  <a:lnTo>
                    <a:pt x="1780" y="1857"/>
                  </a:lnTo>
                  <a:lnTo>
                    <a:pt x="1780" y="1874"/>
                  </a:lnTo>
                  <a:lnTo>
                    <a:pt x="1835" y="1874"/>
                  </a:lnTo>
                  <a:lnTo>
                    <a:pt x="1835" y="1723"/>
                  </a:lnTo>
                  <a:lnTo>
                    <a:pt x="1835" y="1723"/>
                  </a:lnTo>
                  <a:lnTo>
                    <a:pt x="1835" y="1714"/>
                  </a:lnTo>
                  <a:lnTo>
                    <a:pt x="1834" y="1707"/>
                  </a:lnTo>
                  <a:lnTo>
                    <a:pt x="1832" y="1699"/>
                  </a:lnTo>
                  <a:lnTo>
                    <a:pt x="1830" y="1691"/>
                  </a:lnTo>
                  <a:lnTo>
                    <a:pt x="1825" y="1684"/>
                  </a:lnTo>
                  <a:lnTo>
                    <a:pt x="1822" y="1678"/>
                  </a:lnTo>
                  <a:lnTo>
                    <a:pt x="1816" y="1672"/>
                  </a:lnTo>
                  <a:lnTo>
                    <a:pt x="1811" y="1666"/>
                  </a:lnTo>
                  <a:lnTo>
                    <a:pt x="1805" y="1662"/>
                  </a:lnTo>
                  <a:lnTo>
                    <a:pt x="1798" y="1658"/>
                  </a:lnTo>
                  <a:lnTo>
                    <a:pt x="1791" y="1654"/>
                  </a:lnTo>
                  <a:lnTo>
                    <a:pt x="1783" y="1651"/>
                  </a:lnTo>
                  <a:lnTo>
                    <a:pt x="1774" y="1649"/>
                  </a:lnTo>
                  <a:lnTo>
                    <a:pt x="1765" y="1648"/>
                  </a:lnTo>
                  <a:lnTo>
                    <a:pt x="1755" y="1646"/>
                  </a:lnTo>
                  <a:lnTo>
                    <a:pt x="1745" y="1645"/>
                  </a:lnTo>
                  <a:lnTo>
                    <a:pt x="1745" y="1645"/>
                  </a:lnTo>
                  <a:lnTo>
                    <a:pt x="1733" y="1646"/>
                  </a:lnTo>
                  <a:lnTo>
                    <a:pt x="1723" y="1646"/>
                  </a:lnTo>
                  <a:lnTo>
                    <a:pt x="1712" y="1649"/>
                  </a:lnTo>
                  <a:lnTo>
                    <a:pt x="1701" y="1651"/>
                  </a:lnTo>
                  <a:lnTo>
                    <a:pt x="1691" y="1654"/>
                  </a:lnTo>
                  <a:lnTo>
                    <a:pt x="1681" y="1658"/>
                  </a:lnTo>
                  <a:lnTo>
                    <a:pt x="1671" y="1662"/>
                  </a:lnTo>
                  <a:lnTo>
                    <a:pt x="1661" y="1668"/>
                  </a:lnTo>
                  <a:lnTo>
                    <a:pt x="1683" y="1705"/>
                  </a:lnTo>
                  <a:close/>
                  <a:moveTo>
                    <a:pt x="1698" y="1800"/>
                  </a:moveTo>
                  <a:lnTo>
                    <a:pt x="1698" y="1800"/>
                  </a:lnTo>
                  <a:lnTo>
                    <a:pt x="1698" y="1793"/>
                  </a:lnTo>
                  <a:lnTo>
                    <a:pt x="1701" y="1787"/>
                  </a:lnTo>
                  <a:lnTo>
                    <a:pt x="1704" y="1781"/>
                  </a:lnTo>
                  <a:lnTo>
                    <a:pt x="1708" y="1777"/>
                  </a:lnTo>
                  <a:lnTo>
                    <a:pt x="1714" y="1773"/>
                  </a:lnTo>
                  <a:lnTo>
                    <a:pt x="1721" y="1771"/>
                  </a:lnTo>
                  <a:lnTo>
                    <a:pt x="1728" y="1769"/>
                  </a:lnTo>
                  <a:lnTo>
                    <a:pt x="1736" y="1769"/>
                  </a:lnTo>
                  <a:lnTo>
                    <a:pt x="1736" y="1769"/>
                  </a:lnTo>
                  <a:lnTo>
                    <a:pt x="1748" y="1769"/>
                  </a:lnTo>
                  <a:lnTo>
                    <a:pt x="1760" y="1771"/>
                  </a:lnTo>
                  <a:lnTo>
                    <a:pt x="1770" y="1774"/>
                  </a:lnTo>
                  <a:lnTo>
                    <a:pt x="1780" y="1780"/>
                  </a:lnTo>
                  <a:lnTo>
                    <a:pt x="1780" y="1810"/>
                  </a:lnTo>
                  <a:lnTo>
                    <a:pt x="1780" y="1810"/>
                  </a:lnTo>
                  <a:lnTo>
                    <a:pt x="1777" y="1814"/>
                  </a:lnTo>
                  <a:lnTo>
                    <a:pt x="1773" y="1819"/>
                  </a:lnTo>
                  <a:lnTo>
                    <a:pt x="1768" y="1823"/>
                  </a:lnTo>
                  <a:lnTo>
                    <a:pt x="1763" y="1827"/>
                  </a:lnTo>
                  <a:lnTo>
                    <a:pt x="1757" y="1830"/>
                  </a:lnTo>
                  <a:lnTo>
                    <a:pt x="1751" y="1832"/>
                  </a:lnTo>
                  <a:lnTo>
                    <a:pt x="1744" y="1833"/>
                  </a:lnTo>
                  <a:lnTo>
                    <a:pt x="1736" y="1834"/>
                  </a:lnTo>
                  <a:lnTo>
                    <a:pt x="1736" y="1834"/>
                  </a:lnTo>
                  <a:lnTo>
                    <a:pt x="1728" y="1833"/>
                  </a:lnTo>
                  <a:lnTo>
                    <a:pt x="1721" y="1831"/>
                  </a:lnTo>
                  <a:lnTo>
                    <a:pt x="1714" y="1829"/>
                  </a:lnTo>
                  <a:lnTo>
                    <a:pt x="1708" y="1824"/>
                  </a:lnTo>
                  <a:lnTo>
                    <a:pt x="1704" y="1820"/>
                  </a:lnTo>
                  <a:lnTo>
                    <a:pt x="1701" y="1814"/>
                  </a:lnTo>
                  <a:lnTo>
                    <a:pt x="1699" y="1808"/>
                  </a:lnTo>
                  <a:lnTo>
                    <a:pt x="1698" y="1800"/>
                  </a:lnTo>
                  <a:lnTo>
                    <a:pt x="1698" y="1800"/>
                  </a:lnTo>
                  <a:close/>
                  <a:moveTo>
                    <a:pt x="2350" y="1810"/>
                  </a:moveTo>
                  <a:lnTo>
                    <a:pt x="2350" y="1810"/>
                  </a:lnTo>
                  <a:lnTo>
                    <a:pt x="2342" y="1817"/>
                  </a:lnTo>
                  <a:lnTo>
                    <a:pt x="2332" y="1822"/>
                  </a:lnTo>
                  <a:lnTo>
                    <a:pt x="2326" y="1824"/>
                  </a:lnTo>
                  <a:lnTo>
                    <a:pt x="2320" y="1827"/>
                  </a:lnTo>
                  <a:lnTo>
                    <a:pt x="2313" y="1828"/>
                  </a:lnTo>
                  <a:lnTo>
                    <a:pt x="2306" y="1829"/>
                  </a:lnTo>
                  <a:lnTo>
                    <a:pt x="2306" y="1829"/>
                  </a:lnTo>
                  <a:lnTo>
                    <a:pt x="2301" y="1828"/>
                  </a:lnTo>
                  <a:lnTo>
                    <a:pt x="2294" y="1828"/>
                  </a:lnTo>
                  <a:lnTo>
                    <a:pt x="2286" y="1825"/>
                  </a:lnTo>
                  <a:lnTo>
                    <a:pt x="2277" y="1821"/>
                  </a:lnTo>
                  <a:lnTo>
                    <a:pt x="2270" y="1815"/>
                  </a:lnTo>
                  <a:lnTo>
                    <a:pt x="2266" y="1811"/>
                  </a:lnTo>
                  <a:lnTo>
                    <a:pt x="2263" y="1807"/>
                  </a:lnTo>
                  <a:lnTo>
                    <a:pt x="2261" y="1801"/>
                  </a:lnTo>
                  <a:lnTo>
                    <a:pt x="2259" y="1794"/>
                  </a:lnTo>
                  <a:lnTo>
                    <a:pt x="2257" y="1788"/>
                  </a:lnTo>
                  <a:lnTo>
                    <a:pt x="2256" y="1780"/>
                  </a:lnTo>
                  <a:lnTo>
                    <a:pt x="2393" y="1780"/>
                  </a:lnTo>
                  <a:lnTo>
                    <a:pt x="2393" y="1780"/>
                  </a:lnTo>
                  <a:lnTo>
                    <a:pt x="2394" y="1763"/>
                  </a:lnTo>
                  <a:lnTo>
                    <a:pt x="2394" y="1763"/>
                  </a:lnTo>
                  <a:lnTo>
                    <a:pt x="2394" y="1750"/>
                  </a:lnTo>
                  <a:lnTo>
                    <a:pt x="2392" y="1738"/>
                  </a:lnTo>
                  <a:lnTo>
                    <a:pt x="2391" y="1725"/>
                  </a:lnTo>
                  <a:lnTo>
                    <a:pt x="2388" y="1714"/>
                  </a:lnTo>
                  <a:lnTo>
                    <a:pt x="2384" y="1704"/>
                  </a:lnTo>
                  <a:lnTo>
                    <a:pt x="2380" y="1694"/>
                  </a:lnTo>
                  <a:lnTo>
                    <a:pt x="2374" y="1685"/>
                  </a:lnTo>
                  <a:lnTo>
                    <a:pt x="2369" y="1678"/>
                  </a:lnTo>
                  <a:lnTo>
                    <a:pt x="2362" y="1670"/>
                  </a:lnTo>
                  <a:lnTo>
                    <a:pt x="2355" y="1664"/>
                  </a:lnTo>
                  <a:lnTo>
                    <a:pt x="2348" y="1659"/>
                  </a:lnTo>
                  <a:lnTo>
                    <a:pt x="2339" y="1654"/>
                  </a:lnTo>
                  <a:lnTo>
                    <a:pt x="2330" y="1651"/>
                  </a:lnTo>
                  <a:lnTo>
                    <a:pt x="2321" y="1648"/>
                  </a:lnTo>
                  <a:lnTo>
                    <a:pt x="2311" y="1646"/>
                  </a:lnTo>
                  <a:lnTo>
                    <a:pt x="2300" y="1645"/>
                  </a:lnTo>
                  <a:lnTo>
                    <a:pt x="2300" y="1645"/>
                  </a:lnTo>
                  <a:lnTo>
                    <a:pt x="2290" y="1646"/>
                  </a:lnTo>
                  <a:lnTo>
                    <a:pt x="2280" y="1648"/>
                  </a:lnTo>
                  <a:lnTo>
                    <a:pt x="2270" y="1651"/>
                  </a:lnTo>
                  <a:lnTo>
                    <a:pt x="2260" y="1654"/>
                  </a:lnTo>
                  <a:lnTo>
                    <a:pt x="2251" y="1659"/>
                  </a:lnTo>
                  <a:lnTo>
                    <a:pt x="2243" y="1665"/>
                  </a:lnTo>
                  <a:lnTo>
                    <a:pt x="2235" y="1671"/>
                  </a:lnTo>
                  <a:lnTo>
                    <a:pt x="2229" y="1679"/>
                  </a:lnTo>
                  <a:lnTo>
                    <a:pt x="2222" y="1686"/>
                  </a:lnTo>
                  <a:lnTo>
                    <a:pt x="2216" y="1695"/>
                  </a:lnTo>
                  <a:lnTo>
                    <a:pt x="2212" y="1705"/>
                  </a:lnTo>
                  <a:lnTo>
                    <a:pt x="2207" y="1715"/>
                  </a:lnTo>
                  <a:lnTo>
                    <a:pt x="2204" y="1727"/>
                  </a:lnTo>
                  <a:lnTo>
                    <a:pt x="2202" y="1739"/>
                  </a:lnTo>
                  <a:lnTo>
                    <a:pt x="2201" y="1750"/>
                  </a:lnTo>
                  <a:lnTo>
                    <a:pt x="2200" y="1763"/>
                  </a:lnTo>
                  <a:lnTo>
                    <a:pt x="2200" y="1763"/>
                  </a:lnTo>
                  <a:lnTo>
                    <a:pt x="2201" y="1775"/>
                  </a:lnTo>
                  <a:lnTo>
                    <a:pt x="2202" y="1788"/>
                  </a:lnTo>
                  <a:lnTo>
                    <a:pt x="2204" y="1800"/>
                  </a:lnTo>
                  <a:lnTo>
                    <a:pt x="2207" y="1811"/>
                  </a:lnTo>
                  <a:lnTo>
                    <a:pt x="2212" y="1821"/>
                  </a:lnTo>
                  <a:lnTo>
                    <a:pt x="2216" y="1831"/>
                  </a:lnTo>
                  <a:lnTo>
                    <a:pt x="2222" y="1840"/>
                  </a:lnTo>
                  <a:lnTo>
                    <a:pt x="2229" y="1848"/>
                  </a:lnTo>
                  <a:lnTo>
                    <a:pt x="2236" y="1854"/>
                  </a:lnTo>
                  <a:lnTo>
                    <a:pt x="2244" y="1861"/>
                  </a:lnTo>
                  <a:lnTo>
                    <a:pt x="2253" y="1867"/>
                  </a:lnTo>
                  <a:lnTo>
                    <a:pt x="2262" y="1871"/>
                  </a:lnTo>
                  <a:lnTo>
                    <a:pt x="2272" y="1874"/>
                  </a:lnTo>
                  <a:lnTo>
                    <a:pt x="2283" y="1878"/>
                  </a:lnTo>
                  <a:lnTo>
                    <a:pt x="2294" y="1879"/>
                  </a:lnTo>
                  <a:lnTo>
                    <a:pt x="2306" y="1880"/>
                  </a:lnTo>
                  <a:lnTo>
                    <a:pt x="2306" y="1880"/>
                  </a:lnTo>
                  <a:lnTo>
                    <a:pt x="2317" y="1879"/>
                  </a:lnTo>
                  <a:lnTo>
                    <a:pt x="2327" y="1878"/>
                  </a:lnTo>
                  <a:lnTo>
                    <a:pt x="2339" y="1874"/>
                  </a:lnTo>
                  <a:lnTo>
                    <a:pt x="2349" y="1871"/>
                  </a:lnTo>
                  <a:lnTo>
                    <a:pt x="2359" y="1866"/>
                  </a:lnTo>
                  <a:lnTo>
                    <a:pt x="2368" y="1860"/>
                  </a:lnTo>
                  <a:lnTo>
                    <a:pt x="2376" y="1852"/>
                  </a:lnTo>
                  <a:lnTo>
                    <a:pt x="2385" y="1844"/>
                  </a:lnTo>
                  <a:lnTo>
                    <a:pt x="2350" y="1810"/>
                  </a:lnTo>
                  <a:close/>
                  <a:moveTo>
                    <a:pt x="2257" y="1739"/>
                  </a:moveTo>
                  <a:lnTo>
                    <a:pt x="2257" y="1739"/>
                  </a:lnTo>
                  <a:lnTo>
                    <a:pt x="2259" y="1729"/>
                  </a:lnTo>
                  <a:lnTo>
                    <a:pt x="2261" y="1720"/>
                  </a:lnTo>
                  <a:lnTo>
                    <a:pt x="2264" y="1712"/>
                  </a:lnTo>
                  <a:lnTo>
                    <a:pt x="2270" y="1705"/>
                  </a:lnTo>
                  <a:lnTo>
                    <a:pt x="2275" y="1700"/>
                  </a:lnTo>
                  <a:lnTo>
                    <a:pt x="2282" y="1696"/>
                  </a:lnTo>
                  <a:lnTo>
                    <a:pt x="2290" y="1693"/>
                  </a:lnTo>
                  <a:lnTo>
                    <a:pt x="2299" y="1693"/>
                  </a:lnTo>
                  <a:lnTo>
                    <a:pt x="2299" y="1693"/>
                  </a:lnTo>
                  <a:lnTo>
                    <a:pt x="2309" y="1694"/>
                  </a:lnTo>
                  <a:lnTo>
                    <a:pt x="2317" y="1696"/>
                  </a:lnTo>
                  <a:lnTo>
                    <a:pt x="2324" y="1701"/>
                  </a:lnTo>
                  <a:lnTo>
                    <a:pt x="2330" y="1708"/>
                  </a:lnTo>
                  <a:lnTo>
                    <a:pt x="2334" y="1714"/>
                  </a:lnTo>
                  <a:lnTo>
                    <a:pt x="2338" y="1722"/>
                  </a:lnTo>
                  <a:lnTo>
                    <a:pt x="2340" y="1731"/>
                  </a:lnTo>
                  <a:lnTo>
                    <a:pt x="2341" y="1739"/>
                  </a:lnTo>
                  <a:lnTo>
                    <a:pt x="2257" y="1739"/>
                  </a:lnTo>
                  <a:close/>
                  <a:moveTo>
                    <a:pt x="2884" y="1810"/>
                  </a:moveTo>
                  <a:lnTo>
                    <a:pt x="2884" y="1810"/>
                  </a:lnTo>
                  <a:lnTo>
                    <a:pt x="2875" y="1817"/>
                  </a:lnTo>
                  <a:lnTo>
                    <a:pt x="2867" y="1822"/>
                  </a:lnTo>
                  <a:lnTo>
                    <a:pt x="2860" y="1824"/>
                  </a:lnTo>
                  <a:lnTo>
                    <a:pt x="2854" y="1827"/>
                  </a:lnTo>
                  <a:lnTo>
                    <a:pt x="2848" y="1828"/>
                  </a:lnTo>
                  <a:lnTo>
                    <a:pt x="2840" y="1829"/>
                  </a:lnTo>
                  <a:lnTo>
                    <a:pt x="2840" y="1829"/>
                  </a:lnTo>
                  <a:lnTo>
                    <a:pt x="2834" y="1828"/>
                  </a:lnTo>
                  <a:lnTo>
                    <a:pt x="2828" y="1828"/>
                  </a:lnTo>
                  <a:lnTo>
                    <a:pt x="2820" y="1825"/>
                  </a:lnTo>
                  <a:lnTo>
                    <a:pt x="2812" y="1821"/>
                  </a:lnTo>
                  <a:lnTo>
                    <a:pt x="2804" y="1815"/>
                  </a:lnTo>
                  <a:lnTo>
                    <a:pt x="2801" y="1811"/>
                  </a:lnTo>
                  <a:lnTo>
                    <a:pt x="2798" y="1807"/>
                  </a:lnTo>
                  <a:lnTo>
                    <a:pt x="2795" y="1801"/>
                  </a:lnTo>
                  <a:lnTo>
                    <a:pt x="2793" y="1794"/>
                  </a:lnTo>
                  <a:lnTo>
                    <a:pt x="2791" y="1788"/>
                  </a:lnTo>
                  <a:lnTo>
                    <a:pt x="2790" y="1780"/>
                  </a:lnTo>
                  <a:lnTo>
                    <a:pt x="2928" y="1780"/>
                  </a:lnTo>
                  <a:lnTo>
                    <a:pt x="2928" y="1780"/>
                  </a:lnTo>
                  <a:lnTo>
                    <a:pt x="2929" y="1763"/>
                  </a:lnTo>
                  <a:lnTo>
                    <a:pt x="2929" y="1763"/>
                  </a:lnTo>
                  <a:lnTo>
                    <a:pt x="2928" y="1750"/>
                  </a:lnTo>
                  <a:lnTo>
                    <a:pt x="2927" y="1738"/>
                  </a:lnTo>
                  <a:lnTo>
                    <a:pt x="2924" y="1725"/>
                  </a:lnTo>
                  <a:lnTo>
                    <a:pt x="2922" y="1714"/>
                  </a:lnTo>
                  <a:lnTo>
                    <a:pt x="2918" y="1704"/>
                  </a:lnTo>
                  <a:lnTo>
                    <a:pt x="2913" y="1694"/>
                  </a:lnTo>
                  <a:lnTo>
                    <a:pt x="2909" y="1685"/>
                  </a:lnTo>
                  <a:lnTo>
                    <a:pt x="2903" y="1678"/>
                  </a:lnTo>
                  <a:lnTo>
                    <a:pt x="2897" y="1670"/>
                  </a:lnTo>
                  <a:lnTo>
                    <a:pt x="2889" y="1664"/>
                  </a:lnTo>
                  <a:lnTo>
                    <a:pt x="2881" y="1659"/>
                  </a:lnTo>
                  <a:lnTo>
                    <a:pt x="2873" y="1654"/>
                  </a:lnTo>
                  <a:lnTo>
                    <a:pt x="2864" y="1651"/>
                  </a:lnTo>
                  <a:lnTo>
                    <a:pt x="2854" y="1648"/>
                  </a:lnTo>
                  <a:lnTo>
                    <a:pt x="2844" y="1646"/>
                  </a:lnTo>
                  <a:lnTo>
                    <a:pt x="2834" y="1645"/>
                  </a:lnTo>
                  <a:lnTo>
                    <a:pt x="2834" y="1645"/>
                  </a:lnTo>
                  <a:lnTo>
                    <a:pt x="2823" y="1646"/>
                  </a:lnTo>
                  <a:lnTo>
                    <a:pt x="2813" y="1648"/>
                  </a:lnTo>
                  <a:lnTo>
                    <a:pt x="2803" y="1651"/>
                  </a:lnTo>
                  <a:lnTo>
                    <a:pt x="2794" y="1654"/>
                  </a:lnTo>
                  <a:lnTo>
                    <a:pt x="2785" y="1659"/>
                  </a:lnTo>
                  <a:lnTo>
                    <a:pt x="2777" y="1665"/>
                  </a:lnTo>
                  <a:lnTo>
                    <a:pt x="2770" y="1671"/>
                  </a:lnTo>
                  <a:lnTo>
                    <a:pt x="2762" y="1679"/>
                  </a:lnTo>
                  <a:lnTo>
                    <a:pt x="2755" y="1686"/>
                  </a:lnTo>
                  <a:lnTo>
                    <a:pt x="2750" y="1695"/>
                  </a:lnTo>
                  <a:lnTo>
                    <a:pt x="2745" y="1705"/>
                  </a:lnTo>
                  <a:lnTo>
                    <a:pt x="2741" y="1715"/>
                  </a:lnTo>
                  <a:lnTo>
                    <a:pt x="2739" y="1727"/>
                  </a:lnTo>
                  <a:lnTo>
                    <a:pt x="2735" y="1739"/>
                  </a:lnTo>
                  <a:lnTo>
                    <a:pt x="2734" y="1750"/>
                  </a:lnTo>
                  <a:lnTo>
                    <a:pt x="2734" y="1763"/>
                  </a:lnTo>
                  <a:lnTo>
                    <a:pt x="2734" y="1763"/>
                  </a:lnTo>
                  <a:lnTo>
                    <a:pt x="2734" y="1775"/>
                  </a:lnTo>
                  <a:lnTo>
                    <a:pt x="2735" y="1788"/>
                  </a:lnTo>
                  <a:lnTo>
                    <a:pt x="2738" y="1800"/>
                  </a:lnTo>
                  <a:lnTo>
                    <a:pt x="2741" y="1811"/>
                  </a:lnTo>
                  <a:lnTo>
                    <a:pt x="2745" y="1821"/>
                  </a:lnTo>
                  <a:lnTo>
                    <a:pt x="2751" y="1831"/>
                  </a:lnTo>
                  <a:lnTo>
                    <a:pt x="2757" y="1840"/>
                  </a:lnTo>
                  <a:lnTo>
                    <a:pt x="2763" y="1848"/>
                  </a:lnTo>
                  <a:lnTo>
                    <a:pt x="2770" y="1854"/>
                  </a:lnTo>
                  <a:lnTo>
                    <a:pt x="2778" y="1861"/>
                  </a:lnTo>
                  <a:lnTo>
                    <a:pt x="2787" y="1867"/>
                  </a:lnTo>
                  <a:lnTo>
                    <a:pt x="2797" y="1871"/>
                  </a:lnTo>
                  <a:lnTo>
                    <a:pt x="2807" y="1874"/>
                  </a:lnTo>
                  <a:lnTo>
                    <a:pt x="2817" y="1878"/>
                  </a:lnTo>
                  <a:lnTo>
                    <a:pt x="2829" y="1879"/>
                  </a:lnTo>
                  <a:lnTo>
                    <a:pt x="2840" y="1880"/>
                  </a:lnTo>
                  <a:lnTo>
                    <a:pt x="2840" y="1880"/>
                  </a:lnTo>
                  <a:lnTo>
                    <a:pt x="2851" y="1879"/>
                  </a:lnTo>
                  <a:lnTo>
                    <a:pt x="2862" y="1878"/>
                  </a:lnTo>
                  <a:lnTo>
                    <a:pt x="2872" y="1874"/>
                  </a:lnTo>
                  <a:lnTo>
                    <a:pt x="2882" y="1871"/>
                  </a:lnTo>
                  <a:lnTo>
                    <a:pt x="2892" y="1866"/>
                  </a:lnTo>
                  <a:lnTo>
                    <a:pt x="2902" y="1860"/>
                  </a:lnTo>
                  <a:lnTo>
                    <a:pt x="2911" y="1852"/>
                  </a:lnTo>
                  <a:lnTo>
                    <a:pt x="2919" y="1844"/>
                  </a:lnTo>
                  <a:lnTo>
                    <a:pt x="2884" y="1810"/>
                  </a:lnTo>
                  <a:close/>
                  <a:moveTo>
                    <a:pt x="2791" y="1739"/>
                  </a:moveTo>
                  <a:lnTo>
                    <a:pt x="2791" y="1739"/>
                  </a:lnTo>
                  <a:lnTo>
                    <a:pt x="2792" y="1729"/>
                  </a:lnTo>
                  <a:lnTo>
                    <a:pt x="2795" y="1720"/>
                  </a:lnTo>
                  <a:lnTo>
                    <a:pt x="2799" y="1712"/>
                  </a:lnTo>
                  <a:lnTo>
                    <a:pt x="2803" y="1705"/>
                  </a:lnTo>
                  <a:lnTo>
                    <a:pt x="2810" y="1700"/>
                  </a:lnTo>
                  <a:lnTo>
                    <a:pt x="2817" y="1696"/>
                  </a:lnTo>
                  <a:lnTo>
                    <a:pt x="2824" y="1693"/>
                  </a:lnTo>
                  <a:lnTo>
                    <a:pt x="2833" y="1693"/>
                  </a:lnTo>
                  <a:lnTo>
                    <a:pt x="2833" y="1693"/>
                  </a:lnTo>
                  <a:lnTo>
                    <a:pt x="2843" y="1694"/>
                  </a:lnTo>
                  <a:lnTo>
                    <a:pt x="2851" y="1696"/>
                  </a:lnTo>
                  <a:lnTo>
                    <a:pt x="2859" y="1701"/>
                  </a:lnTo>
                  <a:lnTo>
                    <a:pt x="2864" y="1708"/>
                  </a:lnTo>
                  <a:lnTo>
                    <a:pt x="2869" y="1714"/>
                  </a:lnTo>
                  <a:lnTo>
                    <a:pt x="2872" y="1722"/>
                  </a:lnTo>
                  <a:lnTo>
                    <a:pt x="2874" y="1731"/>
                  </a:lnTo>
                  <a:lnTo>
                    <a:pt x="2875" y="1739"/>
                  </a:lnTo>
                  <a:lnTo>
                    <a:pt x="2791" y="1739"/>
                  </a:lnTo>
                  <a:close/>
                  <a:moveTo>
                    <a:pt x="2658" y="1797"/>
                  </a:moveTo>
                  <a:lnTo>
                    <a:pt x="2658" y="1797"/>
                  </a:lnTo>
                  <a:lnTo>
                    <a:pt x="2658" y="1804"/>
                  </a:lnTo>
                  <a:lnTo>
                    <a:pt x="2659" y="1810"/>
                  </a:lnTo>
                  <a:lnTo>
                    <a:pt x="2661" y="1815"/>
                  </a:lnTo>
                  <a:lnTo>
                    <a:pt x="2663" y="1820"/>
                  </a:lnTo>
                  <a:lnTo>
                    <a:pt x="2667" y="1823"/>
                  </a:lnTo>
                  <a:lnTo>
                    <a:pt x="2671" y="1825"/>
                  </a:lnTo>
                  <a:lnTo>
                    <a:pt x="2675" y="1827"/>
                  </a:lnTo>
                  <a:lnTo>
                    <a:pt x="2682" y="1827"/>
                  </a:lnTo>
                  <a:lnTo>
                    <a:pt x="2682" y="1827"/>
                  </a:lnTo>
                  <a:lnTo>
                    <a:pt x="2690" y="1827"/>
                  </a:lnTo>
                  <a:lnTo>
                    <a:pt x="2699" y="1824"/>
                  </a:lnTo>
                  <a:lnTo>
                    <a:pt x="2708" y="1821"/>
                  </a:lnTo>
                  <a:lnTo>
                    <a:pt x="2715" y="1817"/>
                  </a:lnTo>
                  <a:lnTo>
                    <a:pt x="2709" y="1869"/>
                  </a:lnTo>
                  <a:lnTo>
                    <a:pt x="2709" y="1869"/>
                  </a:lnTo>
                  <a:lnTo>
                    <a:pt x="2699" y="1873"/>
                  </a:lnTo>
                  <a:lnTo>
                    <a:pt x="2687" y="1877"/>
                  </a:lnTo>
                  <a:lnTo>
                    <a:pt x="2674" y="1879"/>
                  </a:lnTo>
                  <a:lnTo>
                    <a:pt x="2662" y="1880"/>
                  </a:lnTo>
                  <a:lnTo>
                    <a:pt x="2662" y="1880"/>
                  </a:lnTo>
                  <a:lnTo>
                    <a:pt x="2654" y="1879"/>
                  </a:lnTo>
                  <a:lnTo>
                    <a:pt x="2647" y="1878"/>
                  </a:lnTo>
                  <a:lnTo>
                    <a:pt x="2640" y="1876"/>
                  </a:lnTo>
                  <a:lnTo>
                    <a:pt x="2634" y="1873"/>
                  </a:lnTo>
                  <a:lnTo>
                    <a:pt x="2629" y="1870"/>
                  </a:lnTo>
                  <a:lnTo>
                    <a:pt x="2623" y="1867"/>
                  </a:lnTo>
                  <a:lnTo>
                    <a:pt x="2620" y="1862"/>
                  </a:lnTo>
                  <a:lnTo>
                    <a:pt x="2615" y="1857"/>
                  </a:lnTo>
                  <a:lnTo>
                    <a:pt x="2610" y="1847"/>
                  </a:lnTo>
                  <a:lnTo>
                    <a:pt x="2605" y="1834"/>
                  </a:lnTo>
                  <a:lnTo>
                    <a:pt x="2603" y="1823"/>
                  </a:lnTo>
                  <a:lnTo>
                    <a:pt x="2602" y="1811"/>
                  </a:lnTo>
                  <a:lnTo>
                    <a:pt x="2602" y="1702"/>
                  </a:lnTo>
                  <a:lnTo>
                    <a:pt x="2568" y="1702"/>
                  </a:lnTo>
                  <a:lnTo>
                    <a:pt x="2568" y="1651"/>
                  </a:lnTo>
                  <a:lnTo>
                    <a:pt x="2602" y="1651"/>
                  </a:lnTo>
                  <a:lnTo>
                    <a:pt x="2602" y="1593"/>
                  </a:lnTo>
                  <a:lnTo>
                    <a:pt x="2658" y="1565"/>
                  </a:lnTo>
                  <a:lnTo>
                    <a:pt x="2658" y="1651"/>
                  </a:lnTo>
                  <a:lnTo>
                    <a:pt x="2708" y="1651"/>
                  </a:lnTo>
                  <a:lnTo>
                    <a:pt x="2708" y="1702"/>
                  </a:lnTo>
                  <a:lnTo>
                    <a:pt x="2658" y="1702"/>
                  </a:lnTo>
                  <a:lnTo>
                    <a:pt x="2658" y="1797"/>
                  </a:lnTo>
                  <a:close/>
                  <a:moveTo>
                    <a:pt x="2550" y="1869"/>
                  </a:moveTo>
                  <a:lnTo>
                    <a:pt x="2550" y="1869"/>
                  </a:lnTo>
                  <a:lnTo>
                    <a:pt x="2540" y="1873"/>
                  </a:lnTo>
                  <a:lnTo>
                    <a:pt x="2529" y="1877"/>
                  </a:lnTo>
                  <a:lnTo>
                    <a:pt x="2516" y="1879"/>
                  </a:lnTo>
                  <a:lnTo>
                    <a:pt x="2504" y="1880"/>
                  </a:lnTo>
                  <a:lnTo>
                    <a:pt x="2504" y="1880"/>
                  </a:lnTo>
                  <a:lnTo>
                    <a:pt x="2495" y="1879"/>
                  </a:lnTo>
                  <a:lnTo>
                    <a:pt x="2489" y="1878"/>
                  </a:lnTo>
                  <a:lnTo>
                    <a:pt x="2482" y="1876"/>
                  </a:lnTo>
                  <a:lnTo>
                    <a:pt x="2475" y="1873"/>
                  </a:lnTo>
                  <a:lnTo>
                    <a:pt x="2471" y="1870"/>
                  </a:lnTo>
                  <a:lnTo>
                    <a:pt x="2465" y="1867"/>
                  </a:lnTo>
                  <a:lnTo>
                    <a:pt x="2461" y="1862"/>
                  </a:lnTo>
                  <a:lnTo>
                    <a:pt x="2458" y="1857"/>
                  </a:lnTo>
                  <a:lnTo>
                    <a:pt x="2451" y="1847"/>
                  </a:lnTo>
                  <a:lnTo>
                    <a:pt x="2448" y="1834"/>
                  </a:lnTo>
                  <a:lnTo>
                    <a:pt x="2444" y="1823"/>
                  </a:lnTo>
                  <a:lnTo>
                    <a:pt x="2444" y="1811"/>
                  </a:lnTo>
                  <a:lnTo>
                    <a:pt x="2444" y="1702"/>
                  </a:lnTo>
                  <a:lnTo>
                    <a:pt x="2410" y="1702"/>
                  </a:lnTo>
                  <a:lnTo>
                    <a:pt x="2410" y="1651"/>
                  </a:lnTo>
                  <a:lnTo>
                    <a:pt x="2444" y="1651"/>
                  </a:lnTo>
                  <a:lnTo>
                    <a:pt x="2444" y="1593"/>
                  </a:lnTo>
                  <a:lnTo>
                    <a:pt x="2500" y="1565"/>
                  </a:lnTo>
                  <a:lnTo>
                    <a:pt x="2500" y="1651"/>
                  </a:lnTo>
                  <a:lnTo>
                    <a:pt x="2546" y="1651"/>
                  </a:lnTo>
                  <a:lnTo>
                    <a:pt x="2546" y="1702"/>
                  </a:lnTo>
                  <a:lnTo>
                    <a:pt x="2500" y="1702"/>
                  </a:lnTo>
                  <a:lnTo>
                    <a:pt x="2500" y="1797"/>
                  </a:lnTo>
                  <a:lnTo>
                    <a:pt x="2500" y="1797"/>
                  </a:lnTo>
                  <a:lnTo>
                    <a:pt x="2500" y="1804"/>
                  </a:lnTo>
                  <a:lnTo>
                    <a:pt x="2501" y="1810"/>
                  </a:lnTo>
                  <a:lnTo>
                    <a:pt x="2503" y="1815"/>
                  </a:lnTo>
                  <a:lnTo>
                    <a:pt x="2505" y="1820"/>
                  </a:lnTo>
                  <a:lnTo>
                    <a:pt x="2509" y="1823"/>
                  </a:lnTo>
                  <a:lnTo>
                    <a:pt x="2513" y="1825"/>
                  </a:lnTo>
                  <a:lnTo>
                    <a:pt x="2518" y="1827"/>
                  </a:lnTo>
                  <a:lnTo>
                    <a:pt x="2523" y="1827"/>
                  </a:lnTo>
                  <a:lnTo>
                    <a:pt x="2523" y="1827"/>
                  </a:lnTo>
                  <a:lnTo>
                    <a:pt x="2532" y="1827"/>
                  </a:lnTo>
                  <a:lnTo>
                    <a:pt x="2541" y="1824"/>
                  </a:lnTo>
                  <a:lnTo>
                    <a:pt x="2549" y="1821"/>
                  </a:lnTo>
                  <a:lnTo>
                    <a:pt x="2556" y="1817"/>
                  </a:lnTo>
                  <a:lnTo>
                    <a:pt x="2550" y="1869"/>
                  </a:lnTo>
                  <a:close/>
                  <a:moveTo>
                    <a:pt x="3096" y="1713"/>
                  </a:moveTo>
                  <a:lnTo>
                    <a:pt x="3096" y="1713"/>
                  </a:lnTo>
                  <a:lnTo>
                    <a:pt x="3088" y="1708"/>
                  </a:lnTo>
                  <a:lnTo>
                    <a:pt x="3079" y="1704"/>
                  </a:lnTo>
                  <a:lnTo>
                    <a:pt x="3069" y="1702"/>
                  </a:lnTo>
                  <a:lnTo>
                    <a:pt x="3059" y="1701"/>
                  </a:lnTo>
                  <a:lnTo>
                    <a:pt x="3059" y="1701"/>
                  </a:lnTo>
                  <a:lnTo>
                    <a:pt x="3050" y="1702"/>
                  </a:lnTo>
                  <a:lnTo>
                    <a:pt x="3041" y="1704"/>
                  </a:lnTo>
                  <a:lnTo>
                    <a:pt x="3034" y="1709"/>
                  </a:lnTo>
                  <a:lnTo>
                    <a:pt x="3029" y="1714"/>
                  </a:lnTo>
                  <a:lnTo>
                    <a:pt x="3024" y="1721"/>
                  </a:lnTo>
                  <a:lnTo>
                    <a:pt x="3022" y="1730"/>
                  </a:lnTo>
                  <a:lnTo>
                    <a:pt x="3020" y="1741"/>
                  </a:lnTo>
                  <a:lnTo>
                    <a:pt x="3019" y="1753"/>
                  </a:lnTo>
                  <a:lnTo>
                    <a:pt x="3019" y="1874"/>
                  </a:lnTo>
                  <a:lnTo>
                    <a:pt x="2964" y="1874"/>
                  </a:lnTo>
                  <a:lnTo>
                    <a:pt x="2964" y="1651"/>
                  </a:lnTo>
                  <a:lnTo>
                    <a:pt x="3019" y="1651"/>
                  </a:lnTo>
                  <a:lnTo>
                    <a:pt x="3019" y="1670"/>
                  </a:lnTo>
                  <a:lnTo>
                    <a:pt x="3019" y="1670"/>
                  </a:lnTo>
                  <a:lnTo>
                    <a:pt x="3024" y="1664"/>
                  </a:lnTo>
                  <a:lnTo>
                    <a:pt x="3030" y="1659"/>
                  </a:lnTo>
                  <a:lnTo>
                    <a:pt x="3036" y="1655"/>
                  </a:lnTo>
                  <a:lnTo>
                    <a:pt x="3042" y="1652"/>
                  </a:lnTo>
                  <a:lnTo>
                    <a:pt x="3048" y="1649"/>
                  </a:lnTo>
                  <a:lnTo>
                    <a:pt x="3054" y="1648"/>
                  </a:lnTo>
                  <a:lnTo>
                    <a:pt x="3061" y="1646"/>
                  </a:lnTo>
                  <a:lnTo>
                    <a:pt x="3069" y="1645"/>
                  </a:lnTo>
                  <a:lnTo>
                    <a:pt x="3069" y="1645"/>
                  </a:lnTo>
                  <a:lnTo>
                    <a:pt x="3080" y="1646"/>
                  </a:lnTo>
                  <a:lnTo>
                    <a:pt x="3091" y="1650"/>
                  </a:lnTo>
                  <a:lnTo>
                    <a:pt x="3101" y="1653"/>
                  </a:lnTo>
                  <a:lnTo>
                    <a:pt x="3110" y="1659"/>
                  </a:lnTo>
                  <a:lnTo>
                    <a:pt x="3096" y="1713"/>
                  </a:lnTo>
                  <a:close/>
                  <a:moveTo>
                    <a:pt x="597" y="1598"/>
                  </a:moveTo>
                  <a:lnTo>
                    <a:pt x="597" y="1619"/>
                  </a:lnTo>
                  <a:lnTo>
                    <a:pt x="541" y="1619"/>
                  </a:lnTo>
                  <a:lnTo>
                    <a:pt x="541" y="1563"/>
                  </a:lnTo>
                  <a:lnTo>
                    <a:pt x="597" y="1563"/>
                  </a:lnTo>
                  <a:lnTo>
                    <a:pt x="597" y="1598"/>
                  </a:lnTo>
                  <a:close/>
                  <a:moveTo>
                    <a:pt x="981" y="1651"/>
                  </a:moveTo>
                  <a:lnTo>
                    <a:pt x="1037" y="1651"/>
                  </a:lnTo>
                  <a:lnTo>
                    <a:pt x="1037" y="1765"/>
                  </a:lnTo>
                  <a:lnTo>
                    <a:pt x="1037" y="1874"/>
                  </a:lnTo>
                  <a:lnTo>
                    <a:pt x="981" y="1874"/>
                  </a:lnTo>
                  <a:lnTo>
                    <a:pt x="981" y="1651"/>
                  </a:lnTo>
                  <a:close/>
                  <a:moveTo>
                    <a:pt x="1037" y="1591"/>
                  </a:moveTo>
                  <a:lnTo>
                    <a:pt x="1037" y="1619"/>
                  </a:lnTo>
                  <a:lnTo>
                    <a:pt x="981" y="1619"/>
                  </a:lnTo>
                  <a:lnTo>
                    <a:pt x="981" y="1563"/>
                  </a:lnTo>
                  <a:lnTo>
                    <a:pt x="1037" y="1563"/>
                  </a:lnTo>
                  <a:lnTo>
                    <a:pt x="1037" y="1591"/>
                  </a:lnTo>
                  <a:close/>
                  <a:moveTo>
                    <a:pt x="2558" y="2058"/>
                  </a:moveTo>
                  <a:lnTo>
                    <a:pt x="2558" y="2058"/>
                  </a:lnTo>
                  <a:lnTo>
                    <a:pt x="2552" y="2053"/>
                  </a:lnTo>
                  <a:lnTo>
                    <a:pt x="2546" y="2049"/>
                  </a:lnTo>
                  <a:lnTo>
                    <a:pt x="2541" y="2046"/>
                  </a:lnTo>
                  <a:lnTo>
                    <a:pt x="2534" y="2042"/>
                  </a:lnTo>
                  <a:lnTo>
                    <a:pt x="2529" y="2040"/>
                  </a:lnTo>
                  <a:lnTo>
                    <a:pt x="2522" y="2039"/>
                  </a:lnTo>
                  <a:lnTo>
                    <a:pt x="2508" y="2037"/>
                  </a:lnTo>
                  <a:lnTo>
                    <a:pt x="2508" y="2037"/>
                  </a:lnTo>
                  <a:lnTo>
                    <a:pt x="2498" y="2038"/>
                  </a:lnTo>
                  <a:lnTo>
                    <a:pt x="2489" y="2039"/>
                  </a:lnTo>
                  <a:lnTo>
                    <a:pt x="2480" y="2042"/>
                  </a:lnTo>
                  <a:lnTo>
                    <a:pt x="2471" y="2046"/>
                  </a:lnTo>
                  <a:lnTo>
                    <a:pt x="2463" y="2050"/>
                  </a:lnTo>
                  <a:lnTo>
                    <a:pt x="2456" y="2055"/>
                  </a:lnTo>
                  <a:lnTo>
                    <a:pt x="2450" y="2061"/>
                  </a:lnTo>
                  <a:lnTo>
                    <a:pt x="2443" y="2068"/>
                  </a:lnTo>
                  <a:lnTo>
                    <a:pt x="2439" y="2076"/>
                  </a:lnTo>
                  <a:lnTo>
                    <a:pt x="2433" y="2085"/>
                  </a:lnTo>
                  <a:lnTo>
                    <a:pt x="2430" y="2093"/>
                  </a:lnTo>
                  <a:lnTo>
                    <a:pt x="2426" y="2105"/>
                  </a:lnTo>
                  <a:lnTo>
                    <a:pt x="2423" y="2115"/>
                  </a:lnTo>
                  <a:lnTo>
                    <a:pt x="2422" y="2127"/>
                  </a:lnTo>
                  <a:lnTo>
                    <a:pt x="2421" y="2139"/>
                  </a:lnTo>
                  <a:lnTo>
                    <a:pt x="2420" y="2152"/>
                  </a:lnTo>
                  <a:lnTo>
                    <a:pt x="2420" y="2152"/>
                  </a:lnTo>
                  <a:lnTo>
                    <a:pt x="2421" y="2166"/>
                  </a:lnTo>
                  <a:lnTo>
                    <a:pt x="2422" y="2178"/>
                  </a:lnTo>
                  <a:lnTo>
                    <a:pt x="2423" y="2190"/>
                  </a:lnTo>
                  <a:lnTo>
                    <a:pt x="2426" y="2202"/>
                  </a:lnTo>
                  <a:lnTo>
                    <a:pt x="2429" y="2212"/>
                  </a:lnTo>
                  <a:lnTo>
                    <a:pt x="2433" y="2222"/>
                  </a:lnTo>
                  <a:lnTo>
                    <a:pt x="2438" y="2231"/>
                  </a:lnTo>
                  <a:lnTo>
                    <a:pt x="2443" y="2239"/>
                  </a:lnTo>
                  <a:lnTo>
                    <a:pt x="2449" y="2247"/>
                  </a:lnTo>
                  <a:lnTo>
                    <a:pt x="2455" y="2252"/>
                  </a:lnTo>
                  <a:lnTo>
                    <a:pt x="2462" y="2258"/>
                  </a:lnTo>
                  <a:lnTo>
                    <a:pt x="2470" y="2262"/>
                  </a:lnTo>
                  <a:lnTo>
                    <a:pt x="2479" y="2267"/>
                  </a:lnTo>
                  <a:lnTo>
                    <a:pt x="2488" y="2269"/>
                  </a:lnTo>
                  <a:lnTo>
                    <a:pt x="2496" y="2270"/>
                  </a:lnTo>
                  <a:lnTo>
                    <a:pt x="2506" y="2271"/>
                  </a:lnTo>
                  <a:lnTo>
                    <a:pt x="2506" y="2271"/>
                  </a:lnTo>
                  <a:lnTo>
                    <a:pt x="2513" y="2270"/>
                  </a:lnTo>
                  <a:lnTo>
                    <a:pt x="2521" y="2269"/>
                  </a:lnTo>
                  <a:lnTo>
                    <a:pt x="2528" y="2268"/>
                  </a:lnTo>
                  <a:lnTo>
                    <a:pt x="2533" y="2266"/>
                  </a:lnTo>
                  <a:lnTo>
                    <a:pt x="2540" y="2262"/>
                  </a:lnTo>
                  <a:lnTo>
                    <a:pt x="2546" y="2259"/>
                  </a:lnTo>
                  <a:lnTo>
                    <a:pt x="2552" y="2255"/>
                  </a:lnTo>
                  <a:lnTo>
                    <a:pt x="2558" y="2249"/>
                  </a:lnTo>
                  <a:lnTo>
                    <a:pt x="2558" y="2266"/>
                  </a:lnTo>
                  <a:lnTo>
                    <a:pt x="2613" y="2266"/>
                  </a:lnTo>
                  <a:lnTo>
                    <a:pt x="2613" y="1949"/>
                  </a:lnTo>
                  <a:lnTo>
                    <a:pt x="2558" y="1977"/>
                  </a:lnTo>
                  <a:lnTo>
                    <a:pt x="2558" y="2058"/>
                  </a:lnTo>
                  <a:close/>
                  <a:moveTo>
                    <a:pt x="2519" y="2220"/>
                  </a:moveTo>
                  <a:lnTo>
                    <a:pt x="2519" y="2220"/>
                  </a:lnTo>
                  <a:lnTo>
                    <a:pt x="2511" y="2219"/>
                  </a:lnTo>
                  <a:lnTo>
                    <a:pt x="2504" y="2217"/>
                  </a:lnTo>
                  <a:lnTo>
                    <a:pt x="2496" y="2214"/>
                  </a:lnTo>
                  <a:lnTo>
                    <a:pt x="2490" y="2207"/>
                  </a:lnTo>
                  <a:lnTo>
                    <a:pt x="2484" y="2198"/>
                  </a:lnTo>
                  <a:lnTo>
                    <a:pt x="2480" y="2186"/>
                  </a:lnTo>
                  <a:lnTo>
                    <a:pt x="2478" y="2170"/>
                  </a:lnTo>
                  <a:lnTo>
                    <a:pt x="2476" y="2150"/>
                  </a:lnTo>
                  <a:lnTo>
                    <a:pt x="2476" y="2150"/>
                  </a:lnTo>
                  <a:lnTo>
                    <a:pt x="2478" y="2133"/>
                  </a:lnTo>
                  <a:lnTo>
                    <a:pt x="2480" y="2119"/>
                  </a:lnTo>
                  <a:lnTo>
                    <a:pt x="2484" y="2108"/>
                  </a:lnTo>
                  <a:lnTo>
                    <a:pt x="2490" y="2100"/>
                  </a:lnTo>
                  <a:lnTo>
                    <a:pt x="2496" y="2095"/>
                  </a:lnTo>
                  <a:lnTo>
                    <a:pt x="2503" y="2090"/>
                  </a:lnTo>
                  <a:lnTo>
                    <a:pt x="2511" y="2089"/>
                  </a:lnTo>
                  <a:lnTo>
                    <a:pt x="2518" y="2088"/>
                  </a:lnTo>
                  <a:lnTo>
                    <a:pt x="2518" y="2088"/>
                  </a:lnTo>
                  <a:lnTo>
                    <a:pt x="2525" y="2089"/>
                  </a:lnTo>
                  <a:lnTo>
                    <a:pt x="2532" y="2090"/>
                  </a:lnTo>
                  <a:lnTo>
                    <a:pt x="2538" y="2092"/>
                  </a:lnTo>
                  <a:lnTo>
                    <a:pt x="2543" y="2096"/>
                  </a:lnTo>
                  <a:lnTo>
                    <a:pt x="2548" y="2099"/>
                  </a:lnTo>
                  <a:lnTo>
                    <a:pt x="2552" y="2102"/>
                  </a:lnTo>
                  <a:lnTo>
                    <a:pt x="2558" y="2110"/>
                  </a:lnTo>
                  <a:lnTo>
                    <a:pt x="2558" y="2198"/>
                  </a:lnTo>
                  <a:lnTo>
                    <a:pt x="2558" y="2198"/>
                  </a:lnTo>
                  <a:lnTo>
                    <a:pt x="2551" y="2206"/>
                  </a:lnTo>
                  <a:lnTo>
                    <a:pt x="2543" y="2212"/>
                  </a:lnTo>
                  <a:lnTo>
                    <a:pt x="2538" y="2216"/>
                  </a:lnTo>
                  <a:lnTo>
                    <a:pt x="2532" y="2218"/>
                  </a:lnTo>
                  <a:lnTo>
                    <a:pt x="2525" y="2219"/>
                  </a:lnTo>
                  <a:lnTo>
                    <a:pt x="2519" y="2220"/>
                  </a:lnTo>
                  <a:lnTo>
                    <a:pt x="2519" y="2220"/>
                  </a:lnTo>
                  <a:close/>
                  <a:moveTo>
                    <a:pt x="677" y="2105"/>
                  </a:moveTo>
                  <a:lnTo>
                    <a:pt x="677" y="2105"/>
                  </a:lnTo>
                  <a:lnTo>
                    <a:pt x="669" y="2100"/>
                  </a:lnTo>
                  <a:lnTo>
                    <a:pt x="660" y="2096"/>
                  </a:lnTo>
                  <a:lnTo>
                    <a:pt x="650" y="2093"/>
                  </a:lnTo>
                  <a:lnTo>
                    <a:pt x="640" y="2092"/>
                  </a:lnTo>
                  <a:lnTo>
                    <a:pt x="640" y="2092"/>
                  </a:lnTo>
                  <a:lnTo>
                    <a:pt x="631" y="2093"/>
                  </a:lnTo>
                  <a:lnTo>
                    <a:pt x="622" y="2096"/>
                  </a:lnTo>
                  <a:lnTo>
                    <a:pt x="616" y="2100"/>
                  </a:lnTo>
                  <a:lnTo>
                    <a:pt x="610" y="2106"/>
                  </a:lnTo>
                  <a:lnTo>
                    <a:pt x="606" y="2112"/>
                  </a:lnTo>
                  <a:lnTo>
                    <a:pt x="604" y="2121"/>
                  </a:lnTo>
                  <a:lnTo>
                    <a:pt x="601" y="2132"/>
                  </a:lnTo>
                  <a:lnTo>
                    <a:pt x="600" y="2145"/>
                  </a:lnTo>
                  <a:lnTo>
                    <a:pt x="600" y="2266"/>
                  </a:lnTo>
                  <a:lnTo>
                    <a:pt x="546" y="2266"/>
                  </a:lnTo>
                  <a:lnTo>
                    <a:pt x="546" y="2042"/>
                  </a:lnTo>
                  <a:lnTo>
                    <a:pt x="600" y="2042"/>
                  </a:lnTo>
                  <a:lnTo>
                    <a:pt x="600" y="2061"/>
                  </a:lnTo>
                  <a:lnTo>
                    <a:pt x="600" y="2061"/>
                  </a:lnTo>
                  <a:lnTo>
                    <a:pt x="606" y="2056"/>
                  </a:lnTo>
                  <a:lnTo>
                    <a:pt x="611" y="2050"/>
                  </a:lnTo>
                  <a:lnTo>
                    <a:pt x="617" y="2047"/>
                  </a:lnTo>
                  <a:lnTo>
                    <a:pt x="624" y="2043"/>
                  </a:lnTo>
                  <a:lnTo>
                    <a:pt x="629" y="2040"/>
                  </a:lnTo>
                  <a:lnTo>
                    <a:pt x="636" y="2039"/>
                  </a:lnTo>
                  <a:lnTo>
                    <a:pt x="644" y="2038"/>
                  </a:lnTo>
                  <a:lnTo>
                    <a:pt x="650" y="2037"/>
                  </a:lnTo>
                  <a:lnTo>
                    <a:pt x="650" y="2037"/>
                  </a:lnTo>
                  <a:lnTo>
                    <a:pt x="661" y="2038"/>
                  </a:lnTo>
                  <a:lnTo>
                    <a:pt x="672" y="2041"/>
                  </a:lnTo>
                  <a:lnTo>
                    <a:pt x="684" y="2046"/>
                  </a:lnTo>
                  <a:lnTo>
                    <a:pt x="692" y="2051"/>
                  </a:lnTo>
                  <a:lnTo>
                    <a:pt x="677" y="2105"/>
                  </a:lnTo>
                  <a:close/>
                  <a:moveTo>
                    <a:pt x="242" y="2042"/>
                  </a:moveTo>
                  <a:lnTo>
                    <a:pt x="297" y="2042"/>
                  </a:lnTo>
                  <a:lnTo>
                    <a:pt x="233" y="2266"/>
                  </a:lnTo>
                  <a:lnTo>
                    <a:pt x="186" y="2266"/>
                  </a:lnTo>
                  <a:lnTo>
                    <a:pt x="161" y="2174"/>
                  </a:lnTo>
                  <a:lnTo>
                    <a:pt x="161" y="2174"/>
                  </a:lnTo>
                  <a:lnTo>
                    <a:pt x="149" y="2125"/>
                  </a:lnTo>
                  <a:lnTo>
                    <a:pt x="149" y="2125"/>
                  </a:lnTo>
                  <a:lnTo>
                    <a:pt x="143" y="2148"/>
                  </a:lnTo>
                  <a:lnTo>
                    <a:pt x="137" y="2175"/>
                  </a:lnTo>
                  <a:lnTo>
                    <a:pt x="111" y="2266"/>
                  </a:lnTo>
                  <a:lnTo>
                    <a:pt x="63" y="2266"/>
                  </a:lnTo>
                  <a:lnTo>
                    <a:pt x="63" y="2265"/>
                  </a:lnTo>
                  <a:lnTo>
                    <a:pt x="0" y="2042"/>
                  </a:lnTo>
                  <a:lnTo>
                    <a:pt x="58" y="2042"/>
                  </a:lnTo>
                  <a:lnTo>
                    <a:pt x="78" y="2126"/>
                  </a:lnTo>
                  <a:lnTo>
                    <a:pt x="78" y="2126"/>
                  </a:lnTo>
                  <a:lnTo>
                    <a:pt x="83" y="2152"/>
                  </a:lnTo>
                  <a:lnTo>
                    <a:pt x="89" y="2180"/>
                  </a:lnTo>
                  <a:lnTo>
                    <a:pt x="89" y="2180"/>
                  </a:lnTo>
                  <a:lnTo>
                    <a:pt x="96" y="2152"/>
                  </a:lnTo>
                  <a:lnTo>
                    <a:pt x="102" y="2125"/>
                  </a:lnTo>
                  <a:lnTo>
                    <a:pt x="126" y="2042"/>
                  </a:lnTo>
                  <a:lnTo>
                    <a:pt x="173" y="2042"/>
                  </a:lnTo>
                  <a:lnTo>
                    <a:pt x="197" y="2125"/>
                  </a:lnTo>
                  <a:lnTo>
                    <a:pt x="197" y="2125"/>
                  </a:lnTo>
                  <a:lnTo>
                    <a:pt x="203" y="2151"/>
                  </a:lnTo>
                  <a:lnTo>
                    <a:pt x="210" y="2181"/>
                  </a:lnTo>
                  <a:lnTo>
                    <a:pt x="210" y="2181"/>
                  </a:lnTo>
                  <a:lnTo>
                    <a:pt x="215" y="2156"/>
                  </a:lnTo>
                  <a:lnTo>
                    <a:pt x="221" y="2125"/>
                  </a:lnTo>
                  <a:lnTo>
                    <a:pt x="242" y="2042"/>
                  </a:lnTo>
                  <a:close/>
                  <a:moveTo>
                    <a:pt x="409" y="2037"/>
                  </a:moveTo>
                  <a:lnTo>
                    <a:pt x="409" y="2037"/>
                  </a:lnTo>
                  <a:lnTo>
                    <a:pt x="399" y="2038"/>
                  </a:lnTo>
                  <a:lnTo>
                    <a:pt x="388" y="2039"/>
                  </a:lnTo>
                  <a:lnTo>
                    <a:pt x="378" y="2042"/>
                  </a:lnTo>
                  <a:lnTo>
                    <a:pt x="369" y="2046"/>
                  </a:lnTo>
                  <a:lnTo>
                    <a:pt x="360" y="2050"/>
                  </a:lnTo>
                  <a:lnTo>
                    <a:pt x="351" y="2056"/>
                  </a:lnTo>
                  <a:lnTo>
                    <a:pt x="343" y="2062"/>
                  </a:lnTo>
                  <a:lnTo>
                    <a:pt x="337" y="2070"/>
                  </a:lnTo>
                  <a:lnTo>
                    <a:pt x="330" y="2078"/>
                  </a:lnTo>
                  <a:lnTo>
                    <a:pt x="325" y="2087"/>
                  </a:lnTo>
                  <a:lnTo>
                    <a:pt x="319" y="2097"/>
                  </a:lnTo>
                  <a:lnTo>
                    <a:pt x="316" y="2107"/>
                  </a:lnTo>
                  <a:lnTo>
                    <a:pt x="312" y="2118"/>
                  </a:lnTo>
                  <a:lnTo>
                    <a:pt x="310" y="2129"/>
                  </a:lnTo>
                  <a:lnTo>
                    <a:pt x="308" y="2141"/>
                  </a:lnTo>
                  <a:lnTo>
                    <a:pt x="308" y="2155"/>
                  </a:lnTo>
                  <a:lnTo>
                    <a:pt x="308" y="2155"/>
                  </a:lnTo>
                  <a:lnTo>
                    <a:pt x="308" y="2167"/>
                  </a:lnTo>
                  <a:lnTo>
                    <a:pt x="310" y="2179"/>
                  </a:lnTo>
                  <a:lnTo>
                    <a:pt x="312" y="2190"/>
                  </a:lnTo>
                  <a:lnTo>
                    <a:pt x="316" y="2201"/>
                  </a:lnTo>
                  <a:lnTo>
                    <a:pt x="319" y="2211"/>
                  </a:lnTo>
                  <a:lnTo>
                    <a:pt x="325" y="2221"/>
                  </a:lnTo>
                  <a:lnTo>
                    <a:pt x="330" y="2230"/>
                  </a:lnTo>
                  <a:lnTo>
                    <a:pt x="337" y="2238"/>
                  </a:lnTo>
                  <a:lnTo>
                    <a:pt x="343" y="2246"/>
                  </a:lnTo>
                  <a:lnTo>
                    <a:pt x="351" y="2252"/>
                  </a:lnTo>
                  <a:lnTo>
                    <a:pt x="360" y="2258"/>
                  </a:lnTo>
                  <a:lnTo>
                    <a:pt x="369" y="2262"/>
                  </a:lnTo>
                  <a:lnTo>
                    <a:pt x="378" y="2266"/>
                  </a:lnTo>
                  <a:lnTo>
                    <a:pt x="388" y="2269"/>
                  </a:lnTo>
                  <a:lnTo>
                    <a:pt x="399" y="2270"/>
                  </a:lnTo>
                  <a:lnTo>
                    <a:pt x="409" y="2271"/>
                  </a:lnTo>
                  <a:lnTo>
                    <a:pt x="409" y="2271"/>
                  </a:lnTo>
                  <a:lnTo>
                    <a:pt x="420" y="2270"/>
                  </a:lnTo>
                  <a:lnTo>
                    <a:pt x="431" y="2269"/>
                  </a:lnTo>
                  <a:lnTo>
                    <a:pt x="441" y="2266"/>
                  </a:lnTo>
                  <a:lnTo>
                    <a:pt x="450" y="2262"/>
                  </a:lnTo>
                  <a:lnTo>
                    <a:pt x="459" y="2258"/>
                  </a:lnTo>
                  <a:lnTo>
                    <a:pt x="468" y="2252"/>
                  </a:lnTo>
                  <a:lnTo>
                    <a:pt x="476" y="2246"/>
                  </a:lnTo>
                  <a:lnTo>
                    <a:pt x="482" y="2238"/>
                  </a:lnTo>
                  <a:lnTo>
                    <a:pt x="489" y="2230"/>
                  </a:lnTo>
                  <a:lnTo>
                    <a:pt x="495" y="2221"/>
                  </a:lnTo>
                  <a:lnTo>
                    <a:pt x="499" y="2211"/>
                  </a:lnTo>
                  <a:lnTo>
                    <a:pt x="504" y="2201"/>
                  </a:lnTo>
                  <a:lnTo>
                    <a:pt x="507" y="2190"/>
                  </a:lnTo>
                  <a:lnTo>
                    <a:pt x="509" y="2179"/>
                  </a:lnTo>
                  <a:lnTo>
                    <a:pt x="511" y="2167"/>
                  </a:lnTo>
                  <a:lnTo>
                    <a:pt x="511" y="2155"/>
                  </a:lnTo>
                  <a:lnTo>
                    <a:pt x="511" y="2155"/>
                  </a:lnTo>
                  <a:lnTo>
                    <a:pt x="511" y="2141"/>
                  </a:lnTo>
                  <a:lnTo>
                    <a:pt x="509" y="2129"/>
                  </a:lnTo>
                  <a:lnTo>
                    <a:pt x="507" y="2118"/>
                  </a:lnTo>
                  <a:lnTo>
                    <a:pt x="504" y="2107"/>
                  </a:lnTo>
                  <a:lnTo>
                    <a:pt x="499" y="2097"/>
                  </a:lnTo>
                  <a:lnTo>
                    <a:pt x="495" y="2087"/>
                  </a:lnTo>
                  <a:lnTo>
                    <a:pt x="489" y="2078"/>
                  </a:lnTo>
                  <a:lnTo>
                    <a:pt x="482" y="2070"/>
                  </a:lnTo>
                  <a:lnTo>
                    <a:pt x="476" y="2062"/>
                  </a:lnTo>
                  <a:lnTo>
                    <a:pt x="468" y="2056"/>
                  </a:lnTo>
                  <a:lnTo>
                    <a:pt x="459" y="2050"/>
                  </a:lnTo>
                  <a:lnTo>
                    <a:pt x="450" y="2046"/>
                  </a:lnTo>
                  <a:lnTo>
                    <a:pt x="441" y="2042"/>
                  </a:lnTo>
                  <a:lnTo>
                    <a:pt x="431" y="2039"/>
                  </a:lnTo>
                  <a:lnTo>
                    <a:pt x="420" y="2038"/>
                  </a:lnTo>
                  <a:lnTo>
                    <a:pt x="409" y="2037"/>
                  </a:lnTo>
                  <a:lnTo>
                    <a:pt x="409" y="2037"/>
                  </a:lnTo>
                  <a:close/>
                  <a:moveTo>
                    <a:pt x="409" y="2219"/>
                  </a:moveTo>
                  <a:lnTo>
                    <a:pt x="409" y="2219"/>
                  </a:lnTo>
                  <a:lnTo>
                    <a:pt x="399" y="2218"/>
                  </a:lnTo>
                  <a:lnTo>
                    <a:pt x="390" y="2215"/>
                  </a:lnTo>
                  <a:lnTo>
                    <a:pt x="383" y="2209"/>
                  </a:lnTo>
                  <a:lnTo>
                    <a:pt x="377" y="2201"/>
                  </a:lnTo>
                  <a:lnTo>
                    <a:pt x="371" y="2192"/>
                  </a:lnTo>
                  <a:lnTo>
                    <a:pt x="367" y="2181"/>
                  </a:lnTo>
                  <a:lnTo>
                    <a:pt x="365" y="2168"/>
                  </a:lnTo>
                  <a:lnTo>
                    <a:pt x="365" y="2155"/>
                  </a:lnTo>
                  <a:lnTo>
                    <a:pt x="365" y="2155"/>
                  </a:lnTo>
                  <a:lnTo>
                    <a:pt x="365" y="2140"/>
                  </a:lnTo>
                  <a:lnTo>
                    <a:pt x="367" y="2127"/>
                  </a:lnTo>
                  <a:lnTo>
                    <a:pt x="371" y="2117"/>
                  </a:lnTo>
                  <a:lnTo>
                    <a:pt x="377" y="2107"/>
                  </a:lnTo>
                  <a:lnTo>
                    <a:pt x="383" y="2099"/>
                  </a:lnTo>
                  <a:lnTo>
                    <a:pt x="390" y="2093"/>
                  </a:lnTo>
                  <a:lnTo>
                    <a:pt x="399" y="2090"/>
                  </a:lnTo>
                  <a:lnTo>
                    <a:pt x="409" y="2089"/>
                  </a:lnTo>
                  <a:lnTo>
                    <a:pt x="409" y="2089"/>
                  </a:lnTo>
                  <a:lnTo>
                    <a:pt x="419" y="2090"/>
                  </a:lnTo>
                  <a:lnTo>
                    <a:pt x="428" y="2093"/>
                  </a:lnTo>
                  <a:lnTo>
                    <a:pt x="436" y="2099"/>
                  </a:lnTo>
                  <a:lnTo>
                    <a:pt x="442" y="2107"/>
                  </a:lnTo>
                  <a:lnTo>
                    <a:pt x="448" y="2117"/>
                  </a:lnTo>
                  <a:lnTo>
                    <a:pt x="451" y="2127"/>
                  </a:lnTo>
                  <a:lnTo>
                    <a:pt x="453" y="2140"/>
                  </a:lnTo>
                  <a:lnTo>
                    <a:pt x="455" y="2155"/>
                  </a:lnTo>
                  <a:lnTo>
                    <a:pt x="455" y="2155"/>
                  </a:lnTo>
                  <a:lnTo>
                    <a:pt x="453" y="2168"/>
                  </a:lnTo>
                  <a:lnTo>
                    <a:pt x="451" y="2181"/>
                  </a:lnTo>
                  <a:lnTo>
                    <a:pt x="448" y="2192"/>
                  </a:lnTo>
                  <a:lnTo>
                    <a:pt x="442" y="2201"/>
                  </a:lnTo>
                  <a:lnTo>
                    <a:pt x="436" y="2209"/>
                  </a:lnTo>
                  <a:lnTo>
                    <a:pt x="428" y="2215"/>
                  </a:lnTo>
                  <a:lnTo>
                    <a:pt x="419" y="2218"/>
                  </a:lnTo>
                  <a:lnTo>
                    <a:pt x="409" y="2219"/>
                  </a:lnTo>
                  <a:lnTo>
                    <a:pt x="409" y="2219"/>
                  </a:lnTo>
                  <a:close/>
                  <a:moveTo>
                    <a:pt x="2285" y="2105"/>
                  </a:moveTo>
                  <a:lnTo>
                    <a:pt x="2285" y="2105"/>
                  </a:lnTo>
                  <a:lnTo>
                    <a:pt x="2276" y="2100"/>
                  </a:lnTo>
                  <a:lnTo>
                    <a:pt x="2267" y="2096"/>
                  </a:lnTo>
                  <a:lnTo>
                    <a:pt x="2257" y="2093"/>
                  </a:lnTo>
                  <a:lnTo>
                    <a:pt x="2249" y="2092"/>
                  </a:lnTo>
                  <a:lnTo>
                    <a:pt x="2249" y="2092"/>
                  </a:lnTo>
                  <a:lnTo>
                    <a:pt x="2239" y="2093"/>
                  </a:lnTo>
                  <a:lnTo>
                    <a:pt x="2231" y="2096"/>
                  </a:lnTo>
                  <a:lnTo>
                    <a:pt x="2224" y="2100"/>
                  </a:lnTo>
                  <a:lnTo>
                    <a:pt x="2219" y="2106"/>
                  </a:lnTo>
                  <a:lnTo>
                    <a:pt x="2214" y="2112"/>
                  </a:lnTo>
                  <a:lnTo>
                    <a:pt x="2211" y="2121"/>
                  </a:lnTo>
                  <a:lnTo>
                    <a:pt x="2209" y="2132"/>
                  </a:lnTo>
                  <a:lnTo>
                    <a:pt x="2209" y="2145"/>
                  </a:lnTo>
                  <a:lnTo>
                    <a:pt x="2209" y="2266"/>
                  </a:lnTo>
                  <a:lnTo>
                    <a:pt x="2153" y="2266"/>
                  </a:lnTo>
                  <a:lnTo>
                    <a:pt x="2153" y="2042"/>
                  </a:lnTo>
                  <a:lnTo>
                    <a:pt x="2209" y="2042"/>
                  </a:lnTo>
                  <a:lnTo>
                    <a:pt x="2209" y="2061"/>
                  </a:lnTo>
                  <a:lnTo>
                    <a:pt x="2209" y="2061"/>
                  </a:lnTo>
                  <a:lnTo>
                    <a:pt x="2213" y="2056"/>
                  </a:lnTo>
                  <a:lnTo>
                    <a:pt x="2219" y="2050"/>
                  </a:lnTo>
                  <a:lnTo>
                    <a:pt x="2224" y="2047"/>
                  </a:lnTo>
                  <a:lnTo>
                    <a:pt x="2231" y="2043"/>
                  </a:lnTo>
                  <a:lnTo>
                    <a:pt x="2237" y="2040"/>
                  </a:lnTo>
                  <a:lnTo>
                    <a:pt x="2244" y="2039"/>
                  </a:lnTo>
                  <a:lnTo>
                    <a:pt x="2251" y="2038"/>
                  </a:lnTo>
                  <a:lnTo>
                    <a:pt x="2257" y="2037"/>
                  </a:lnTo>
                  <a:lnTo>
                    <a:pt x="2257" y="2037"/>
                  </a:lnTo>
                  <a:lnTo>
                    <a:pt x="2269" y="2038"/>
                  </a:lnTo>
                  <a:lnTo>
                    <a:pt x="2280" y="2041"/>
                  </a:lnTo>
                  <a:lnTo>
                    <a:pt x="2291" y="2046"/>
                  </a:lnTo>
                  <a:lnTo>
                    <a:pt x="2300" y="2051"/>
                  </a:lnTo>
                  <a:lnTo>
                    <a:pt x="2285" y="2105"/>
                  </a:lnTo>
                  <a:close/>
                  <a:moveTo>
                    <a:pt x="1850" y="2042"/>
                  </a:moveTo>
                  <a:lnTo>
                    <a:pt x="1904" y="2042"/>
                  </a:lnTo>
                  <a:lnTo>
                    <a:pt x="1841" y="2266"/>
                  </a:lnTo>
                  <a:lnTo>
                    <a:pt x="1793" y="2266"/>
                  </a:lnTo>
                  <a:lnTo>
                    <a:pt x="1768" y="2174"/>
                  </a:lnTo>
                  <a:lnTo>
                    <a:pt x="1768" y="2174"/>
                  </a:lnTo>
                  <a:lnTo>
                    <a:pt x="1756" y="2125"/>
                  </a:lnTo>
                  <a:lnTo>
                    <a:pt x="1756" y="2125"/>
                  </a:lnTo>
                  <a:lnTo>
                    <a:pt x="1751" y="2148"/>
                  </a:lnTo>
                  <a:lnTo>
                    <a:pt x="1744" y="2175"/>
                  </a:lnTo>
                  <a:lnTo>
                    <a:pt x="1720" y="2266"/>
                  </a:lnTo>
                  <a:lnTo>
                    <a:pt x="1672" y="2266"/>
                  </a:lnTo>
                  <a:lnTo>
                    <a:pt x="1671" y="2265"/>
                  </a:lnTo>
                  <a:lnTo>
                    <a:pt x="1608" y="2042"/>
                  </a:lnTo>
                  <a:lnTo>
                    <a:pt x="1665" y="2042"/>
                  </a:lnTo>
                  <a:lnTo>
                    <a:pt x="1686" y="2126"/>
                  </a:lnTo>
                  <a:lnTo>
                    <a:pt x="1686" y="2126"/>
                  </a:lnTo>
                  <a:lnTo>
                    <a:pt x="1692" y="2152"/>
                  </a:lnTo>
                  <a:lnTo>
                    <a:pt x="1697" y="2180"/>
                  </a:lnTo>
                  <a:lnTo>
                    <a:pt x="1697" y="2180"/>
                  </a:lnTo>
                  <a:lnTo>
                    <a:pt x="1703" y="2152"/>
                  </a:lnTo>
                  <a:lnTo>
                    <a:pt x="1711" y="2125"/>
                  </a:lnTo>
                  <a:lnTo>
                    <a:pt x="1734" y="2042"/>
                  </a:lnTo>
                  <a:lnTo>
                    <a:pt x="1781" y="2042"/>
                  </a:lnTo>
                  <a:lnTo>
                    <a:pt x="1804" y="2125"/>
                  </a:lnTo>
                  <a:lnTo>
                    <a:pt x="1804" y="2125"/>
                  </a:lnTo>
                  <a:lnTo>
                    <a:pt x="1811" y="2151"/>
                  </a:lnTo>
                  <a:lnTo>
                    <a:pt x="1817" y="2181"/>
                  </a:lnTo>
                  <a:lnTo>
                    <a:pt x="1817" y="2181"/>
                  </a:lnTo>
                  <a:lnTo>
                    <a:pt x="1823" y="2156"/>
                  </a:lnTo>
                  <a:lnTo>
                    <a:pt x="1830" y="2125"/>
                  </a:lnTo>
                  <a:lnTo>
                    <a:pt x="1850" y="2042"/>
                  </a:lnTo>
                  <a:close/>
                  <a:moveTo>
                    <a:pt x="2016" y="2037"/>
                  </a:moveTo>
                  <a:lnTo>
                    <a:pt x="2016" y="2037"/>
                  </a:lnTo>
                  <a:lnTo>
                    <a:pt x="2006" y="2038"/>
                  </a:lnTo>
                  <a:lnTo>
                    <a:pt x="1995" y="2039"/>
                  </a:lnTo>
                  <a:lnTo>
                    <a:pt x="1985" y="2042"/>
                  </a:lnTo>
                  <a:lnTo>
                    <a:pt x="1976" y="2046"/>
                  </a:lnTo>
                  <a:lnTo>
                    <a:pt x="1967" y="2050"/>
                  </a:lnTo>
                  <a:lnTo>
                    <a:pt x="1958" y="2057"/>
                  </a:lnTo>
                  <a:lnTo>
                    <a:pt x="1951" y="2062"/>
                  </a:lnTo>
                  <a:lnTo>
                    <a:pt x="1944" y="2070"/>
                  </a:lnTo>
                  <a:lnTo>
                    <a:pt x="1937" y="2078"/>
                  </a:lnTo>
                  <a:lnTo>
                    <a:pt x="1932" y="2087"/>
                  </a:lnTo>
                  <a:lnTo>
                    <a:pt x="1926" y="2097"/>
                  </a:lnTo>
                  <a:lnTo>
                    <a:pt x="1923" y="2107"/>
                  </a:lnTo>
                  <a:lnTo>
                    <a:pt x="1920" y="2118"/>
                  </a:lnTo>
                  <a:lnTo>
                    <a:pt x="1916" y="2130"/>
                  </a:lnTo>
                  <a:lnTo>
                    <a:pt x="1915" y="2141"/>
                  </a:lnTo>
                  <a:lnTo>
                    <a:pt x="1915" y="2155"/>
                  </a:lnTo>
                  <a:lnTo>
                    <a:pt x="1915" y="2155"/>
                  </a:lnTo>
                  <a:lnTo>
                    <a:pt x="1915" y="2167"/>
                  </a:lnTo>
                  <a:lnTo>
                    <a:pt x="1916" y="2179"/>
                  </a:lnTo>
                  <a:lnTo>
                    <a:pt x="1920" y="2190"/>
                  </a:lnTo>
                  <a:lnTo>
                    <a:pt x="1923" y="2201"/>
                  </a:lnTo>
                  <a:lnTo>
                    <a:pt x="1926" y="2211"/>
                  </a:lnTo>
                  <a:lnTo>
                    <a:pt x="1932" y="2221"/>
                  </a:lnTo>
                  <a:lnTo>
                    <a:pt x="1937" y="2230"/>
                  </a:lnTo>
                  <a:lnTo>
                    <a:pt x="1944" y="2238"/>
                  </a:lnTo>
                  <a:lnTo>
                    <a:pt x="1951" y="2246"/>
                  </a:lnTo>
                  <a:lnTo>
                    <a:pt x="1958" y="2252"/>
                  </a:lnTo>
                  <a:lnTo>
                    <a:pt x="1967" y="2258"/>
                  </a:lnTo>
                  <a:lnTo>
                    <a:pt x="1976" y="2262"/>
                  </a:lnTo>
                  <a:lnTo>
                    <a:pt x="1985" y="2266"/>
                  </a:lnTo>
                  <a:lnTo>
                    <a:pt x="1995" y="2269"/>
                  </a:lnTo>
                  <a:lnTo>
                    <a:pt x="2006" y="2270"/>
                  </a:lnTo>
                  <a:lnTo>
                    <a:pt x="2016" y="2271"/>
                  </a:lnTo>
                  <a:lnTo>
                    <a:pt x="2016" y="2271"/>
                  </a:lnTo>
                  <a:lnTo>
                    <a:pt x="2027" y="2270"/>
                  </a:lnTo>
                  <a:lnTo>
                    <a:pt x="2039" y="2269"/>
                  </a:lnTo>
                  <a:lnTo>
                    <a:pt x="2049" y="2266"/>
                  </a:lnTo>
                  <a:lnTo>
                    <a:pt x="2057" y="2262"/>
                  </a:lnTo>
                  <a:lnTo>
                    <a:pt x="2066" y="2258"/>
                  </a:lnTo>
                  <a:lnTo>
                    <a:pt x="2075" y="2252"/>
                  </a:lnTo>
                  <a:lnTo>
                    <a:pt x="2083" y="2246"/>
                  </a:lnTo>
                  <a:lnTo>
                    <a:pt x="2090" y="2238"/>
                  </a:lnTo>
                  <a:lnTo>
                    <a:pt x="2096" y="2230"/>
                  </a:lnTo>
                  <a:lnTo>
                    <a:pt x="2102" y="2221"/>
                  </a:lnTo>
                  <a:lnTo>
                    <a:pt x="2106" y="2211"/>
                  </a:lnTo>
                  <a:lnTo>
                    <a:pt x="2111" y="2201"/>
                  </a:lnTo>
                  <a:lnTo>
                    <a:pt x="2114" y="2190"/>
                  </a:lnTo>
                  <a:lnTo>
                    <a:pt x="2116" y="2179"/>
                  </a:lnTo>
                  <a:lnTo>
                    <a:pt x="2119" y="2167"/>
                  </a:lnTo>
                  <a:lnTo>
                    <a:pt x="2119" y="2155"/>
                  </a:lnTo>
                  <a:lnTo>
                    <a:pt x="2119" y="2155"/>
                  </a:lnTo>
                  <a:lnTo>
                    <a:pt x="2119" y="2141"/>
                  </a:lnTo>
                  <a:lnTo>
                    <a:pt x="2116" y="2130"/>
                  </a:lnTo>
                  <a:lnTo>
                    <a:pt x="2114" y="2118"/>
                  </a:lnTo>
                  <a:lnTo>
                    <a:pt x="2111" y="2107"/>
                  </a:lnTo>
                  <a:lnTo>
                    <a:pt x="2106" y="2097"/>
                  </a:lnTo>
                  <a:lnTo>
                    <a:pt x="2102" y="2087"/>
                  </a:lnTo>
                  <a:lnTo>
                    <a:pt x="2096" y="2078"/>
                  </a:lnTo>
                  <a:lnTo>
                    <a:pt x="2090" y="2070"/>
                  </a:lnTo>
                  <a:lnTo>
                    <a:pt x="2083" y="2062"/>
                  </a:lnTo>
                  <a:lnTo>
                    <a:pt x="2075" y="2057"/>
                  </a:lnTo>
                  <a:lnTo>
                    <a:pt x="2066" y="2050"/>
                  </a:lnTo>
                  <a:lnTo>
                    <a:pt x="2057" y="2046"/>
                  </a:lnTo>
                  <a:lnTo>
                    <a:pt x="2049" y="2042"/>
                  </a:lnTo>
                  <a:lnTo>
                    <a:pt x="2039" y="2039"/>
                  </a:lnTo>
                  <a:lnTo>
                    <a:pt x="2027" y="2038"/>
                  </a:lnTo>
                  <a:lnTo>
                    <a:pt x="2016" y="2037"/>
                  </a:lnTo>
                  <a:lnTo>
                    <a:pt x="2016" y="2037"/>
                  </a:lnTo>
                  <a:close/>
                  <a:moveTo>
                    <a:pt x="2016" y="2219"/>
                  </a:moveTo>
                  <a:lnTo>
                    <a:pt x="2016" y="2219"/>
                  </a:lnTo>
                  <a:lnTo>
                    <a:pt x="2006" y="2218"/>
                  </a:lnTo>
                  <a:lnTo>
                    <a:pt x="1998" y="2215"/>
                  </a:lnTo>
                  <a:lnTo>
                    <a:pt x="1991" y="2209"/>
                  </a:lnTo>
                  <a:lnTo>
                    <a:pt x="1984" y="2201"/>
                  </a:lnTo>
                  <a:lnTo>
                    <a:pt x="1978" y="2192"/>
                  </a:lnTo>
                  <a:lnTo>
                    <a:pt x="1974" y="2181"/>
                  </a:lnTo>
                  <a:lnTo>
                    <a:pt x="1972" y="2168"/>
                  </a:lnTo>
                  <a:lnTo>
                    <a:pt x="1972" y="2155"/>
                  </a:lnTo>
                  <a:lnTo>
                    <a:pt x="1972" y="2155"/>
                  </a:lnTo>
                  <a:lnTo>
                    <a:pt x="1972" y="2140"/>
                  </a:lnTo>
                  <a:lnTo>
                    <a:pt x="1974" y="2128"/>
                  </a:lnTo>
                  <a:lnTo>
                    <a:pt x="1978" y="2117"/>
                  </a:lnTo>
                  <a:lnTo>
                    <a:pt x="1984" y="2107"/>
                  </a:lnTo>
                  <a:lnTo>
                    <a:pt x="1991" y="2099"/>
                  </a:lnTo>
                  <a:lnTo>
                    <a:pt x="1998" y="2093"/>
                  </a:lnTo>
                  <a:lnTo>
                    <a:pt x="2006" y="2090"/>
                  </a:lnTo>
                  <a:lnTo>
                    <a:pt x="2016" y="2089"/>
                  </a:lnTo>
                  <a:lnTo>
                    <a:pt x="2016" y="2089"/>
                  </a:lnTo>
                  <a:lnTo>
                    <a:pt x="2026" y="2090"/>
                  </a:lnTo>
                  <a:lnTo>
                    <a:pt x="2035" y="2093"/>
                  </a:lnTo>
                  <a:lnTo>
                    <a:pt x="2043" y="2099"/>
                  </a:lnTo>
                  <a:lnTo>
                    <a:pt x="2050" y="2107"/>
                  </a:lnTo>
                  <a:lnTo>
                    <a:pt x="2055" y="2117"/>
                  </a:lnTo>
                  <a:lnTo>
                    <a:pt x="2059" y="2128"/>
                  </a:lnTo>
                  <a:lnTo>
                    <a:pt x="2061" y="2140"/>
                  </a:lnTo>
                  <a:lnTo>
                    <a:pt x="2062" y="2155"/>
                  </a:lnTo>
                  <a:lnTo>
                    <a:pt x="2062" y="2155"/>
                  </a:lnTo>
                  <a:lnTo>
                    <a:pt x="2061" y="2168"/>
                  </a:lnTo>
                  <a:lnTo>
                    <a:pt x="2059" y="2181"/>
                  </a:lnTo>
                  <a:lnTo>
                    <a:pt x="2055" y="2192"/>
                  </a:lnTo>
                  <a:lnTo>
                    <a:pt x="2050" y="2201"/>
                  </a:lnTo>
                  <a:lnTo>
                    <a:pt x="2043" y="2209"/>
                  </a:lnTo>
                  <a:lnTo>
                    <a:pt x="2035" y="2215"/>
                  </a:lnTo>
                  <a:lnTo>
                    <a:pt x="2026" y="2218"/>
                  </a:lnTo>
                  <a:lnTo>
                    <a:pt x="2016" y="2219"/>
                  </a:lnTo>
                  <a:lnTo>
                    <a:pt x="2016" y="2219"/>
                  </a:lnTo>
                  <a:close/>
                  <a:moveTo>
                    <a:pt x="843" y="2116"/>
                  </a:moveTo>
                  <a:lnTo>
                    <a:pt x="910" y="2266"/>
                  </a:lnTo>
                  <a:lnTo>
                    <a:pt x="849" y="2266"/>
                  </a:lnTo>
                  <a:lnTo>
                    <a:pt x="803" y="2162"/>
                  </a:lnTo>
                  <a:lnTo>
                    <a:pt x="772" y="2199"/>
                  </a:lnTo>
                  <a:lnTo>
                    <a:pt x="772" y="2266"/>
                  </a:lnTo>
                  <a:lnTo>
                    <a:pt x="718" y="2266"/>
                  </a:lnTo>
                  <a:lnTo>
                    <a:pt x="718" y="1977"/>
                  </a:lnTo>
                  <a:lnTo>
                    <a:pt x="772" y="1949"/>
                  </a:lnTo>
                  <a:lnTo>
                    <a:pt x="772" y="2128"/>
                  </a:lnTo>
                  <a:lnTo>
                    <a:pt x="772" y="2128"/>
                  </a:lnTo>
                  <a:lnTo>
                    <a:pt x="794" y="2099"/>
                  </a:lnTo>
                  <a:lnTo>
                    <a:pt x="838" y="2042"/>
                  </a:lnTo>
                  <a:lnTo>
                    <a:pt x="903" y="2042"/>
                  </a:lnTo>
                  <a:lnTo>
                    <a:pt x="843" y="2116"/>
                  </a:lnTo>
                  <a:close/>
                  <a:moveTo>
                    <a:pt x="1105" y="2266"/>
                  </a:moveTo>
                  <a:lnTo>
                    <a:pt x="1049" y="2266"/>
                  </a:lnTo>
                  <a:lnTo>
                    <a:pt x="1049" y="2042"/>
                  </a:lnTo>
                  <a:lnTo>
                    <a:pt x="1105" y="2042"/>
                  </a:lnTo>
                  <a:lnTo>
                    <a:pt x="1105" y="2061"/>
                  </a:lnTo>
                  <a:lnTo>
                    <a:pt x="1105" y="2061"/>
                  </a:lnTo>
                  <a:lnTo>
                    <a:pt x="1110" y="2056"/>
                  </a:lnTo>
                  <a:lnTo>
                    <a:pt x="1116" y="2051"/>
                  </a:lnTo>
                  <a:lnTo>
                    <a:pt x="1123" y="2047"/>
                  </a:lnTo>
                  <a:lnTo>
                    <a:pt x="1129" y="2043"/>
                  </a:lnTo>
                  <a:lnTo>
                    <a:pt x="1137" y="2041"/>
                  </a:lnTo>
                  <a:lnTo>
                    <a:pt x="1145" y="2039"/>
                  </a:lnTo>
                  <a:lnTo>
                    <a:pt x="1153" y="2038"/>
                  </a:lnTo>
                  <a:lnTo>
                    <a:pt x="1162" y="2037"/>
                  </a:lnTo>
                  <a:lnTo>
                    <a:pt x="1162" y="2037"/>
                  </a:lnTo>
                  <a:lnTo>
                    <a:pt x="1172" y="2038"/>
                  </a:lnTo>
                  <a:lnTo>
                    <a:pt x="1180" y="2039"/>
                  </a:lnTo>
                  <a:lnTo>
                    <a:pt x="1188" y="2041"/>
                  </a:lnTo>
                  <a:lnTo>
                    <a:pt x="1197" y="2043"/>
                  </a:lnTo>
                  <a:lnTo>
                    <a:pt x="1204" y="2048"/>
                  </a:lnTo>
                  <a:lnTo>
                    <a:pt x="1210" y="2052"/>
                  </a:lnTo>
                  <a:lnTo>
                    <a:pt x="1217" y="2057"/>
                  </a:lnTo>
                  <a:lnTo>
                    <a:pt x="1223" y="2063"/>
                  </a:lnTo>
                  <a:lnTo>
                    <a:pt x="1227" y="2070"/>
                  </a:lnTo>
                  <a:lnTo>
                    <a:pt x="1232" y="2078"/>
                  </a:lnTo>
                  <a:lnTo>
                    <a:pt x="1235" y="2086"/>
                  </a:lnTo>
                  <a:lnTo>
                    <a:pt x="1238" y="2096"/>
                  </a:lnTo>
                  <a:lnTo>
                    <a:pt x="1240" y="2106"/>
                  </a:lnTo>
                  <a:lnTo>
                    <a:pt x="1242" y="2116"/>
                  </a:lnTo>
                  <a:lnTo>
                    <a:pt x="1243" y="2127"/>
                  </a:lnTo>
                  <a:lnTo>
                    <a:pt x="1244" y="2139"/>
                  </a:lnTo>
                  <a:lnTo>
                    <a:pt x="1244" y="2266"/>
                  </a:lnTo>
                  <a:lnTo>
                    <a:pt x="1188" y="2266"/>
                  </a:lnTo>
                  <a:lnTo>
                    <a:pt x="1188" y="2142"/>
                  </a:lnTo>
                  <a:lnTo>
                    <a:pt x="1188" y="2142"/>
                  </a:lnTo>
                  <a:lnTo>
                    <a:pt x="1187" y="2130"/>
                  </a:lnTo>
                  <a:lnTo>
                    <a:pt x="1186" y="2118"/>
                  </a:lnTo>
                  <a:lnTo>
                    <a:pt x="1183" y="2109"/>
                  </a:lnTo>
                  <a:lnTo>
                    <a:pt x="1178" y="2101"/>
                  </a:lnTo>
                  <a:lnTo>
                    <a:pt x="1173" y="2096"/>
                  </a:lnTo>
                  <a:lnTo>
                    <a:pt x="1166" y="2091"/>
                  </a:lnTo>
                  <a:lnTo>
                    <a:pt x="1157" y="2089"/>
                  </a:lnTo>
                  <a:lnTo>
                    <a:pt x="1147" y="2088"/>
                  </a:lnTo>
                  <a:lnTo>
                    <a:pt x="1147" y="2088"/>
                  </a:lnTo>
                  <a:lnTo>
                    <a:pt x="1138" y="2089"/>
                  </a:lnTo>
                  <a:lnTo>
                    <a:pt x="1129" y="2091"/>
                  </a:lnTo>
                  <a:lnTo>
                    <a:pt x="1122" y="2096"/>
                  </a:lnTo>
                  <a:lnTo>
                    <a:pt x="1116" y="2102"/>
                  </a:lnTo>
                  <a:lnTo>
                    <a:pt x="1112" y="2109"/>
                  </a:lnTo>
                  <a:lnTo>
                    <a:pt x="1108" y="2119"/>
                  </a:lnTo>
                  <a:lnTo>
                    <a:pt x="1106" y="2130"/>
                  </a:lnTo>
                  <a:lnTo>
                    <a:pt x="1105" y="2142"/>
                  </a:lnTo>
                  <a:lnTo>
                    <a:pt x="1105" y="2266"/>
                  </a:lnTo>
                  <a:close/>
                  <a:moveTo>
                    <a:pt x="1418" y="2058"/>
                  </a:moveTo>
                  <a:lnTo>
                    <a:pt x="1418" y="2058"/>
                  </a:lnTo>
                  <a:lnTo>
                    <a:pt x="1413" y="2053"/>
                  </a:lnTo>
                  <a:lnTo>
                    <a:pt x="1407" y="2049"/>
                  </a:lnTo>
                  <a:lnTo>
                    <a:pt x="1402" y="2046"/>
                  </a:lnTo>
                  <a:lnTo>
                    <a:pt x="1395" y="2042"/>
                  </a:lnTo>
                  <a:lnTo>
                    <a:pt x="1388" y="2040"/>
                  </a:lnTo>
                  <a:lnTo>
                    <a:pt x="1382" y="2039"/>
                  </a:lnTo>
                  <a:lnTo>
                    <a:pt x="1375" y="2038"/>
                  </a:lnTo>
                  <a:lnTo>
                    <a:pt x="1368" y="2037"/>
                  </a:lnTo>
                  <a:lnTo>
                    <a:pt x="1368" y="2037"/>
                  </a:lnTo>
                  <a:lnTo>
                    <a:pt x="1358" y="2038"/>
                  </a:lnTo>
                  <a:lnTo>
                    <a:pt x="1349" y="2039"/>
                  </a:lnTo>
                  <a:lnTo>
                    <a:pt x="1340" y="2041"/>
                  </a:lnTo>
                  <a:lnTo>
                    <a:pt x="1332" y="2046"/>
                  </a:lnTo>
                  <a:lnTo>
                    <a:pt x="1324" y="2049"/>
                  </a:lnTo>
                  <a:lnTo>
                    <a:pt x="1317" y="2055"/>
                  </a:lnTo>
                  <a:lnTo>
                    <a:pt x="1310" y="2061"/>
                  </a:lnTo>
                  <a:lnTo>
                    <a:pt x="1304" y="2068"/>
                  </a:lnTo>
                  <a:lnTo>
                    <a:pt x="1298" y="2076"/>
                  </a:lnTo>
                  <a:lnTo>
                    <a:pt x="1294" y="2085"/>
                  </a:lnTo>
                  <a:lnTo>
                    <a:pt x="1289" y="2093"/>
                  </a:lnTo>
                  <a:lnTo>
                    <a:pt x="1286" y="2105"/>
                  </a:lnTo>
                  <a:lnTo>
                    <a:pt x="1284" y="2115"/>
                  </a:lnTo>
                  <a:lnTo>
                    <a:pt x="1282" y="2127"/>
                  </a:lnTo>
                  <a:lnTo>
                    <a:pt x="1280" y="2139"/>
                  </a:lnTo>
                  <a:lnTo>
                    <a:pt x="1280" y="2151"/>
                  </a:lnTo>
                  <a:lnTo>
                    <a:pt x="1280" y="2151"/>
                  </a:lnTo>
                  <a:lnTo>
                    <a:pt x="1280" y="2166"/>
                  </a:lnTo>
                  <a:lnTo>
                    <a:pt x="1282" y="2178"/>
                  </a:lnTo>
                  <a:lnTo>
                    <a:pt x="1284" y="2190"/>
                  </a:lnTo>
                  <a:lnTo>
                    <a:pt x="1286" y="2202"/>
                  </a:lnTo>
                  <a:lnTo>
                    <a:pt x="1289" y="2212"/>
                  </a:lnTo>
                  <a:lnTo>
                    <a:pt x="1294" y="2222"/>
                  </a:lnTo>
                  <a:lnTo>
                    <a:pt x="1298" y="2231"/>
                  </a:lnTo>
                  <a:lnTo>
                    <a:pt x="1304" y="2239"/>
                  </a:lnTo>
                  <a:lnTo>
                    <a:pt x="1309" y="2247"/>
                  </a:lnTo>
                  <a:lnTo>
                    <a:pt x="1316" y="2252"/>
                  </a:lnTo>
                  <a:lnTo>
                    <a:pt x="1323" y="2258"/>
                  </a:lnTo>
                  <a:lnTo>
                    <a:pt x="1330" y="2262"/>
                  </a:lnTo>
                  <a:lnTo>
                    <a:pt x="1339" y="2266"/>
                  </a:lnTo>
                  <a:lnTo>
                    <a:pt x="1348" y="2269"/>
                  </a:lnTo>
                  <a:lnTo>
                    <a:pt x="1357" y="2270"/>
                  </a:lnTo>
                  <a:lnTo>
                    <a:pt x="1367" y="2271"/>
                  </a:lnTo>
                  <a:lnTo>
                    <a:pt x="1367" y="2271"/>
                  </a:lnTo>
                  <a:lnTo>
                    <a:pt x="1374" y="2270"/>
                  </a:lnTo>
                  <a:lnTo>
                    <a:pt x="1382" y="2269"/>
                  </a:lnTo>
                  <a:lnTo>
                    <a:pt x="1388" y="2268"/>
                  </a:lnTo>
                  <a:lnTo>
                    <a:pt x="1395" y="2266"/>
                  </a:lnTo>
                  <a:lnTo>
                    <a:pt x="1401" y="2262"/>
                  </a:lnTo>
                  <a:lnTo>
                    <a:pt x="1407" y="2259"/>
                  </a:lnTo>
                  <a:lnTo>
                    <a:pt x="1413" y="2255"/>
                  </a:lnTo>
                  <a:lnTo>
                    <a:pt x="1418" y="2249"/>
                  </a:lnTo>
                  <a:lnTo>
                    <a:pt x="1418" y="2255"/>
                  </a:lnTo>
                  <a:lnTo>
                    <a:pt x="1418" y="2255"/>
                  </a:lnTo>
                  <a:lnTo>
                    <a:pt x="1418" y="2264"/>
                  </a:lnTo>
                  <a:lnTo>
                    <a:pt x="1417" y="2274"/>
                  </a:lnTo>
                  <a:lnTo>
                    <a:pt x="1414" y="2284"/>
                  </a:lnTo>
                  <a:lnTo>
                    <a:pt x="1412" y="2288"/>
                  </a:lnTo>
                  <a:lnTo>
                    <a:pt x="1409" y="2293"/>
                  </a:lnTo>
                  <a:lnTo>
                    <a:pt x="1405" y="2297"/>
                  </a:lnTo>
                  <a:lnTo>
                    <a:pt x="1401" y="2301"/>
                  </a:lnTo>
                  <a:lnTo>
                    <a:pt x="1395" y="2305"/>
                  </a:lnTo>
                  <a:lnTo>
                    <a:pt x="1388" y="2308"/>
                  </a:lnTo>
                  <a:lnTo>
                    <a:pt x="1379" y="2310"/>
                  </a:lnTo>
                  <a:lnTo>
                    <a:pt x="1370" y="2313"/>
                  </a:lnTo>
                  <a:lnTo>
                    <a:pt x="1359" y="2314"/>
                  </a:lnTo>
                  <a:lnTo>
                    <a:pt x="1346" y="2314"/>
                  </a:lnTo>
                  <a:lnTo>
                    <a:pt x="1344" y="2314"/>
                  </a:lnTo>
                  <a:lnTo>
                    <a:pt x="1364" y="2357"/>
                  </a:lnTo>
                  <a:lnTo>
                    <a:pt x="1365" y="2357"/>
                  </a:lnTo>
                  <a:lnTo>
                    <a:pt x="1365" y="2357"/>
                  </a:lnTo>
                  <a:lnTo>
                    <a:pt x="1378" y="2357"/>
                  </a:lnTo>
                  <a:lnTo>
                    <a:pt x="1390" y="2356"/>
                  </a:lnTo>
                  <a:lnTo>
                    <a:pt x="1402" y="2353"/>
                  </a:lnTo>
                  <a:lnTo>
                    <a:pt x="1413" y="2350"/>
                  </a:lnTo>
                  <a:lnTo>
                    <a:pt x="1423" y="2346"/>
                  </a:lnTo>
                  <a:lnTo>
                    <a:pt x="1432" y="2341"/>
                  </a:lnTo>
                  <a:lnTo>
                    <a:pt x="1439" y="2336"/>
                  </a:lnTo>
                  <a:lnTo>
                    <a:pt x="1446" y="2329"/>
                  </a:lnTo>
                  <a:lnTo>
                    <a:pt x="1453" y="2321"/>
                  </a:lnTo>
                  <a:lnTo>
                    <a:pt x="1458" y="2314"/>
                  </a:lnTo>
                  <a:lnTo>
                    <a:pt x="1463" y="2304"/>
                  </a:lnTo>
                  <a:lnTo>
                    <a:pt x="1466" y="2294"/>
                  </a:lnTo>
                  <a:lnTo>
                    <a:pt x="1469" y="2284"/>
                  </a:lnTo>
                  <a:lnTo>
                    <a:pt x="1472" y="2271"/>
                  </a:lnTo>
                  <a:lnTo>
                    <a:pt x="1473" y="2259"/>
                  </a:lnTo>
                  <a:lnTo>
                    <a:pt x="1473" y="2246"/>
                  </a:lnTo>
                  <a:lnTo>
                    <a:pt x="1473" y="2042"/>
                  </a:lnTo>
                  <a:lnTo>
                    <a:pt x="1418" y="2042"/>
                  </a:lnTo>
                  <a:lnTo>
                    <a:pt x="1418" y="2058"/>
                  </a:lnTo>
                  <a:close/>
                  <a:moveTo>
                    <a:pt x="1418" y="2110"/>
                  </a:moveTo>
                  <a:lnTo>
                    <a:pt x="1418" y="2198"/>
                  </a:lnTo>
                  <a:lnTo>
                    <a:pt x="1418" y="2198"/>
                  </a:lnTo>
                  <a:lnTo>
                    <a:pt x="1411" y="2206"/>
                  </a:lnTo>
                  <a:lnTo>
                    <a:pt x="1403" y="2214"/>
                  </a:lnTo>
                  <a:lnTo>
                    <a:pt x="1397" y="2216"/>
                  </a:lnTo>
                  <a:lnTo>
                    <a:pt x="1392" y="2218"/>
                  </a:lnTo>
                  <a:lnTo>
                    <a:pt x="1386" y="2219"/>
                  </a:lnTo>
                  <a:lnTo>
                    <a:pt x="1378" y="2220"/>
                  </a:lnTo>
                  <a:lnTo>
                    <a:pt x="1378" y="2220"/>
                  </a:lnTo>
                  <a:lnTo>
                    <a:pt x="1372" y="2219"/>
                  </a:lnTo>
                  <a:lnTo>
                    <a:pt x="1364" y="2217"/>
                  </a:lnTo>
                  <a:lnTo>
                    <a:pt x="1357" y="2214"/>
                  </a:lnTo>
                  <a:lnTo>
                    <a:pt x="1350" y="2207"/>
                  </a:lnTo>
                  <a:lnTo>
                    <a:pt x="1345" y="2198"/>
                  </a:lnTo>
                  <a:lnTo>
                    <a:pt x="1340" y="2186"/>
                  </a:lnTo>
                  <a:lnTo>
                    <a:pt x="1338" y="2170"/>
                  </a:lnTo>
                  <a:lnTo>
                    <a:pt x="1337" y="2150"/>
                  </a:lnTo>
                  <a:lnTo>
                    <a:pt x="1337" y="2150"/>
                  </a:lnTo>
                  <a:lnTo>
                    <a:pt x="1338" y="2133"/>
                  </a:lnTo>
                  <a:lnTo>
                    <a:pt x="1340" y="2119"/>
                  </a:lnTo>
                  <a:lnTo>
                    <a:pt x="1345" y="2108"/>
                  </a:lnTo>
                  <a:lnTo>
                    <a:pt x="1350" y="2100"/>
                  </a:lnTo>
                  <a:lnTo>
                    <a:pt x="1357" y="2095"/>
                  </a:lnTo>
                  <a:lnTo>
                    <a:pt x="1364" y="2090"/>
                  </a:lnTo>
                  <a:lnTo>
                    <a:pt x="1372" y="2089"/>
                  </a:lnTo>
                  <a:lnTo>
                    <a:pt x="1378" y="2088"/>
                  </a:lnTo>
                  <a:lnTo>
                    <a:pt x="1378" y="2088"/>
                  </a:lnTo>
                  <a:lnTo>
                    <a:pt x="1386" y="2089"/>
                  </a:lnTo>
                  <a:lnTo>
                    <a:pt x="1393" y="2090"/>
                  </a:lnTo>
                  <a:lnTo>
                    <a:pt x="1398" y="2092"/>
                  </a:lnTo>
                  <a:lnTo>
                    <a:pt x="1404" y="2096"/>
                  </a:lnTo>
                  <a:lnTo>
                    <a:pt x="1408" y="2099"/>
                  </a:lnTo>
                  <a:lnTo>
                    <a:pt x="1412" y="2102"/>
                  </a:lnTo>
                  <a:lnTo>
                    <a:pt x="1418" y="2110"/>
                  </a:lnTo>
                  <a:lnTo>
                    <a:pt x="1418" y="2110"/>
                  </a:lnTo>
                  <a:close/>
                  <a:moveTo>
                    <a:pt x="945" y="2042"/>
                  </a:moveTo>
                  <a:lnTo>
                    <a:pt x="1000" y="2042"/>
                  </a:lnTo>
                  <a:lnTo>
                    <a:pt x="1000" y="2141"/>
                  </a:lnTo>
                  <a:lnTo>
                    <a:pt x="1000" y="2266"/>
                  </a:lnTo>
                  <a:lnTo>
                    <a:pt x="945" y="2266"/>
                  </a:lnTo>
                  <a:lnTo>
                    <a:pt x="945" y="2042"/>
                  </a:lnTo>
                  <a:close/>
                  <a:moveTo>
                    <a:pt x="1000" y="1982"/>
                  </a:moveTo>
                  <a:lnTo>
                    <a:pt x="1000" y="2010"/>
                  </a:lnTo>
                  <a:lnTo>
                    <a:pt x="945" y="2010"/>
                  </a:lnTo>
                  <a:lnTo>
                    <a:pt x="945" y="1954"/>
                  </a:lnTo>
                  <a:lnTo>
                    <a:pt x="1000" y="1954"/>
                  </a:lnTo>
                  <a:lnTo>
                    <a:pt x="1000" y="1982"/>
                  </a:lnTo>
                  <a:close/>
                  <a:moveTo>
                    <a:pt x="2325" y="1977"/>
                  </a:moveTo>
                  <a:lnTo>
                    <a:pt x="2381" y="1949"/>
                  </a:lnTo>
                  <a:lnTo>
                    <a:pt x="2381" y="2151"/>
                  </a:lnTo>
                  <a:lnTo>
                    <a:pt x="2381" y="2266"/>
                  </a:lnTo>
                  <a:lnTo>
                    <a:pt x="2325" y="2266"/>
                  </a:lnTo>
                  <a:lnTo>
                    <a:pt x="2325" y="1977"/>
                  </a:lnTo>
                  <a:close/>
                  <a:moveTo>
                    <a:pt x="400" y="762"/>
                  </a:moveTo>
                  <a:lnTo>
                    <a:pt x="856" y="762"/>
                  </a:lnTo>
                  <a:lnTo>
                    <a:pt x="856" y="498"/>
                  </a:lnTo>
                  <a:lnTo>
                    <a:pt x="400" y="498"/>
                  </a:lnTo>
                  <a:lnTo>
                    <a:pt x="400" y="290"/>
                  </a:lnTo>
                  <a:lnTo>
                    <a:pt x="905" y="290"/>
                  </a:lnTo>
                  <a:lnTo>
                    <a:pt x="737" y="0"/>
                  </a:lnTo>
                  <a:lnTo>
                    <a:pt x="22" y="0"/>
                  </a:lnTo>
                  <a:lnTo>
                    <a:pt x="22" y="1261"/>
                  </a:lnTo>
                  <a:lnTo>
                    <a:pt x="1030" y="1261"/>
                  </a:lnTo>
                  <a:lnTo>
                    <a:pt x="1030" y="970"/>
                  </a:lnTo>
                  <a:lnTo>
                    <a:pt x="400" y="970"/>
                  </a:lnTo>
                  <a:lnTo>
                    <a:pt x="400" y="762"/>
                  </a:lnTo>
                  <a:close/>
                  <a:moveTo>
                    <a:pt x="1702" y="0"/>
                  </a:moveTo>
                  <a:lnTo>
                    <a:pt x="1487" y="411"/>
                  </a:lnTo>
                  <a:lnTo>
                    <a:pt x="1274" y="0"/>
                  </a:lnTo>
                  <a:lnTo>
                    <a:pt x="856" y="0"/>
                  </a:lnTo>
                  <a:lnTo>
                    <a:pt x="1296" y="762"/>
                  </a:lnTo>
                  <a:lnTo>
                    <a:pt x="1296" y="1261"/>
                  </a:lnTo>
                  <a:lnTo>
                    <a:pt x="1673" y="1261"/>
                  </a:lnTo>
                  <a:lnTo>
                    <a:pt x="1673" y="762"/>
                  </a:lnTo>
                  <a:lnTo>
                    <a:pt x="2114" y="0"/>
                  </a:lnTo>
                  <a:lnTo>
                    <a:pt x="1702" y="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IN" sz="1487"/>
            </a:p>
          </p:txBody>
        </p:sp>
      </p:grpSp>
    </p:spTree>
    <p:extLst>
      <p:ext uri="{BB962C8B-B14F-4D97-AF65-F5344CB8AC3E}">
        <p14:creationId xmlns:p14="http://schemas.microsoft.com/office/powerpoint/2010/main" val="579177978"/>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cSld name="1_Cover">
    <p:spTree>
      <p:nvGrpSpPr>
        <p:cNvPr id="1" name=""/>
        <p:cNvGrpSpPr/>
        <p:nvPr/>
      </p:nvGrpSpPr>
      <p:grpSpPr>
        <a:xfrm>
          <a:off x="0" y="0"/>
          <a:ext cx="0" cy="0"/>
          <a:chOff x="0" y="0"/>
          <a:chExt cx="0" cy="0"/>
        </a:xfrm>
      </p:grpSpPr>
      <p:sp>
        <p:nvSpPr>
          <p:cNvPr id="2" name="Footer Placeholder 4"/>
          <p:cNvSpPr>
            <a:spLocks noGrp="1"/>
          </p:cNvSpPr>
          <p:nvPr>
            <p:ph type="ftr" sz="quarter" idx="3"/>
          </p:nvPr>
        </p:nvSpPr>
        <p:spPr>
          <a:xfrm>
            <a:off x="3155566" y="7184882"/>
            <a:ext cx="7128292" cy="86251"/>
          </a:xfrm>
          <a:prstGeom prst="rect">
            <a:avLst/>
          </a:prstGeom>
        </p:spPr>
        <p:txBody>
          <a:bodyPr vert="horz" lIns="0" tIns="0" rIns="0" bIns="0" rtlCol="0" anchor="ctr" anchorCtr="0">
            <a:noAutofit/>
          </a:bodyPr>
          <a:lstStyle>
            <a:lvl1pPr algn="l">
              <a:defRPr sz="992">
                <a:solidFill>
                  <a:schemeClr val="bg1"/>
                </a:solidFill>
                <a:latin typeface="+mn-lt"/>
                <a:cs typeface="Arial" pitchFamily="34" charset="0"/>
              </a:defRPr>
            </a:lvl1pPr>
          </a:lstStyle>
          <a:p>
            <a:pPr algn="ctr" defTabSz="1007616">
              <a:spcAft>
                <a:spcPts val="593"/>
              </a:spcAft>
              <a:buClr>
                <a:srgbClr val="FFE600"/>
              </a:buClr>
              <a:buSzPct val="70000"/>
            </a:pPr>
            <a:r>
              <a:rPr lang="en-US">
                <a:solidFill>
                  <a:srgbClr val="646464"/>
                </a:solidFill>
              </a:rPr>
              <a:t>Proposal to serve:</a:t>
            </a:r>
            <a:br>
              <a:rPr lang="en-US">
                <a:solidFill>
                  <a:srgbClr val="646464"/>
                </a:solidFill>
              </a:rPr>
            </a:br>
            <a:r>
              <a:rPr lang="en-US">
                <a:solidFill>
                  <a:srgbClr val="646464"/>
                </a:solidFill>
              </a:rPr>
              <a:t>SR11-7 Model Upgrade Project – Corporate and Investment Bank</a:t>
            </a:r>
          </a:p>
        </p:txBody>
      </p:sp>
    </p:spTree>
    <p:extLst>
      <p:ext uri="{BB962C8B-B14F-4D97-AF65-F5344CB8AC3E}">
        <p14:creationId xmlns:p14="http://schemas.microsoft.com/office/powerpoint/2010/main" val="182694224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4_Title Slide">
    <p:bg>
      <p:bgPr>
        <a:solidFill>
          <a:srgbClr val="050B0F"/>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1AE5C10A-4473-1140-BEFA-793C7131472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1366432" y="437240"/>
            <a:ext cx="12086919" cy="6811964"/>
          </a:xfrm>
          <a:prstGeom prst="rect">
            <a:avLst/>
          </a:prstGeom>
          <a:effectLst>
            <a:reflection endPos="0" dir="5400000" sy="-100000" algn="bl" rotWithShape="0"/>
            <a:softEdge rad="520700"/>
          </a:effectLst>
        </p:spPr>
      </p:pic>
      <p:grpSp>
        <p:nvGrpSpPr>
          <p:cNvPr id="156" name="Group 155">
            <a:extLst>
              <a:ext uri="{FF2B5EF4-FFF2-40B4-BE49-F238E27FC236}">
                <a16:creationId xmlns:a16="http://schemas.microsoft.com/office/drawing/2014/main" id="{DD33176D-0333-4FAD-8826-C6EC185B4F15}"/>
              </a:ext>
            </a:extLst>
          </p:cNvPr>
          <p:cNvGrpSpPr/>
          <p:nvPr userDrawn="1"/>
        </p:nvGrpSpPr>
        <p:grpSpPr>
          <a:xfrm>
            <a:off x="493388" y="6553948"/>
            <a:ext cx="3875547" cy="570075"/>
            <a:chOff x="498115" y="5951018"/>
            <a:chExt cx="3878023" cy="570195"/>
          </a:xfrm>
        </p:grpSpPr>
        <p:sp>
          <p:nvSpPr>
            <p:cNvPr id="157" name="Rectangle 156">
              <a:extLst>
                <a:ext uri="{FF2B5EF4-FFF2-40B4-BE49-F238E27FC236}">
                  <a16:creationId xmlns:a16="http://schemas.microsoft.com/office/drawing/2014/main" id="{3291E56F-1DC0-4E13-B3F8-FC4121578D2B}"/>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8"/>
            </a:p>
          </p:txBody>
        </p:sp>
        <p:sp>
          <p:nvSpPr>
            <p:cNvPr id="158" name="Rectangle 6">
              <a:extLst>
                <a:ext uri="{FF2B5EF4-FFF2-40B4-BE49-F238E27FC236}">
                  <a16:creationId xmlns:a16="http://schemas.microsoft.com/office/drawing/2014/main" id="{D86C5AAD-A873-494C-B37A-2AFD6A6C93BB}"/>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8"/>
            </a:p>
          </p:txBody>
        </p:sp>
        <p:sp>
          <p:nvSpPr>
            <p:cNvPr id="159" name="Rectangle 7">
              <a:extLst>
                <a:ext uri="{FF2B5EF4-FFF2-40B4-BE49-F238E27FC236}">
                  <a16:creationId xmlns:a16="http://schemas.microsoft.com/office/drawing/2014/main" id="{A07E9F40-594A-4559-8A41-E956C9C121E8}"/>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8"/>
            </a:p>
          </p:txBody>
        </p:sp>
        <p:sp>
          <p:nvSpPr>
            <p:cNvPr id="160" name="Freeform 8">
              <a:extLst>
                <a:ext uri="{FF2B5EF4-FFF2-40B4-BE49-F238E27FC236}">
                  <a16:creationId xmlns:a16="http://schemas.microsoft.com/office/drawing/2014/main" id="{7A1DB30A-F73A-4109-BA99-AC5E01455697}"/>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161" name="Freeform 9">
              <a:extLst>
                <a:ext uri="{FF2B5EF4-FFF2-40B4-BE49-F238E27FC236}">
                  <a16:creationId xmlns:a16="http://schemas.microsoft.com/office/drawing/2014/main" id="{5FD62654-56CC-4B5C-9370-61AB6E12CE55}"/>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162" name="Freeform 10">
              <a:extLst>
                <a:ext uri="{FF2B5EF4-FFF2-40B4-BE49-F238E27FC236}">
                  <a16:creationId xmlns:a16="http://schemas.microsoft.com/office/drawing/2014/main" id="{220D20C0-D4C6-4E62-AA90-C11DF09EE32B}"/>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163" name="Freeform 11">
              <a:extLst>
                <a:ext uri="{FF2B5EF4-FFF2-40B4-BE49-F238E27FC236}">
                  <a16:creationId xmlns:a16="http://schemas.microsoft.com/office/drawing/2014/main" id="{6459FE38-CD12-4E9F-A9D0-CA73C8201C67}"/>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164" name="Freeform 12">
              <a:extLst>
                <a:ext uri="{FF2B5EF4-FFF2-40B4-BE49-F238E27FC236}">
                  <a16:creationId xmlns:a16="http://schemas.microsoft.com/office/drawing/2014/main" id="{08A9258E-9BA7-48BD-940B-364CDCFBBED1}"/>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165" name="Freeform 13">
              <a:extLst>
                <a:ext uri="{FF2B5EF4-FFF2-40B4-BE49-F238E27FC236}">
                  <a16:creationId xmlns:a16="http://schemas.microsoft.com/office/drawing/2014/main" id="{9B033082-A4E6-48BB-9A13-B46038DC7FE2}"/>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166" name="Freeform 14">
              <a:extLst>
                <a:ext uri="{FF2B5EF4-FFF2-40B4-BE49-F238E27FC236}">
                  <a16:creationId xmlns:a16="http://schemas.microsoft.com/office/drawing/2014/main" id="{CA858B9F-208C-4009-8E8B-59C48FE1C9F9}"/>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167" name="Freeform 15">
              <a:extLst>
                <a:ext uri="{FF2B5EF4-FFF2-40B4-BE49-F238E27FC236}">
                  <a16:creationId xmlns:a16="http://schemas.microsoft.com/office/drawing/2014/main" id="{D55DDB6A-BAB0-41EA-AB2E-7EE5EDA1DB9D}"/>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168" name="Freeform 16">
              <a:extLst>
                <a:ext uri="{FF2B5EF4-FFF2-40B4-BE49-F238E27FC236}">
                  <a16:creationId xmlns:a16="http://schemas.microsoft.com/office/drawing/2014/main" id="{C12B83C0-22EC-4B96-B6FE-21483C88BAB6}"/>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169" name="Freeform 17">
              <a:extLst>
                <a:ext uri="{FF2B5EF4-FFF2-40B4-BE49-F238E27FC236}">
                  <a16:creationId xmlns:a16="http://schemas.microsoft.com/office/drawing/2014/main" id="{E96BB14D-4091-49BB-983A-839B80D42E71}"/>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170" name="Freeform 18">
              <a:extLst>
                <a:ext uri="{FF2B5EF4-FFF2-40B4-BE49-F238E27FC236}">
                  <a16:creationId xmlns:a16="http://schemas.microsoft.com/office/drawing/2014/main" id="{80924E25-2FA0-4F4B-9D0A-C0D6F8EE6EF0}"/>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171" name="Freeform 19">
              <a:extLst>
                <a:ext uri="{FF2B5EF4-FFF2-40B4-BE49-F238E27FC236}">
                  <a16:creationId xmlns:a16="http://schemas.microsoft.com/office/drawing/2014/main" id="{30BA6206-B298-402F-8A8B-8A35FCCC01D2}"/>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172" name="Freeform 20">
              <a:extLst>
                <a:ext uri="{FF2B5EF4-FFF2-40B4-BE49-F238E27FC236}">
                  <a16:creationId xmlns:a16="http://schemas.microsoft.com/office/drawing/2014/main" id="{488A66CF-DE6D-4C31-95DD-A6C123575C39}"/>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173" name="Freeform 21">
              <a:extLst>
                <a:ext uri="{FF2B5EF4-FFF2-40B4-BE49-F238E27FC236}">
                  <a16:creationId xmlns:a16="http://schemas.microsoft.com/office/drawing/2014/main" id="{8276FB92-6012-4117-804C-C64075BF7A39}"/>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174" name="Freeform 22">
              <a:extLst>
                <a:ext uri="{FF2B5EF4-FFF2-40B4-BE49-F238E27FC236}">
                  <a16:creationId xmlns:a16="http://schemas.microsoft.com/office/drawing/2014/main" id="{40697BCB-41DB-46A2-AAB1-5F040148A0F2}"/>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175" name="Freeform 23">
              <a:extLst>
                <a:ext uri="{FF2B5EF4-FFF2-40B4-BE49-F238E27FC236}">
                  <a16:creationId xmlns:a16="http://schemas.microsoft.com/office/drawing/2014/main" id="{62ACEBFD-E741-4633-99D2-E10D869686A8}"/>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176" name="Freeform 24">
              <a:extLst>
                <a:ext uri="{FF2B5EF4-FFF2-40B4-BE49-F238E27FC236}">
                  <a16:creationId xmlns:a16="http://schemas.microsoft.com/office/drawing/2014/main" id="{7415BF94-5D2D-465C-92EF-50F9FBCC5CE2}"/>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177" name="Freeform 25">
              <a:extLst>
                <a:ext uri="{FF2B5EF4-FFF2-40B4-BE49-F238E27FC236}">
                  <a16:creationId xmlns:a16="http://schemas.microsoft.com/office/drawing/2014/main" id="{E7C461AD-1F6C-43E7-A271-1218381734A6}"/>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178" name="Freeform 26">
              <a:extLst>
                <a:ext uri="{FF2B5EF4-FFF2-40B4-BE49-F238E27FC236}">
                  <a16:creationId xmlns:a16="http://schemas.microsoft.com/office/drawing/2014/main" id="{0631E6B9-1BE3-462D-A2BE-083D2D89BE3A}"/>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179" name="Freeform 27">
              <a:extLst>
                <a:ext uri="{FF2B5EF4-FFF2-40B4-BE49-F238E27FC236}">
                  <a16:creationId xmlns:a16="http://schemas.microsoft.com/office/drawing/2014/main" id="{DD7844A0-F4FF-4935-8D48-AD98469C4BA2}"/>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180" name="Freeform 28">
              <a:extLst>
                <a:ext uri="{FF2B5EF4-FFF2-40B4-BE49-F238E27FC236}">
                  <a16:creationId xmlns:a16="http://schemas.microsoft.com/office/drawing/2014/main" id="{CAA36F94-B386-41AB-9ADD-76EFE407F313}"/>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181" name="Freeform 29">
              <a:extLst>
                <a:ext uri="{FF2B5EF4-FFF2-40B4-BE49-F238E27FC236}">
                  <a16:creationId xmlns:a16="http://schemas.microsoft.com/office/drawing/2014/main" id="{B9D71935-1BBA-4A9C-B63A-9230824E398F}"/>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182" name="Freeform 30">
              <a:extLst>
                <a:ext uri="{FF2B5EF4-FFF2-40B4-BE49-F238E27FC236}">
                  <a16:creationId xmlns:a16="http://schemas.microsoft.com/office/drawing/2014/main" id="{F21B2DE6-3E1B-4B21-8020-674C36107996}"/>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183" name="Freeform 31">
              <a:extLst>
                <a:ext uri="{FF2B5EF4-FFF2-40B4-BE49-F238E27FC236}">
                  <a16:creationId xmlns:a16="http://schemas.microsoft.com/office/drawing/2014/main" id="{0A8D0102-D64D-4317-BF10-9C8AB38CD209}"/>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184" name="Freeform 32">
              <a:extLst>
                <a:ext uri="{FF2B5EF4-FFF2-40B4-BE49-F238E27FC236}">
                  <a16:creationId xmlns:a16="http://schemas.microsoft.com/office/drawing/2014/main" id="{F48638CB-21B1-4C8D-BFE1-0972A648708A}"/>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185" name="Freeform 33">
              <a:extLst>
                <a:ext uri="{FF2B5EF4-FFF2-40B4-BE49-F238E27FC236}">
                  <a16:creationId xmlns:a16="http://schemas.microsoft.com/office/drawing/2014/main" id="{93531D29-68C2-4840-81E9-459B8E87E6C9}"/>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186" name="Freeform 34">
              <a:extLst>
                <a:ext uri="{FF2B5EF4-FFF2-40B4-BE49-F238E27FC236}">
                  <a16:creationId xmlns:a16="http://schemas.microsoft.com/office/drawing/2014/main" id="{46544582-06F4-4D8C-BA35-DE36CF81FB4E}"/>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187" name="Freeform 35">
              <a:extLst>
                <a:ext uri="{FF2B5EF4-FFF2-40B4-BE49-F238E27FC236}">
                  <a16:creationId xmlns:a16="http://schemas.microsoft.com/office/drawing/2014/main" id="{68FD22EE-478C-4049-86CF-B3D0CE7603C2}"/>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188" name="Freeform 36">
              <a:extLst>
                <a:ext uri="{FF2B5EF4-FFF2-40B4-BE49-F238E27FC236}">
                  <a16:creationId xmlns:a16="http://schemas.microsoft.com/office/drawing/2014/main" id="{C8AAAAF4-0D18-4D3A-B513-24E0923BF3ED}"/>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189" name="Freeform 37">
              <a:extLst>
                <a:ext uri="{FF2B5EF4-FFF2-40B4-BE49-F238E27FC236}">
                  <a16:creationId xmlns:a16="http://schemas.microsoft.com/office/drawing/2014/main" id="{5F909668-E36C-4E44-A8AD-43752FE32B7D}"/>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190" name="Freeform 38">
              <a:extLst>
                <a:ext uri="{FF2B5EF4-FFF2-40B4-BE49-F238E27FC236}">
                  <a16:creationId xmlns:a16="http://schemas.microsoft.com/office/drawing/2014/main" id="{67F99E3F-4CCC-4ACA-B861-F6EBCBFB6381}"/>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191" name="Freeform 39">
              <a:extLst>
                <a:ext uri="{FF2B5EF4-FFF2-40B4-BE49-F238E27FC236}">
                  <a16:creationId xmlns:a16="http://schemas.microsoft.com/office/drawing/2014/main" id="{495C243B-8596-4338-B352-EEAC84D71091}"/>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192" name="Freeform 40">
              <a:extLst>
                <a:ext uri="{FF2B5EF4-FFF2-40B4-BE49-F238E27FC236}">
                  <a16:creationId xmlns:a16="http://schemas.microsoft.com/office/drawing/2014/main" id="{CCAAEBD1-A826-479B-90F1-E07E32BDE6AF}"/>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193" name="Freeform 41">
              <a:extLst>
                <a:ext uri="{FF2B5EF4-FFF2-40B4-BE49-F238E27FC236}">
                  <a16:creationId xmlns:a16="http://schemas.microsoft.com/office/drawing/2014/main" id="{5CDE2B0D-8D61-4C4A-A65E-6363019D1BF4}"/>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194" name="Freeform 42">
              <a:extLst>
                <a:ext uri="{FF2B5EF4-FFF2-40B4-BE49-F238E27FC236}">
                  <a16:creationId xmlns:a16="http://schemas.microsoft.com/office/drawing/2014/main" id="{B90D590D-B481-44A1-B1E9-A369BB1E33CE}"/>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195" name="Freeform 43">
              <a:extLst>
                <a:ext uri="{FF2B5EF4-FFF2-40B4-BE49-F238E27FC236}">
                  <a16:creationId xmlns:a16="http://schemas.microsoft.com/office/drawing/2014/main" id="{C52247AC-67F6-4801-A222-F8BEBC2BD3AA}"/>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196" name="Freeform 44">
              <a:extLst>
                <a:ext uri="{FF2B5EF4-FFF2-40B4-BE49-F238E27FC236}">
                  <a16:creationId xmlns:a16="http://schemas.microsoft.com/office/drawing/2014/main" id="{AE06F7D2-CE6B-4FCA-B6FB-2876B5C53A2B}"/>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197" name="Freeform 45">
              <a:extLst>
                <a:ext uri="{FF2B5EF4-FFF2-40B4-BE49-F238E27FC236}">
                  <a16:creationId xmlns:a16="http://schemas.microsoft.com/office/drawing/2014/main" id="{50726AF8-E564-4162-8451-03908A5C6150}"/>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198" name="Freeform 46">
              <a:extLst>
                <a:ext uri="{FF2B5EF4-FFF2-40B4-BE49-F238E27FC236}">
                  <a16:creationId xmlns:a16="http://schemas.microsoft.com/office/drawing/2014/main" id="{0EDC02B4-E4BC-4659-9083-C952B21393FE}"/>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199" name="Freeform 47">
              <a:extLst>
                <a:ext uri="{FF2B5EF4-FFF2-40B4-BE49-F238E27FC236}">
                  <a16:creationId xmlns:a16="http://schemas.microsoft.com/office/drawing/2014/main" id="{B78B424C-5807-4823-8532-40B7F2991363}"/>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00" name="Freeform 48">
              <a:extLst>
                <a:ext uri="{FF2B5EF4-FFF2-40B4-BE49-F238E27FC236}">
                  <a16:creationId xmlns:a16="http://schemas.microsoft.com/office/drawing/2014/main" id="{DB2A628F-7F2E-495E-9429-15DC5691F47C}"/>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01" name="Freeform 49">
              <a:extLst>
                <a:ext uri="{FF2B5EF4-FFF2-40B4-BE49-F238E27FC236}">
                  <a16:creationId xmlns:a16="http://schemas.microsoft.com/office/drawing/2014/main" id="{8D4A1B43-7900-4193-855B-BDE9DD2DACA1}"/>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02" name="Freeform 50">
              <a:extLst>
                <a:ext uri="{FF2B5EF4-FFF2-40B4-BE49-F238E27FC236}">
                  <a16:creationId xmlns:a16="http://schemas.microsoft.com/office/drawing/2014/main" id="{A04C6EB3-B69F-4B08-8C90-07F064DFB32B}"/>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03" name="Freeform 51">
              <a:extLst>
                <a:ext uri="{FF2B5EF4-FFF2-40B4-BE49-F238E27FC236}">
                  <a16:creationId xmlns:a16="http://schemas.microsoft.com/office/drawing/2014/main" id="{4A656995-46A7-4010-8F4D-DD3455E28426}"/>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04" name="Freeform 52">
              <a:extLst>
                <a:ext uri="{FF2B5EF4-FFF2-40B4-BE49-F238E27FC236}">
                  <a16:creationId xmlns:a16="http://schemas.microsoft.com/office/drawing/2014/main" id="{2C0410DC-2562-45B1-8D35-D1D88AA93223}"/>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05" name="Freeform 53">
              <a:extLst>
                <a:ext uri="{FF2B5EF4-FFF2-40B4-BE49-F238E27FC236}">
                  <a16:creationId xmlns:a16="http://schemas.microsoft.com/office/drawing/2014/main" id="{C10218F8-67DF-4BE6-AC7A-C865B6BAA329}"/>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06" name="Freeform 54">
              <a:extLst>
                <a:ext uri="{FF2B5EF4-FFF2-40B4-BE49-F238E27FC236}">
                  <a16:creationId xmlns:a16="http://schemas.microsoft.com/office/drawing/2014/main" id="{59AF7005-701F-42EE-8BB1-DCEE0DC36744}"/>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07" name="Freeform 55">
              <a:extLst>
                <a:ext uri="{FF2B5EF4-FFF2-40B4-BE49-F238E27FC236}">
                  <a16:creationId xmlns:a16="http://schemas.microsoft.com/office/drawing/2014/main" id="{D42C6B3B-6F03-489D-9B3D-4E74CBF727BE}"/>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08" name="Freeform 56">
              <a:extLst>
                <a:ext uri="{FF2B5EF4-FFF2-40B4-BE49-F238E27FC236}">
                  <a16:creationId xmlns:a16="http://schemas.microsoft.com/office/drawing/2014/main" id="{C58F7A35-BFC6-41BD-BD14-E758E84D15FF}"/>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09" name="Freeform 57">
              <a:extLst>
                <a:ext uri="{FF2B5EF4-FFF2-40B4-BE49-F238E27FC236}">
                  <a16:creationId xmlns:a16="http://schemas.microsoft.com/office/drawing/2014/main" id="{F29124BF-755C-4B9B-9696-CFE7A696F03C}"/>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10" name="Freeform 58">
              <a:extLst>
                <a:ext uri="{FF2B5EF4-FFF2-40B4-BE49-F238E27FC236}">
                  <a16:creationId xmlns:a16="http://schemas.microsoft.com/office/drawing/2014/main" id="{D3C01B5E-DFA0-4CB9-9CA9-CEABFE733C5B}"/>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11" name="Freeform 59">
              <a:extLst>
                <a:ext uri="{FF2B5EF4-FFF2-40B4-BE49-F238E27FC236}">
                  <a16:creationId xmlns:a16="http://schemas.microsoft.com/office/drawing/2014/main" id="{FA23E15F-BB18-464E-B3B5-DEF7FE324E90}"/>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12" name="Freeform 60">
              <a:extLst>
                <a:ext uri="{FF2B5EF4-FFF2-40B4-BE49-F238E27FC236}">
                  <a16:creationId xmlns:a16="http://schemas.microsoft.com/office/drawing/2014/main" id="{8C9A1AC7-3FFF-4C97-803C-5A69363E1A9B}"/>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13" name="Freeform 61">
              <a:extLst>
                <a:ext uri="{FF2B5EF4-FFF2-40B4-BE49-F238E27FC236}">
                  <a16:creationId xmlns:a16="http://schemas.microsoft.com/office/drawing/2014/main" id="{FF640A61-C648-48C4-8B1C-A2C4BFEF74B3}"/>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14" name="Freeform 62">
              <a:extLst>
                <a:ext uri="{FF2B5EF4-FFF2-40B4-BE49-F238E27FC236}">
                  <a16:creationId xmlns:a16="http://schemas.microsoft.com/office/drawing/2014/main" id="{1E32B172-D350-4C2B-A492-223794C0E12E}"/>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15" name="Freeform 63">
              <a:extLst>
                <a:ext uri="{FF2B5EF4-FFF2-40B4-BE49-F238E27FC236}">
                  <a16:creationId xmlns:a16="http://schemas.microsoft.com/office/drawing/2014/main" id="{412708E8-67C6-4615-B993-4A9005A4690A}"/>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16" name="Freeform 64">
              <a:extLst>
                <a:ext uri="{FF2B5EF4-FFF2-40B4-BE49-F238E27FC236}">
                  <a16:creationId xmlns:a16="http://schemas.microsoft.com/office/drawing/2014/main" id="{ACE756C9-DF71-4496-8EA6-F08A62BEE30D}"/>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17" name="Freeform 65">
              <a:extLst>
                <a:ext uri="{FF2B5EF4-FFF2-40B4-BE49-F238E27FC236}">
                  <a16:creationId xmlns:a16="http://schemas.microsoft.com/office/drawing/2014/main" id="{5E29C646-4EB3-4544-B195-D9D46F217ACB}"/>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18" name="Freeform 66">
              <a:extLst>
                <a:ext uri="{FF2B5EF4-FFF2-40B4-BE49-F238E27FC236}">
                  <a16:creationId xmlns:a16="http://schemas.microsoft.com/office/drawing/2014/main" id="{32E98C89-5927-48E0-8AF5-009E986A017C}"/>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19" name="Freeform 67">
              <a:extLst>
                <a:ext uri="{FF2B5EF4-FFF2-40B4-BE49-F238E27FC236}">
                  <a16:creationId xmlns:a16="http://schemas.microsoft.com/office/drawing/2014/main" id="{D7343FAC-0504-4279-8D9D-86C909A2BEFB}"/>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20" name="Freeform 68">
              <a:extLst>
                <a:ext uri="{FF2B5EF4-FFF2-40B4-BE49-F238E27FC236}">
                  <a16:creationId xmlns:a16="http://schemas.microsoft.com/office/drawing/2014/main" id="{C4A38F8A-9FFE-4CAF-8629-1C1B3618C01D}"/>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21" name="Freeform 69">
              <a:extLst>
                <a:ext uri="{FF2B5EF4-FFF2-40B4-BE49-F238E27FC236}">
                  <a16:creationId xmlns:a16="http://schemas.microsoft.com/office/drawing/2014/main" id="{651955C4-2F6F-4B6F-A0E3-ED5E52A1FA05}"/>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22" name="Freeform 70">
              <a:extLst>
                <a:ext uri="{FF2B5EF4-FFF2-40B4-BE49-F238E27FC236}">
                  <a16:creationId xmlns:a16="http://schemas.microsoft.com/office/drawing/2014/main" id="{132751C5-9823-4CB9-A168-5BA1FA9E08B3}"/>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grpSp>
      <p:grpSp>
        <p:nvGrpSpPr>
          <p:cNvPr id="153" name="Gruppieren 8">
            <a:extLst>
              <a:ext uri="{FF2B5EF4-FFF2-40B4-BE49-F238E27FC236}">
                <a16:creationId xmlns:a16="http://schemas.microsoft.com/office/drawing/2014/main" id="{81BDA7C2-9BCA-4C38-92F8-734198560F05}"/>
              </a:ext>
            </a:extLst>
          </p:cNvPr>
          <p:cNvGrpSpPr/>
          <p:nvPr userDrawn="1"/>
        </p:nvGrpSpPr>
        <p:grpSpPr>
          <a:xfrm>
            <a:off x="12126675" y="6095267"/>
            <a:ext cx="951776" cy="1112617"/>
            <a:chOff x="9178925" y="5894388"/>
            <a:chExt cx="1089025" cy="1273176"/>
          </a:xfrm>
        </p:grpSpPr>
        <p:sp>
          <p:nvSpPr>
            <p:cNvPr id="154" name="Freeform 7">
              <a:extLst>
                <a:ext uri="{FF2B5EF4-FFF2-40B4-BE49-F238E27FC236}">
                  <a16:creationId xmlns:a16="http://schemas.microsoft.com/office/drawing/2014/main" id="{D4A1D681-64F1-49D1-8015-9DE2DE7FC881}"/>
                </a:ext>
              </a:extLst>
            </p:cNvPr>
            <p:cNvSpPr>
              <a:spLocks/>
            </p:cNvSpPr>
            <p:nvPr/>
          </p:nvSpPr>
          <p:spPr bwMode="auto">
            <a:xfrm>
              <a:off x="9178925" y="5894388"/>
              <a:ext cx="873125" cy="317500"/>
            </a:xfrm>
            <a:custGeom>
              <a:avLst/>
              <a:gdLst>
                <a:gd name="T0" fmla="*/ 2747 w 2747"/>
                <a:gd name="T1" fmla="*/ 0 h 1001"/>
                <a:gd name="T2" fmla="*/ 0 w 2747"/>
                <a:gd name="T3" fmla="*/ 1001 h 1001"/>
                <a:gd name="T4" fmla="*/ 2747 w 2747"/>
                <a:gd name="T5" fmla="*/ 516 h 1001"/>
                <a:gd name="T6" fmla="*/ 2747 w 2747"/>
                <a:gd name="T7" fmla="*/ 0 h 1001"/>
              </a:gdLst>
              <a:ahLst/>
              <a:cxnLst>
                <a:cxn ang="0">
                  <a:pos x="T0" y="T1"/>
                </a:cxn>
                <a:cxn ang="0">
                  <a:pos x="T2" y="T3"/>
                </a:cxn>
                <a:cxn ang="0">
                  <a:pos x="T4" y="T5"/>
                </a:cxn>
                <a:cxn ang="0">
                  <a:pos x="T6" y="T7"/>
                </a:cxn>
              </a:cxnLst>
              <a:rect l="0" t="0" r="r" b="b"/>
              <a:pathLst>
                <a:path w="2747" h="1001">
                  <a:moveTo>
                    <a:pt x="2747" y="0"/>
                  </a:moveTo>
                  <a:lnTo>
                    <a:pt x="0" y="1001"/>
                  </a:lnTo>
                  <a:lnTo>
                    <a:pt x="2747" y="516"/>
                  </a:lnTo>
                  <a:lnTo>
                    <a:pt x="2747" y="0"/>
                  </a:lnTo>
                  <a:close/>
                </a:path>
              </a:pathLst>
            </a:custGeom>
            <a:solidFill>
              <a:srgbClr val="FFE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084"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1">
                <a:ln>
                  <a:noFill/>
                </a:ln>
                <a:solidFill>
                  <a:srgbClr val="000000"/>
                </a:solidFill>
                <a:effectLst/>
                <a:uLnTx/>
                <a:uFillTx/>
                <a:latin typeface="EYInterstate Light"/>
              </a:endParaRPr>
            </a:p>
          </p:txBody>
        </p:sp>
        <p:sp>
          <p:nvSpPr>
            <p:cNvPr id="155" name="Freeform 9">
              <a:extLst>
                <a:ext uri="{FF2B5EF4-FFF2-40B4-BE49-F238E27FC236}">
                  <a16:creationId xmlns:a16="http://schemas.microsoft.com/office/drawing/2014/main" id="{C5526DC5-960F-40CD-9143-EC959AA52178}"/>
                </a:ext>
              </a:extLst>
            </p:cNvPr>
            <p:cNvSpPr>
              <a:spLocks noEditPoints="1"/>
            </p:cNvSpPr>
            <p:nvPr/>
          </p:nvSpPr>
          <p:spPr bwMode="auto">
            <a:xfrm>
              <a:off x="9178925" y="6343651"/>
              <a:ext cx="1089025" cy="823913"/>
            </a:xfrm>
            <a:custGeom>
              <a:avLst/>
              <a:gdLst>
                <a:gd name="T0" fmla="*/ 259 w 3430"/>
                <a:gd name="T1" fmla="*/ 1760 h 2593"/>
                <a:gd name="T2" fmla="*/ 281 w 3430"/>
                <a:gd name="T3" fmla="*/ 1990 h 2593"/>
                <a:gd name="T4" fmla="*/ 168 w 3430"/>
                <a:gd name="T5" fmla="*/ 2006 h 2593"/>
                <a:gd name="T6" fmla="*/ 390 w 3430"/>
                <a:gd name="T7" fmla="*/ 1952 h 2593"/>
                <a:gd name="T8" fmla="*/ 462 w 3430"/>
                <a:gd name="T9" fmla="*/ 2058 h 2593"/>
                <a:gd name="T10" fmla="*/ 1266 w 3430"/>
                <a:gd name="T11" fmla="*/ 1831 h 2593"/>
                <a:gd name="T12" fmla="*/ 1351 w 3430"/>
                <a:gd name="T13" fmla="*/ 1926 h 2593"/>
                <a:gd name="T14" fmla="*/ 774 w 3430"/>
                <a:gd name="T15" fmla="*/ 1713 h 2593"/>
                <a:gd name="T16" fmla="*/ 820 w 3430"/>
                <a:gd name="T17" fmla="*/ 1896 h 2593"/>
                <a:gd name="T18" fmla="*/ 955 w 3430"/>
                <a:gd name="T19" fmla="*/ 2055 h 2593"/>
                <a:gd name="T20" fmla="*/ 924 w 3430"/>
                <a:gd name="T21" fmla="*/ 1866 h 2593"/>
                <a:gd name="T22" fmla="*/ 2245 w 3430"/>
                <a:gd name="T23" fmla="*/ 2062 h 2593"/>
                <a:gd name="T24" fmla="*/ 2397 w 3430"/>
                <a:gd name="T25" fmla="*/ 1936 h 2593"/>
                <a:gd name="T26" fmla="*/ 2333 w 3430"/>
                <a:gd name="T27" fmla="*/ 1918 h 2593"/>
                <a:gd name="T28" fmla="*/ 2287 w 3430"/>
                <a:gd name="T29" fmla="*/ 1866 h 2593"/>
                <a:gd name="T30" fmla="*/ 1454 w 3430"/>
                <a:gd name="T31" fmla="*/ 1923 h 2593"/>
                <a:gd name="T32" fmla="*/ 1605 w 3430"/>
                <a:gd name="T33" fmla="*/ 2044 h 2593"/>
                <a:gd name="T34" fmla="*/ 1637 w 3430"/>
                <a:gd name="T35" fmla="*/ 2132 h 2593"/>
                <a:gd name="T36" fmla="*/ 1520 w 3430"/>
                <a:gd name="T37" fmla="*/ 1974 h 2593"/>
                <a:gd name="T38" fmla="*/ 1918 w 3430"/>
                <a:gd name="T39" fmla="*/ 1859 h 2593"/>
                <a:gd name="T40" fmla="*/ 1813 w 3430"/>
                <a:gd name="T41" fmla="*/ 1970 h 2593"/>
                <a:gd name="T42" fmla="*/ 2024 w 3430"/>
                <a:gd name="T43" fmla="*/ 1896 h 2593"/>
                <a:gd name="T44" fmla="*/ 1873 w 3430"/>
                <a:gd name="T45" fmla="*/ 1980 h 2593"/>
                <a:gd name="T46" fmla="*/ 1898 w 3430"/>
                <a:gd name="T47" fmla="*/ 2014 h 2593"/>
                <a:gd name="T48" fmla="*/ 2489 w 3430"/>
                <a:gd name="T49" fmla="*/ 1958 h 2593"/>
                <a:gd name="T50" fmla="*/ 2474 w 3430"/>
                <a:gd name="T51" fmla="*/ 1832 h 2593"/>
                <a:gd name="T52" fmla="*/ 2544 w 3430"/>
                <a:gd name="T53" fmla="*/ 2068 h 2593"/>
                <a:gd name="T54" fmla="*/ 2578 w 3430"/>
                <a:gd name="T55" fmla="*/ 1894 h 2593"/>
                <a:gd name="T56" fmla="*/ 3230 w 3430"/>
                <a:gd name="T57" fmla="*/ 1940 h 2593"/>
                <a:gd name="T58" fmla="*/ 3033 w 3430"/>
                <a:gd name="T59" fmla="*/ 1865 h 2593"/>
                <a:gd name="T60" fmla="*/ 3168 w 3430"/>
                <a:gd name="T61" fmla="*/ 2062 h 2593"/>
                <a:gd name="T62" fmla="*/ 2931 w 3430"/>
                <a:gd name="T63" fmla="*/ 1976 h 2593"/>
                <a:gd name="T64" fmla="*/ 2893 w 3430"/>
                <a:gd name="T65" fmla="*/ 2054 h 2593"/>
                <a:gd name="T66" fmla="*/ 2737 w 3430"/>
                <a:gd name="T67" fmla="*/ 2063 h 2593"/>
                <a:gd name="T68" fmla="*/ 2772 w 3430"/>
                <a:gd name="T69" fmla="*/ 2008 h 2593"/>
                <a:gd name="T70" fmla="*/ 3329 w 3430"/>
                <a:gd name="T71" fmla="*/ 1816 h 2593"/>
                <a:gd name="T72" fmla="*/ 1082 w 3430"/>
                <a:gd name="T73" fmla="*/ 2062 h 2593"/>
                <a:gd name="T74" fmla="*/ 2683 w 3430"/>
                <a:gd name="T75" fmla="*/ 2293 h 2593"/>
                <a:gd name="T76" fmla="*/ 2788 w 3430"/>
                <a:gd name="T77" fmla="*/ 2495 h 2593"/>
                <a:gd name="T78" fmla="*/ 2761 w 3430"/>
                <a:gd name="T79" fmla="*/ 2299 h 2593"/>
                <a:gd name="T80" fmla="*/ 696 w 3430"/>
                <a:gd name="T81" fmla="*/ 2303 h 2593"/>
                <a:gd name="T82" fmla="*/ 747 w 3430"/>
                <a:gd name="T83" fmla="*/ 2315 h 2593"/>
                <a:gd name="T84" fmla="*/ 224 w 3430"/>
                <a:gd name="T85" fmla="*/ 2367 h 2593"/>
                <a:gd name="T86" fmla="*/ 344 w 3430"/>
                <a:gd name="T87" fmla="*/ 2410 h 2593"/>
                <a:gd name="T88" fmla="*/ 559 w 3430"/>
                <a:gd name="T89" fmla="*/ 2410 h 2593"/>
                <a:gd name="T90" fmla="*/ 416 w 3430"/>
                <a:gd name="T91" fmla="*/ 2422 h 2593"/>
                <a:gd name="T92" fmla="*/ 488 w 3430"/>
                <a:gd name="T93" fmla="*/ 2422 h 2593"/>
                <a:gd name="T94" fmla="*/ 2441 w 3430"/>
                <a:gd name="T95" fmla="*/ 2261 h 2593"/>
                <a:gd name="T96" fmla="*/ 1774 w 3430"/>
                <a:gd name="T97" fmla="*/ 2247 h 2593"/>
                <a:gd name="T98" fmla="*/ 2151 w 3430"/>
                <a:gd name="T99" fmla="*/ 2269 h 2593"/>
                <a:gd name="T100" fmla="*/ 2224 w 3430"/>
                <a:gd name="T101" fmla="*/ 2499 h 2593"/>
                <a:gd name="T102" fmla="*/ 2289 w 3430"/>
                <a:gd name="T103" fmla="*/ 2263 h 2593"/>
                <a:gd name="T104" fmla="*/ 2224 w 3430"/>
                <a:gd name="T105" fmla="*/ 2298 h 2593"/>
                <a:gd name="T106" fmla="*/ 852 w 3430"/>
                <a:gd name="T107" fmla="*/ 2144 h 2593"/>
                <a:gd name="T108" fmla="*/ 1335 w 3430"/>
                <a:gd name="T109" fmla="*/ 2258 h 2593"/>
                <a:gd name="T110" fmla="*/ 1231 w 3430"/>
                <a:gd name="T111" fmla="*/ 2313 h 2593"/>
                <a:gd name="T112" fmla="*/ 1422 w 3430"/>
                <a:gd name="T113" fmla="*/ 2303 h 2593"/>
                <a:gd name="T114" fmla="*/ 1538 w 3430"/>
                <a:gd name="T115" fmla="*/ 2493 h 2593"/>
                <a:gd name="T116" fmla="*/ 1558 w 3430"/>
                <a:gd name="T117" fmla="*/ 2586 h 2593"/>
                <a:gd name="T118" fmla="*/ 1504 w 3430"/>
                <a:gd name="T119" fmla="*/ 2439 h 2593"/>
                <a:gd name="T120" fmla="*/ 1103 w 3430"/>
                <a:gd name="T121" fmla="*/ 2356 h 2593"/>
                <a:gd name="T122" fmla="*/ 441 w 3430"/>
                <a:gd name="T123" fmla="*/ 1068 h 2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430" h="2593">
                  <a:moveTo>
                    <a:pt x="286" y="1954"/>
                  </a:moveTo>
                  <a:lnTo>
                    <a:pt x="286" y="1954"/>
                  </a:lnTo>
                  <a:lnTo>
                    <a:pt x="286" y="1946"/>
                  </a:lnTo>
                  <a:lnTo>
                    <a:pt x="284" y="1939"/>
                  </a:lnTo>
                  <a:lnTo>
                    <a:pt x="281" y="1924"/>
                  </a:lnTo>
                  <a:lnTo>
                    <a:pt x="275" y="1912"/>
                  </a:lnTo>
                  <a:lnTo>
                    <a:pt x="267" y="1902"/>
                  </a:lnTo>
                  <a:lnTo>
                    <a:pt x="259" y="1894"/>
                  </a:lnTo>
                  <a:lnTo>
                    <a:pt x="250" y="1888"/>
                  </a:lnTo>
                  <a:lnTo>
                    <a:pt x="243" y="1883"/>
                  </a:lnTo>
                  <a:lnTo>
                    <a:pt x="235" y="1880"/>
                  </a:lnTo>
                  <a:lnTo>
                    <a:pt x="235" y="1880"/>
                  </a:lnTo>
                  <a:lnTo>
                    <a:pt x="244" y="1874"/>
                  </a:lnTo>
                  <a:lnTo>
                    <a:pt x="251" y="1868"/>
                  </a:lnTo>
                  <a:lnTo>
                    <a:pt x="257" y="1860"/>
                  </a:lnTo>
                  <a:lnTo>
                    <a:pt x="264" y="1852"/>
                  </a:lnTo>
                  <a:lnTo>
                    <a:pt x="268" y="1843"/>
                  </a:lnTo>
                  <a:lnTo>
                    <a:pt x="271" y="1833"/>
                  </a:lnTo>
                  <a:lnTo>
                    <a:pt x="273" y="1824"/>
                  </a:lnTo>
                  <a:lnTo>
                    <a:pt x="273" y="1813"/>
                  </a:lnTo>
                  <a:lnTo>
                    <a:pt x="273" y="1813"/>
                  </a:lnTo>
                  <a:lnTo>
                    <a:pt x="273" y="1803"/>
                  </a:lnTo>
                  <a:lnTo>
                    <a:pt x="272" y="1793"/>
                  </a:lnTo>
                  <a:lnTo>
                    <a:pt x="270" y="1784"/>
                  </a:lnTo>
                  <a:lnTo>
                    <a:pt x="267" y="1776"/>
                  </a:lnTo>
                  <a:lnTo>
                    <a:pt x="264" y="1767"/>
                  </a:lnTo>
                  <a:lnTo>
                    <a:pt x="259" y="1760"/>
                  </a:lnTo>
                  <a:lnTo>
                    <a:pt x="253" y="1754"/>
                  </a:lnTo>
                  <a:lnTo>
                    <a:pt x="246" y="1748"/>
                  </a:lnTo>
                  <a:lnTo>
                    <a:pt x="239" y="1743"/>
                  </a:lnTo>
                  <a:lnTo>
                    <a:pt x="232" y="1738"/>
                  </a:lnTo>
                  <a:lnTo>
                    <a:pt x="223" y="1734"/>
                  </a:lnTo>
                  <a:lnTo>
                    <a:pt x="213" y="1731"/>
                  </a:lnTo>
                  <a:lnTo>
                    <a:pt x="203" y="1728"/>
                  </a:lnTo>
                  <a:lnTo>
                    <a:pt x="192" y="1726"/>
                  </a:lnTo>
                  <a:lnTo>
                    <a:pt x="181" y="1726"/>
                  </a:lnTo>
                  <a:lnTo>
                    <a:pt x="169" y="1724"/>
                  </a:lnTo>
                  <a:lnTo>
                    <a:pt x="25" y="1724"/>
                  </a:lnTo>
                  <a:lnTo>
                    <a:pt x="25" y="2062"/>
                  </a:lnTo>
                  <a:lnTo>
                    <a:pt x="168" y="2062"/>
                  </a:lnTo>
                  <a:lnTo>
                    <a:pt x="168" y="2062"/>
                  </a:lnTo>
                  <a:lnTo>
                    <a:pt x="181" y="2062"/>
                  </a:lnTo>
                  <a:lnTo>
                    <a:pt x="194" y="2061"/>
                  </a:lnTo>
                  <a:lnTo>
                    <a:pt x="206" y="2058"/>
                  </a:lnTo>
                  <a:lnTo>
                    <a:pt x="217" y="2055"/>
                  </a:lnTo>
                  <a:lnTo>
                    <a:pt x="228" y="2051"/>
                  </a:lnTo>
                  <a:lnTo>
                    <a:pt x="238" y="2046"/>
                  </a:lnTo>
                  <a:lnTo>
                    <a:pt x="246" y="2040"/>
                  </a:lnTo>
                  <a:lnTo>
                    <a:pt x="254" y="2034"/>
                  </a:lnTo>
                  <a:lnTo>
                    <a:pt x="261" y="2027"/>
                  </a:lnTo>
                  <a:lnTo>
                    <a:pt x="267" y="2018"/>
                  </a:lnTo>
                  <a:lnTo>
                    <a:pt x="273" y="2009"/>
                  </a:lnTo>
                  <a:lnTo>
                    <a:pt x="277" y="2000"/>
                  </a:lnTo>
                  <a:lnTo>
                    <a:pt x="281" y="1990"/>
                  </a:lnTo>
                  <a:lnTo>
                    <a:pt x="283" y="1979"/>
                  </a:lnTo>
                  <a:lnTo>
                    <a:pt x="284" y="1967"/>
                  </a:lnTo>
                  <a:lnTo>
                    <a:pt x="286" y="1954"/>
                  </a:lnTo>
                  <a:lnTo>
                    <a:pt x="286" y="1954"/>
                  </a:lnTo>
                  <a:close/>
                  <a:moveTo>
                    <a:pt x="168" y="2006"/>
                  </a:moveTo>
                  <a:lnTo>
                    <a:pt x="87" y="2006"/>
                  </a:lnTo>
                  <a:lnTo>
                    <a:pt x="87" y="1909"/>
                  </a:lnTo>
                  <a:lnTo>
                    <a:pt x="168" y="1909"/>
                  </a:lnTo>
                  <a:lnTo>
                    <a:pt x="168" y="1909"/>
                  </a:lnTo>
                  <a:lnTo>
                    <a:pt x="180" y="1910"/>
                  </a:lnTo>
                  <a:lnTo>
                    <a:pt x="190" y="1912"/>
                  </a:lnTo>
                  <a:lnTo>
                    <a:pt x="199" y="1915"/>
                  </a:lnTo>
                  <a:lnTo>
                    <a:pt x="206" y="1921"/>
                  </a:lnTo>
                  <a:lnTo>
                    <a:pt x="212" y="1928"/>
                  </a:lnTo>
                  <a:lnTo>
                    <a:pt x="216" y="1936"/>
                  </a:lnTo>
                  <a:lnTo>
                    <a:pt x="218" y="1946"/>
                  </a:lnTo>
                  <a:lnTo>
                    <a:pt x="219" y="1957"/>
                  </a:lnTo>
                  <a:lnTo>
                    <a:pt x="219" y="1957"/>
                  </a:lnTo>
                  <a:lnTo>
                    <a:pt x="218" y="1968"/>
                  </a:lnTo>
                  <a:lnTo>
                    <a:pt x="216" y="1978"/>
                  </a:lnTo>
                  <a:lnTo>
                    <a:pt x="211" y="1986"/>
                  </a:lnTo>
                  <a:lnTo>
                    <a:pt x="206" y="1992"/>
                  </a:lnTo>
                  <a:lnTo>
                    <a:pt x="199" y="1998"/>
                  </a:lnTo>
                  <a:lnTo>
                    <a:pt x="190" y="2002"/>
                  </a:lnTo>
                  <a:lnTo>
                    <a:pt x="179" y="2005"/>
                  </a:lnTo>
                  <a:lnTo>
                    <a:pt x="168" y="2006"/>
                  </a:lnTo>
                  <a:lnTo>
                    <a:pt x="168" y="2006"/>
                  </a:lnTo>
                  <a:close/>
                  <a:moveTo>
                    <a:pt x="167" y="1854"/>
                  </a:moveTo>
                  <a:lnTo>
                    <a:pt x="87" y="1854"/>
                  </a:lnTo>
                  <a:lnTo>
                    <a:pt x="87" y="1782"/>
                  </a:lnTo>
                  <a:lnTo>
                    <a:pt x="164" y="1782"/>
                  </a:lnTo>
                  <a:lnTo>
                    <a:pt x="164" y="1782"/>
                  </a:lnTo>
                  <a:lnTo>
                    <a:pt x="174" y="1783"/>
                  </a:lnTo>
                  <a:lnTo>
                    <a:pt x="184" y="1784"/>
                  </a:lnTo>
                  <a:lnTo>
                    <a:pt x="191" y="1787"/>
                  </a:lnTo>
                  <a:lnTo>
                    <a:pt x="197" y="1791"/>
                  </a:lnTo>
                  <a:lnTo>
                    <a:pt x="202" y="1797"/>
                  </a:lnTo>
                  <a:lnTo>
                    <a:pt x="206" y="1803"/>
                  </a:lnTo>
                  <a:lnTo>
                    <a:pt x="207" y="1810"/>
                  </a:lnTo>
                  <a:lnTo>
                    <a:pt x="208" y="1819"/>
                  </a:lnTo>
                  <a:lnTo>
                    <a:pt x="208" y="1819"/>
                  </a:lnTo>
                  <a:lnTo>
                    <a:pt x="208" y="1825"/>
                  </a:lnTo>
                  <a:lnTo>
                    <a:pt x="207" y="1831"/>
                  </a:lnTo>
                  <a:lnTo>
                    <a:pt x="205" y="1837"/>
                  </a:lnTo>
                  <a:lnTo>
                    <a:pt x="201" y="1842"/>
                  </a:lnTo>
                  <a:lnTo>
                    <a:pt x="195" y="1847"/>
                  </a:lnTo>
                  <a:lnTo>
                    <a:pt x="188" y="1850"/>
                  </a:lnTo>
                  <a:lnTo>
                    <a:pt x="179" y="1853"/>
                  </a:lnTo>
                  <a:lnTo>
                    <a:pt x="167" y="1854"/>
                  </a:lnTo>
                  <a:lnTo>
                    <a:pt x="167" y="1854"/>
                  </a:lnTo>
                  <a:close/>
                  <a:moveTo>
                    <a:pt x="329" y="1956"/>
                  </a:moveTo>
                  <a:lnTo>
                    <a:pt x="329" y="1816"/>
                  </a:lnTo>
                  <a:lnTo>
                    <a:pt x="390" y="1816"/>
                  </a:lnTo>
                  <a:lnTo>
                    <a:pt x="390" y="1952"/>
                  </a:lnTo>
                  <a:lnTo>
                    <a:pt x="390" y="1952"/>
                  </a:lnTo>
                  <a:lnTo>
                    <a:pt x="390" y="1965"/>
                  </a:lnTo>
                  <a:lnTo>
                    <a:pt x="392" y="1979"/>
                  </a:lnTo>
                  <a:lnTo>
                    <a:pt x="396" y="1989"/>
                  </a:lnTo>
                  <a:lnTo>
                    <a:pt x="401" y="1997"/>
                  </a:lnTo>
                  <a:lnTo>
                    <a:pt x="407" y="2003"/>
                  </a:lnTo>
                  <a:lnTo>
                    <a:pt x="414" y="2008"/>
                  </a:lnTo>
                  <a:lnTo>
                    <a:pt x="424" y="2011"/>
                  </a:lnTo>
                  <a:lnTo>
                    <a:pt x="435" y="2012"/>
                  </a:lnTo>
                  <a:lnTo>
                    <a:pt x="435" y="2012"/>
                  </a:lnTo>
                  <a:lnTo>
                    <a:pt x="446" y="2011"/>
                  </a:lnTo>
                  <a:lnTo>
                    <a:pt x="455" y="2008"/>
                  </a:lnTo>
                  <a:lnTo>
                    <a:pt x="463" y="2003"/>
                  </a:lnTo>
                  <a:lnTo>
                    <a:pt x="470" y="1997"/>
                  </a:lnTo>
                  <a:lnTo>
                    <a:pt x="474" y="1989"/>
                  </a:lnTo>
                  <a:lnTo>
                    <a:pt x="478" y="1978"/>
                  </a:lnTo>
                  <a:lnTo>
                    <a:pt x="481" y="1965"/>
                  </a:lnTo>
                  <a:lnTo>
                    <a:pt x="481" y="1952"/>
                  </a:lnTo>
                  <a:lnTo>
                    <a:pt x="481" y="1816"/>
                  </a:lnTo>
                  <a:lnTo>
                    <a:pt x="542" y="1816"/>
                  </a:lnTo>
                  <a:lnTo>
                    <a:pt x="542" y="2062"/>
                  </a:lnTo>
                  <a:lnTo>
                    <a:pt x="481" y="2062"/>
                  </a:lnTo>
                  <a:lnTo>
                    <a:pt x="481" y="2043"/>
                  </a:lnTo>
                  <a:lnTo>
                    <a:pt x="481" y="2043"/>
                  </a:lnTo>
                  <a:lnTo>
                    <a:pt x="476" y="2049"/>
                  </a:lnTo>
                  <a:lnTo>
                    <a:pt x="468" y="2054"/>
                  </a:lnTo>
                  <a:lnTo>
                    <a:pt x="462" y="2058"/>
                  </a:lnTo>
                  <a:lnTo>
                    <a:pt x="455" y="2061"/>
                  </a:lnTo>
                  <a:lnTo>
                    <a:pt x="447" y="2065"/>
                  </a:lnTo>
                  <a:lnTo>
                    <a:pt x="439" y="2066"/>
                  </a:lnTo>
                  <a:lnTo>
                    <a:pt x="430" y="2067"/>
                  </a:lnTo>
                  <a:lnTo>
                    <a:pt x="422" y="2068"/>
                  </a:lnTo>
                  <a:lnTo>
                    <a:pt x="422" y="2068"/>
                  </a:lnTo>
                  <a:lnTo>
                    <a:pt x="407" y="2067"/>
                  </a:lnTo>
                  <a:lnTo>
                    <a:pt x="395" y="2065"/>
                  </a:lnTo>
                  <a:lnTo>
                    <a:pt x="384" y="2061"/>
                  </a:lnTo>
                  <a:lnTo>
                    <a:pt x="373" y="2056"/>
                  </a:lnTo>
                  <a:lnTo>
                    <a:pt x="364" y="2050"/>
                  </a:lnTo>
                  <a:lnTo>
                    <a:pt x="357" y="2044"/>
                  </a:lnTo>
                  <a:lnTo>
                    <a:pt x="351" y="2035"/>
                  </a:lnTo>
                  <a:lnTo>
                    <a:pt x="344" y="2027"/>
                  </a:lnTo>
                  <a:lnTo>
                    <a:pt x="341" y="2018"/>
                  </a:lnTo>
                  <a:lnTo>
                    <a:pt x="337" y="2009"/>
                  </a:lnTo>
                  <a:lnTo>
                    <a:pt x="332" y="1990"/>
                  </a:lnTo>
                  <a:lnTo>
                    <a:pt x="330" y="1972"/>
                  </a:lnTo>
                  <a:lnTo>
                    <a:pt x="329" y="1956"/>
                  </a:lnTo>
                  <a:lnTo>
                    <a:pt x="329" y="1956"/>
                  </a:lnTo>
                  <a:close/>
                  <a:moveTo>
                    <a:pt x="1260" y="2062"/>
                  </a:moveTo>
                  <a:lnTo>
                    <a:pt x="1199" y="2062"/>
                  </a:lnTo>
                  <a:lnTo>
                    <a:pt x="1199" y="1816"/>
                  </a:lnTo>
                  <a:lnTo>
                    <a:pt x="1260" y="1816"/>
                  </a:lnTo>
                  <a:lnTo>
                    <a:pt x="1260" y="1837"/>
                  </a:lnTo>
                  <a:lnTo>
                    <a:pt x="1260" y="1837"/>
                  </a:lnTo>
                  <a:lnTo>
                    <a:pt x="1266" y="1831"/>
                  </a:lnTo>
                  <a:lnTo>
                    <a:pt x="1272" y="1825"/>
                  </a:lnTo>
                  <a:lnTo>
                    <a:pt x="1280" y="1821"/>
                  </a:lnTo>
                  <a:lnTo>
                    <a:pt x="1287" y="1817"/>
                  </a:lnTo>
                  <a:lnTo>
                    <a:pt x="1296" y="1814"/>
                  </a:lnTo>
                  <a:lnTo>
                    <a:pt x="1303" y="1813"/>
                  </a:lnTo>
                  <a:lnTo>
                    <a:pt x="1313" y="1811"/>
                  </a:lnTo>
                  <a:lnTo>
                    <a:pt x="1321" y="1810"/>
                  </a:lnTo>
                  <a:lnTo>
                    <a:pt x="1321" y="1810"/>
                  </a:lnTo>
                  <a:lnTo>
                    <a:pt x="1333" y="1811"/>
                  </a:lnTo>
                  <a:lnTo>
                    <a:pt x="1342" y="1813"/>
                  </a:lnTo>
                  <a:lnTo>
                    <a:pt x="1352" y="1815"/>
                  </a:lnTo>
                  <a:lnTo>
                    <a:pt x="1361" y="1817"/>
                  </a:lnTo>
                  <a:lnTo>
                    <a:pt x="1369" y="1821"/>
                  </a:lnTo>
                  <a:lnTo>
                    <a:pt x="1377" y="1827"/>
                  </a:lnTo>
                  <a:lnTo>
                    <a:pt x="1383" y="1832"/>
                  </a:lnTo>
                  <a:lnTo>
                    <a:pt x="1389" y="1839"/>
                  </a:lnTo>
                  <a:lnTo>
                    <a:pt x="1395" y="1847"/>
                  </a:lnTo>
                  <a:lnTo>
                    <a:pt x="1399" y="1855"/>
                  </a:lnTo>
                  <a:lnTo>
                    <a:pt x="1404" y="1864"/>
                  </a:lnTo>
                  <a:lnTo>
                    <a:pt x="1406" y="1874"/>
                  </a:lnTo>
                  <a:lnTo>
                    <a:pt x="1409" y="1885"/>
                  </a:lnTo>
                  <a:lnTo>
                    <a:pt x="1411" y="1897"/>
                  </a:lnTo>
                  <a:lnTo>
                    <a:pt x="1412" y="1909"/>
                  </a:lnTo>
                  <a:lnTo>
                    <a:pt x="1412" y="1923"/>
                  </a:lnTo>
                  <a:lnTo>
                    <a:pt x="1412" y="2062"/>
                  </a:lnTo>
                  <a:lnTo>
                    <a:pt x="1351" y="2062"/>
                  </a:lnTo>
                  <a:lnTo>
                    <a:pt x="1351" y="1926"/>
                  </a:lnTo>
                  <a:lnTo>
                    <a:pt x="1351" y="1926"/>
                  </a:lnTo>
                  <a:lnTo>
                    <a:pt x="1351" y="1912"/>
                  </a:lnTo>
                  <a:lnTo>
                    <a:pt x="1348" y="1899"/>
                  </a:lnTo>
                  <a:lnTo>
                    <a:pt x="1345" y="1890"/>
                  </a:lnTo>
                  <a:lnTo>
                    <a:pt x="1340" y="1881"/>
                  </a:lnTo>
                  <a:lnTo>
                    <a:pt x="1334" y="1875"/>
                  </a:lnTo>
                  <a:lnTo>
                    <a:pt x="1326" y="1870"/>
                  </a:lnTo>
                  <a:lnTo>
                    <a:pt x="1318" y="1868"/>
                  </a:lnTo>
                  <a:lnTo>
                    <a:pt x="1307" y="1866"/>
                  </a:lnTo>
                  <a:lnTo>
                    <a:pt x="1307" y="1866"/>
                  </a:lnTo>
                  <a:lnTo>
                    <a:pt x="1296" y="1868"/>
                  </a:lnTo>
                  <a:lnTo>
                    <a:pt x="1286" y="1870"/>
                  </a:lnTo>
                  <a:lnTo>
                    <a:pt x="1279" y="1875"/>
                  </a:lnTo>
                  <a:lnTo>
                    <a:pt x="1272" y="1881"/>
                  </a:lnTo>
                  <a:lnTo>
                    <a:pt x="1266" y="1890"/>
                  </a:lnTo>
                  <a:lnTo>
                    <a:pt x="1263" y="1901"/>
                  </a:lnTo>
                  <a:lnTo>
                    <a:pt x="1260" y="1913"/>
                  </a:lnTo>
                  <a:lnTo>
                    <a:pt x="1260" y="1926"/>
                  </a:lnTo>
                  <a:lnTo>
                    <a:pt x="1260" y="2062"/>
                  </a:lnTo>
                  <a:close/>
                  <a:moveTo>
                    <a:pt x="658" y="1939"/>
                  </a:moveTo>
                  <a:lnTo>
                    <a:pt x="658" y="2062"/>
                  </a:lnTo>
                  <a:lnTo>
                    <a:pt x="597" y="2062"/>
                  </a:lnTo>
                  <a:lnTo>
                    <a:pt x="597" y="1816"/>
                  </a:lnTo>
                  <a:lnTo>
                    <a:pt x="658" y="1816"/>
                  </a:lnTo>
                  <a:lnTo>
                    <a:pt x="658" y="1939"/>
                  </a:lnTo>
                  <a:close/>
                  <a:moveTo>
                    <a:pt x="712" y="1744"/>
                  </a:moveTo>
                  <a:lnTo>
                    <a:pt x="774" y="1713"/>
                  </a:lnTo>
                  <a:lnTo>
                    <a:pt x="774" y="1936"/>
                  </a:lnTo>
                  <a:lnTo>
                    <a:pt x="774" y="2062"/>
                  </a:lnTo>
                  <a:lnTo>
                    <a:pt x="712" y="2062"/>
                  </a:lnTo>
                  <a:lnTo>
                    <a:pt x="712" y="1744"/>
                  </a:lnTo>
                  <a:close/>
                  <a:moveTo>
                    <a:pt x="967" y="1833"/>
                  </a:moveTo>
                  <a:lnTo>
                    <a:pt x="967" y="1833"/>
                  </a:lnTo>
                  <a:lnTo>
                    <a:pt x="962" y="1827"/>
                  </a:lnTo>
                  <a:lnTo>
                    <a:pt x="956" y="1824"/>
                  </a:lnTo>
                  <a:lnTo>
                    <a:pt x="949" y="1819"/>
                  </a:lnTo>
                  <a:lnTo>
                    <a:pt x="943" y="1816"/>
                  </a:lnTo>
                  <a:lnTo>
                    <a:pt x="935" y="1814"/>
                  </a:lnTo>
                  <a:lnTo>
                    <a:pt x="928" y="1811"/>
                  </a:lnTo>
                  <a:lnTo>
                    <a:pt x="913" y="1810"/>
                  </a:lnTo>
                  <a:lnTo>
                    <a:pt x="913" y="1810"/>
                  </a:lnTo>
                  <a:lnTo>
                    <a:pt x="902" y="1811"/>
                  </a:lnTo>
                  <a:lnTo>
                    <a:pt x="891" y="1813"/>
                  </a:lnTo>
                  <a:lnTo>
                    <a:pt x="881" y="1815"/>
                  </a:lnTo>
                  <a:lnTo>
                    <a:pt x="873" y="1819"/>
                  </a:lnTo>
                  <a:lnTo>
                    <a:pt x="864" y="1824"/>
                  </a:lnTo>
                  <a:lnTo>
                    <a:pt x="856" y="1830"/>
                  </a:lnTo>
                  <a:lnTo>
                    <a:pt x="848" y="1837"/>
                  </a:lnTo>
                  <a:lnTo>
                    <a:pt x="842" y="1844"/>
                  </a:lnTo>
                  <a:lnTo>
                    <a:pt x="836" y="1853"/>
                  </a:lnTo>
                  <a:lnTo>
                    <a:pt x="831" y="1863"/>
                  </a:lnTo>
                  <a:lnTo>
                    <a:pt x="826" y="1872"/>
                  </a:lnTo>
                  <a:lnTo>
                    <a:pt x="823" y="1883"/>
                  </a:lnTo>
                  <a:lnTo>
                    <a:pt x="820" y="1896"/>
                  </a:lnTo>
                  <a:lnTo>
                    <a:pt x="818" y="1909"/>
                  </a:lnTo>
                  <a:lnTo>
                    <a:pt x="816" y="1923"/>
                  </a:lnTo>
                  <a:lnTo>
                    <a:pt x="816" y="1936"/>
                  </a:lnTo>
                  <a:lnTo>
                    <a:pt x="816" y="1936"/>
                  </a:lnTo>
                  <a:lnTo>
                    <a:pt x="816" y="1952"/>
                  </a:lnTo>
                  <a:lnTo>
                    <a:pt x="818" y="1965"/>
                  </a:lnTo>
                  <a:lnTo>
                    <a:pt x="820" y="1979"/>
                  </a:lnTo>
                  <a:lnTo>
                    <a:pt x="823" y="1991"/>
                  </a:lnTo>
                  <a:lnTo>
                    <a:pt x="826" y="2003"/>
                  </a:lnTo>
                  <a:lnTo>
                    <a:pt x="830" y="2014"/>
                  </a:lnTo>
                  <a:lnTo>
                    <a:pt x="835" y="2024"/>
                  </a:lnTo>
                  <a:lnTo>
                    <a:pt x="841" y="2033"/>
                  </a:lnTo>
                  <a:lnTo>
                    <a:pt x="848" y="2041"/>
                  </a:lnTo>
                  <a:lnTo>
                    <a:pt x="854" y="2047"/>
                  </a:lnTo>
                  <a:lnTo>
                    <a:pt x="863" y="2054"/>
                  </a:lnTo>
                  <a:lnTo>
                    <a:pt x="872" y="2058"/>
                  </a:lnTo>
                  <a:lnTo>
                    <a:pt x="880" y="2062"/>
                  </a:lnTo>
                  <a:lnTo>
                    <a:pt x="890" y="2066"/>
                  </a:lnTo>
                  <a:lnTo>
                    <a:pt x="901" y="2067"/>
                  </a:lnTo>
                  <a:lnTo>
                    <a:pt x="912" y="2068"/>
                  </a:lnTo>
                  <a:lnTo>
                    <a:pt x="912" y="2068"/>
                  </a:lnTo>
                  <a:lnTo>
                    <a:pt x="919" y="2067"/>
                  </a:lnTo>
                  <a:lnTo>
                    <a:pt x="927" y="2066"/>
                  </a:lnTo>
                  <a:lnTo>
                    <a:pt x="934" y="2065"/>
                  </a:lnTo>
                  <a:lnTo>
                    <a:pt x="941" y="2062"/>
                  </a:lnTo>
                  <a:lnTo>
                    <a:pt x="948" y="2058"/>
                  </a:lnTo>
                  <a:lnTo>
                    <a:pt x="955" y="2055"/>
                  </a:lnTo>
                  <a:lnTo>
                    <a:pt x="961" y="2050"/>
                  </a:lnTo>
                  <a:lnTo>
                    <a:pt x="967" y="2044"/>
                  </a:lnTo>
                  <a:lnTo>
                    <a:pt x="967" y="2062"/>
                  </a:lnTo>
                  <a:lnTo>
                    <a:pt x="1029" y="2062"/>
                  </a:lnTo>
                  <a:lnTo>
                    <a:pt x="1029" y="1713"/>
                  </a:lnTo>
                  <a:lnTo>
                    <a:pt x="967" y="1744"/>
                  </a:lnTo>
                  <a:lnTo>
                    <a:pt x="967" y="1833"/>
                  </a:lnTo>
                  <a:close/>
                  <a:moveTo>
                    <a:pt x="924" y="2012"/>
                  </a:moveTo>
                  <a:lnTo>
                    <a:pt x="924" y="2012"/>
                  </a:lnTo>
                  <a:lnTo>
                    <a:pt x="917" y="2011"/>
                  </a:lnTo>
                  <a:lnTo>
                    <a:pt x="908" y="2008"/>
                  </a:lnTo>
                  <a:lnTo>
                    <a:pt x="901" y="2005"/>
                  </a:lnTo>
                  <a:lnTo>
                    <a:pt x="894" y="1997"/>
                  </a:lnTo>
                  <a:lnTo>
                    <a:pt x="888" y="1987"/>
                  </a:lnTo>
                  <a:lnTo>
                    <a:pt x="883" y="1974"/>
                  </a:lnTo>
                  <a:lnTo>
                    <a:pt x="879" y="1957"/>
                  </a:lnTo>
                  <a:lnTo>
                    <a:pt x="878" y="1935"/>
                  </a:lnTo>
                  <a:lnTo>
                    <a:pt x="878" y="1935"/>
                  </a:lnTo>
                  <a:lnTo>
                    <a:pt x="879" y="1915"/>
                  </a:lnTo>
                  <a:lnTo>
                    <a:pt x="883" y="1901"/>
                  </a:lnTo>
                  <a:lnTo>
                    <a:pt x="888" y="1888"/>
                  </a:lnTo>
                  <a:lnTo>
                    <a:pt x="894" y="1880"/>
                  </a:lnTo>
                  <a:lnTo>
                    <a:pt x="900" y="1872"/>
                  </a:lnTo>
                  <a:lnTo>
                    <a:pt x="908" y="1869"/>
                  </a:lnTo>
                  <a:lnTo>
                    <a:pt x="916" y="1866"/>
                  </a:lnTo>
                  <a:lnTo>
                    <a:pt x="924" y="1866"/>
                  </a:lnTo>
                  <a:lnTo>
                    <a:pt x="924" y="1866"/>
                  </a:lnTo>
                  <a:lnTo>
                    <a:pt x="932" y="1866"/>
                  </a:lnTo>
                  <a:lnTo>
                    <a:pt x="939" y="1869"/>
                  </a:lnTo>
                  <a:lnTo>
                    <a:pt x="946" y="1871"/>
                  </a:lnTo>
                  <a:lnTo>
                    <a:pt x="951" y="1875"/>
                  </a:lnTo>
                  <a:lnTo>
                    <a:pt x="956" y="1879"/>
                  </a:lnTo>
                  <a:lnTo>
                    <a:pt x="961" y="1882"/>
                  </a:lnTo>
                  <a:lnTo>
                    <a:pt x="967" y="1891"/>
                  </a:lnTo>
                  <a:lnTo>
                    <a:pt x="967" y="1987"/>
                  </a:lnTo>
                  <a:lnTo>
                    <a:pt x="967" y="1987"/>
                  </a:lnTo>
                  <a:lnTo>
                    <a:pt x="960" y="1996"/>
                  </a:lnTo>
                  <a:lnTo>
                    <a:pt x="951" y="2003"/>
                  </a:lnTo>
                  <a:lnTo>
                    <a:pt x="946" y="2007"/>
                  </a:lnTo>
                  <a:lnTo>
                    <a:pt x="939" y="2009"/>
                  </a:lnTo>
                  <a:lnTo>
                    <a:pt x="933" y="2011"/>
                  </a:lnTo>
                  <a:lnTo>
                    <a:pt x="924" y="2012"/>
                  </a:lnTo>
                  <a:lnTo>
                    <a:pt x="924" y="2012"/>
                  </a:lnTo>
                  <a:close/>
                  <a:moveTo>
                    <a:pt x="2299" y="1810"/>
                  </a:moveTo>
                  <a:lnTo>
                    <a:pt x="2299" y="1810"/>
                  </a:lnTo>
                  <a:lnTo>
                    <a:pt x="2292" y="1811"/>
                  </a:lnTo>
                  <a:lnTo>
                    <a:pt x="2285" y="1813"/>
                  </a:lnTo>
                  <a:lnTo>
                    <a:pt x="2270" y="1816"/>
                  </a:lnTo>
                  <a:lnTo>
                    <a:pt x="2257" y="1824"/>
                  </a:lnTo>
                  <a:lnTo>
                    <a:pt x="2245" y="1833"/>
                  </a:lnTo>
                  <a:lnTo>
                    <a:pt x="2245" y="1720"/>
                  </a:lnTo>
                  <a:lnTo>
                    <a:pt x="2183" y="1750"/>
                  </a:lnTo>
                  <a:lnTo>
                    <a:pt x="2183" y="2062"/>
                  </a:lnTo>
                  <a:lnTo>
                    <a:pt x="2245" y="2062"/>
                  </a:lnTo>
                  <a:lnTo>
                    <a:pt x="2245" y="2044"/>
                  </a:lnTo>
                  <a:lnTo>
                    <a:pt x="2245" y="2044"/>
                  </a:lnTo>
                  <a:lnTo>
                    <a:pt x="2249" y="2050"/>
                  </a:lnTo>
                  <a:lnTo>
                    <a:pt x="2257" y="2055"/>
                  </a:lnTo>
                  <a:lnTo>
                    <a:pt x="2263" y="2058"/>
                  </a:lnTo>
                  <a:lnTo>
                    <a:pt x="2270" y="2062"/>
                  </a:lnTo>
                  <a:lnTo>
                    <a:pt x="2276" y="2065"/>
                  </a:lnTo>
                  <a:lnTo>
                    <a:pt x="2285" y="2066"/>
                  </a:lnTo>
                  <a:lnTo>
                    <a:pt x="2292" y="2067"/>
                  </a:lnTo>
                  <a:lnTo>
                    <a:pt x="2300" y="2068"/>
                  </a:lnTo>
                  <a:lnTo>
                    <a:pt x="2300" y="2068"/>
                  </a:lnTo>
                  <a:lnTo>
                    <a:pt x="2311" y="2067"/>
                  </a:lnTo>
                  <a:lnTo>
                    <a:pt x="2322" y="2066"/>
                  </a:lnTo>
                  <a:lnTo>
                    <a:pt x="2332" y="2063"/>
                  </a:lnTo>
                  <a:lnTo>
                    <a:pt x="2341" y="2058"/>
                  </a:lnTo>
                  <a:lnTo>
                    <a:pt x="2350" y="2054"/>
                  </a:lnTo>
                  <a:lnTo>
                    <a:pt x="2357" y="2049"/>
                  </a:lnTo>
                  <a:lnTo>
                    <a:pt x="2365" y="2041"/>
                  </a:lnTo>
                  <a:lnTo>
                    <a:pt x="2371" y="2034"/>
                  </a:lnTo>
                  <a:lnTo>
                    <a:pt x="2377" y="2024"/>
                  </a:lnTo>
                  <a:lnTo>
                    <a:pt x="2382" y="2014"/>
                  </a:lnTo>
                  <a:lnTo>
                    <a:pt x="2386" y="2003"/>
                  </a:lnTo>
                  <a:lnTo>
                    <a:pt x="2389" y="1992"/>
                  </a:lnTo>
                  <a:lnTo>
                    <a:pt x="2393" y="1980"/>
                  </a:lnTo>
                  <a:lnTo>
                    <a:pt x="2394" y="1967"/>
                  </a:lnTo>
                  <a:lnTo>
                    <a:pt x="2395" y="1952"/>
                  </a:lnTo>
                  <a:lnTo>
                    <a:pt x="2397" y="1936"/>
                  </a:lnTo>
                  <a:lnTo>
                    <a:pt x="2397" y="1936"/>
                  </a:lnTo>
                  <a:lnTo>
                    <a:pt x="2395" y="1923"/>
                  </a:lnTo>
                  <a:lnTo>
                    <a:pt x="2394" y="1909"/>
                  </a:lnTo>
                  <a:lnTo>
                    <a:pt x="2392" y="1896"/>
                  </a:lnTo>
                  <a:lnTo>
                    <a:pt x="2389" y="1883"/>
                  </a:lnTo>
                  <a:lnTo>
                    <a:pt x="2386" y="1872"/>
                  </a:lnTo>
                  <a:lnTo>
                    <a:pt x="2381" y="1863"/>
                  </a:lnTo>
                  <a:lnTo>
                    <a:pt x="2376" y="1853"/>
                  </a:lnTo>
                  <a:lnTo>
                    <a:pt x="2370" y="1844"/>
                  </a:lnTo>
                  <a:lnTo>
                    <a:pt x="2363" y="1837"/>
                  </a:lnTo>
                  <a:lnTo>
                    <a:pt x="2356" y="1830"/>
                  </a:lnTo>
                  <a:lnTo>
                    <a:pt x="2348" y="1824"/>
                  </a:lnTo>
                  <a:lnTo>
                    <a:pt x="2339" y="1819"/>
                  </a:lnTo>
                  <a:lnTo>
                    <a:pt x="2330" y="1815"/>
                  </a:lnTo>
                  <a:lnTo>
                    <a:pt x="2321" y="1813"/>
                  </a:lnTo>
                  <a:lnTo>
                    <a:pt x="2310" y="1811"/>
                  </a:lnTo>
                  <a:lnTo>
                    <a:pt x="2299" y="1810"/>
                  </a:lnTo>
                  <a:lnTo>
                    <a:pt x="2299" y="1810"/>
                  </a:lnTo>
                  <a:close/>
                  <a:moveTo>
                    <a:pt x="2287" y="1866"/>
                  </a:moveTo>
                  <a:lnTo>
                    <a:pt x="2287" y="1866"/>
                  </a:lnTo>
                  <a:lnTo>
                    <a:pt x="2296" y="1868"/>
                  </a:lnTo>
                  <a:lnTo>
                    <a:pt x="2305" y="1870"/>
                  </a:lnTo>
                  <a:lnTo>
                    <a:pt x="2312" y="1875"/>
                  </a:lnTo>
                  <a:lnTo>
                    <a:pt x="2319" y="1882"/>
                  </a:lnTo>
                  <a:lnTo>
                    <a:pt x="2325" y="1891"/>
                  </a:lnTo>
                  <a:lnTo>
                    <a:pt x="2329" y="1903"/>
                  </a:lnTo>
                  <a:lnTo>
                    <a:pt x="2333" y="1918"/>
                  </a:lnTo>
                  <a:lnTo>
                    <a:pt x="2334" y="1935"/>
                  </a:lnTo>
                  <a:lnTo>
                    <a:pt x="2334" y="1935"/>
                  </a:lnTo>
                  <a:lnTo>
                    <a:pt x="2333" y="1953"/>
                  </a:lnTo>
                  <a:lnTo>
                    <a:pt x="2330" y="1969"/>
                  </a:lnTo>
                  <a:lnTo>
                    <a:pt x="2328" y="1981"/>
                  </a:lnTo>
                  <a:lnTo>
                    <a:pt x="2323" y="1992"/>
                  </a:lnTo>
                  <a:lnTo>
                    <a:pt x="2316" y="2001"/>
                  </a:lnTo>
                  <a:lnTo>
                    <a:pt x="2308" y="2007"/>
                  </a:lnTo>
                  <a:lnTo>
                    <a:pt x="2300" y="2011"/>
                  </a:lnTo>
                  <a:lnTo>
                    <a:pt x="2289" y="2012"/>
                  </a:lnTo>
                  <a:lnTo>
                    <a:pt x="2289" y="2012"/>
                  </a:lnTo>
                  <a:lnTo>
                    <a:pt x="2280" y="2011"/>
                  </a:lnTo>
                  <a:lnTo>
                    <a:pt x="2273" y="2009"/>
                  </a:lnTo>
                  <a:lnTo>
                    <a:pt x="2267" y="2006"/>
                  </a:lnTo>
                  <a:lnTo>
                    <a:pt x="2261" y="2003"/>
                  </a:lnTo>
                  <a:lnTo>
                    <a:pt x="2251" y="1995"/>
                  </a:lnTo>
                  <a:lnTo>
                    <a:pt x="2245" y="1989"/>
                  </a:lnTo>
                  <a:lnTo>
                    <a:pt x="2245" y="1891"/>
                  </a:lnTo>
                  <a:lnTo>
                    <a:pt x="2245" y="1891"/>
                  </a:lnTo>
                  <a:lnTo>
                    <a:pt x="2248" y="1886"/>
                  </a:lnTo>
                  <a:lnTo>
                    <a:pt x="2253" y="1881"/>
                  </a:lnTo>
                  <a:lnTo>
                    <a:pt x="2258" y="1876"/>
                  </a:lnTo>
                  <a:lnTo>
                    <a:pt x="2263" y="1872"/>
                  </a:lnTo>
                  <a:lnTo>
                    <a:pt x="2269" y="1870"/>
                  </a:lnTo>
                  <a:lnTo>
                    <a:pt x="2275" y="1868"/>
                  </a:lnTo>
                  <a:lnTo>
                    <a:pt x="2281" y="1866"/>
                  </a:lnTo>
                  <a:lnTo>
                    <a:pt x="2287" y="1866"/>
                  </a:lnTo>
                  <a:lnTo>
                    <a:pt x="2287" y="1866"/>
                  </a:lnTo>
                  <a:close/>
                  <a:moveTo>
                    <a:pt x="1605" y="1833"/>
                  </a:moveTo>
                  <a:lnTo>
                    <a:pt x="1605" y="1833"/>
                  </a:lnTo>
                  <a:lnTo>
                    <a:pt x="1600" y="1828"/>
                  </a:lnTo>
                  <a:lnTo>
                    <a:pt x="1594" y="1824"/>
                  </a:lnTo>
                  <a:lnTo>
                    <a:pt x="1586" y="1820"/>
                  </a:lnTo>
                  <a:lnTo>
                    <a:pt x="1580" y="1816"/>
                  </a:lnTo>
                  <a:lnTo>
                    <a:pt x="1573" y="1814"/>
                  </a:lnTo>
                  <a:lnTo>
                    <a:pt x="1565" y="1811"/>
                  </a:lnTo>
                  <a:lnTo>
                    <a:pt x="1558" y="1811"/>
                  </a:lnTo>
                  <a:lnTo>
                    <a:pt x="1551" y="1810"/>
                  </a:lnTo>
                  <a:lnTo>
                    <a:pt x="1551" y="1810"/>
                  </a:lnTo>
                  <a:lnTo>
                    <a:pt x="1540" y="1811"/>
                  </a:lnTo>
                  <a:lnTo>
                    <a:pt x="1529" y="1813"/>
                  </a:lnTo>
                  <a:lnTo>
                    <a:pt x="1519" y="1815"/>
                  </a:lnTo>
                  <a:lnTo>
                    <a:pt x="1510" y="1819"/>
                  </a:lnTo>
                  <a:lnTo>
                    <a:pt x="1502" y="1824"/>
                  </a:lnTo>
                  <a:lnTo>
                    <a:pt x="1493" y="1830"/>
                  </a:lnTo>
                  <a:lnTo>
                    <a:pt x="1486" y="1837"/>
                  </a:lnTo>
                  <a:lnTo>
                    <a:pt x="1480" y="1844"/>
                  </a:lnTo>
                  <a:lnTo>
                    <a:pt x="1474" y="1853"/>
                  </a:lnTo>
                  <a:lnTo>
                    <a:pt x="1469" y="1863"/>
                  </a:lnTo>
                  <a:lnTo>
                    <a:pt x="1464" y="1872"/>
                  </a:lnTo>
                  <a:lnTo>
                    <a:pt x="1460" y="1883"/>
                  </a:lnTo>
                  <a:lnTo>
                    <a:pt x="1458" y="1896"/>
                  </a:lnTo>
                  <a:lnTo>
                    <a:pt x="1455" y="1909"/>
                  </a:lnTo>
                  <a:lnTo>
                    <a:pt x="1454" y="1923"/>
                  </a:lnTo>
                  <a:lnTo>
                    <a:pt x="1454" y="1936"/>
                  </a:lnTo>
                  <a:lnTo>
                    <a:pt x="1454" y="1936"/>
                  </a:lnTo>
                  <a:lnTo>
                    <a:pt x="1454" y="1952"/>
                  </a:lnTo>
                  <a:lnTo>
                    <a:pt x="1455" y="1965"/>
                  </a:lnTo>
                  <a:lnTo>
                    <a:pt x="1458" y="1979"/>
                  </a:lnTo>
                  <a:lnTo>
                    <a:pt x="1460" y="1991"/>
                  </a:lnTo>
                  <a:lnTo>
                    <a:pt x="1464" y="2003"/>
                  </a:lnTo>
                  <a:lnTo>
                    <a:pt x="1467" y="2014"/>
                  </a:lnTo>
                  <a:lnTo>
                    <a:pt x="1474" y="2024"/>
                  </a:lnTo>
                  <a:lnTo>
                    <a:pt x="1478" y="2033"/>
                  </a:lnTo>
                  <a:lnTo>
                    <a:pt x="1486" y="2041"/>
                  </a:lnTo>
                  <a:lnTo>
                    <a:pt x="1492" y="2047"/>
                  </a:lnTo>
                  <a:lnTo>
                    <a:pt x="1500" y="2054"/>
                  </a:lnTo>
                  <a:lnTo>
                    <a:pt x="1509" y="2058"/>
                  </a:lnTo>
                  <a:lnTo>
                    <a:pt x="1518" y="2062"/>
                  </a:lnTo>
                  <a:lnTo>
                    <a:pt x="1527" y="2066"/>
                  </a:lnTo>
                  <a:lnTo>
                    <a:pt x="1538" y="2067"/>
                  </a:lnTo>
                  <a:lnTo>
                    <a:pt x="1550" y="2067"/>
                  </a:lnTo>
                  <a:lnTo>
                    <a:pt x="1550" y="2067"/>
                  </a:lnTo>
                  <a:lnTo>
                    <a:pt x="1557" y="2067"/>
                  </a:lnTo>
                  <a:lnTo>
                    <a:pt x="1564" y="2066"/>
                  </a:lnTo>
                  <a:lnTo>
                    <a:pt x="1572" y="2065"/>
                  </a:lnTo>
                  <a:lnTo>
                    <a:pt x="1579" y="2062"/>
                  </a:lnTo>
                  <a:lnTo>
                    <a:pt x="1586" y="2058"/>
                  </a:lnTo>
                  <a:lnTo>
                    <a:pt x="1592" y="2054"/>
                  </a:lnTo>
                  <a:lnTo>
                    <a:pt x="1599" y="2050"/>
                  </a:lnTo>
                  <a:lnTo>
                    <a:pt x="1605" y="2044"/>
                  </a:lnTo>
                  <a:lnTo>
                    <a:pt x="1605" y="2050"/>
                  </a:lnTo>
                  <a:lnTo>
                    <a:pt x="1605" y="2050"/>
                  </a:lnTo>
                  <a:lnTo>
                    <a:pt x="1605" y="2060"/>
                  </a:lnTo>
                  <a:lnTo>
                    <a:pt x="1603" y="2071"/>
                  </a:lnTo>
                  <a:lnTo>
                    <a:pt x="1601" y="2082"/>
                  </a:lnTo>
                  <a:lnTo>
                    <a:pt x="1599" y="2087"/>
                  </a:lnTo>
                  <a:lnTo>
                    <a:pt x="1595" y="2091"/>
                  </a:lnTo>
                  <a:lnTo>
                    <a:pt x="1591" y="2096"/>
                  </a:lnTo>
                  <a:lnTo>
                    <a:pt x="1586" y="2101"/>
                  </a:lnTo>
                  <a:lnTo>
                    <a:pt x="1579" y="2105"/>
                  </a:lnTo>
                  <a:lnTo>
                    <a:pt x="1572" y="2107"/>
                  </a:lnTo>
                  <a:lnTo>
                    <a:pt x="1563" y="2111"/>
                  </a:lnTo>
                  <a:lnTo>
                    <a:pt x="1552" y="2112"/>
                  </a:lnTo>
                  <a:lnTo>
                    <a:pt x="1540" y="2115"/>
                  </a:lnTo>
                  <a:lnTo>
                    <a:pt x="1526" y="2115"/>
                  </a:lnTo>
                  <a:lnTo>
                    <a:pt x="1524" y="2115"/>
                  </a:lnTo>
                  <a:lnTo>
                    <a:pt x="1545" y="2162"/>
                  </a:lnTo>
                  <a:lnTo>
                    <a:pt x="1546" y="2162"/>
                  </a:lnTo>
                  <a:lnTo>
                    <a:pt x="1546" y="2162"/>
                  </a:lnTo>
                  <a:lnTo>
                    <a:pt x="1561" y="2162"/>
                  </a:lnTo>
                  <a:lnTo>
                    <a:pt x="1574" y="2160"/>
                  </a:lnTo>
                  <a:lnTo>
                    <a:pt x="1588" y="2158"/>
                  </a:lnTo>
                  <a:lnTo>
                    <a:pt x="1599" y="2154"/>
                  </a:lnTo>
                  <a:lnTo>
                    <a:pt x="1610" y="2150"/>
                  </a:lnTo>
                  <a:lnTo>
                    <a:pt x="1619" y="2145"/>
                  </a:lnTo>
                  <a:lnTo>
                    <a:pt x="1628" y="2138"/>
                  </a:lnTo>
                  <a:lnTo>
                    <a:pt x="1637" y="2132"/>
                  </a:lnTo>
                  <a:lnTo>
                    <a:pt x="1644" y="2123"/>
                  </a:lnTo>
                  <a:lnTo>
                    <a:pt x="1649" y="2113"/>
                  </a:lnTo>
                  <a:lnTo>
                    <a:pt x="1655" y="2104"/>
                  </a:lnTo>
                  <a:lnTo>
                    <a:pt x="1659" y="2093"/>
                  </a:lnTo>
                  <a:lnTo>
                    <a:pt x="1662" y="2080"/>
                  </a:lnTo>
                  <a:lnTo>
                    <a:pt x="1665" y="2068"/>
                  </a:lnTo>
                  <a:lnTo>
                    <a:pt x="1666" y="2055"/>
                  </a:lnTo>
                  <a:lnTo>
                    <a:pt x="1666" y="2039"/>
                  </a:lnTo>
                  <a:lnTo>
                    <a:pt x="1666" y="1816"/>
                  </a:lnTo>
                  <a:lnTo>
                    <a:pt x="1605" y="1816"/>
                  </a:lnTo>
                  <a:lnTo>
                    <a:pt x="1605" y="1833"/>
                  </a:lnTo>
                  <a:close/>
                  <a:moveTo>
                    <a:pt x="1605" y="1891"/>
                  </a:moveTo>
                  <a:lnTo>
                    <a:pt x="1605" y="1987"/>
                  </a:lnTo>
                  <a:lnTo>
                    <a:pt x="1605" y="1987"/>
                  </a:lnTo>
                  <a:lnTo>
                    <a:pt x="1597" y="1996"/>
                  </a:lnTo>
                  <a:lnTo>
                    <a:pt x="1588" y="2005"/>
                  </a:lnTo>
                  <a:lnTo>
                    <a:pt x="1583" y="2007"/>
                  </a:lnTo>
                  <a:lnTo>
                    <a:pt x="1576" y="2009"/>
                  </a:lnTo>
                  <a:lnTo>
                    <a:pt x="1569" y="2011"/>
                  </a:lnTo>
                  <a:lnTo>
                    <a:pt x="1562" y="2012"/>
                  </a:lnTo>
                  <a:lnTo>
                    <a:pt x="1562" y="2012"/>
                  </a:lnTo>
                  <a:lnTo>
                    <a:pt x="1553" y="2011"/>
                  </a:lnTo>
                  <a:lnTo>
                    <a:pt x="1546" y="2008"/>
                  </a:lnTo>
                  <a:lnTo>
                    <a:pt x="1537" y="2003"/>
                  </a:lnTo>
                  <a:lnTo>
                    <a:pt x="1531" y="1997"/>
                  </a:lnTo>
                  <a:lnTo>
                    <a:pt x="1525" y="1987"/>
                  </a:lnTo>
                  <a:lnTo>
                    <a:pt x="1520" y="1974"/>
                  </a:lnTo>
                  <a:lnTo>
                    <a:pt x="1516" y="1957"/>
                  </a:lnTo>
                  <a:lnTo>
                    <a:pt x="1515" y="1935"/>
                  </a:lnTo>
                  <a:lnTo>
                    <a:pt x="1515" y="1935"/>
                  </a:lnTo>
                  <a:lnTo>
                    <a:pt x="1516" y="1915"/>
                  </a:lnTo>
                  <a:lnTo>
                    <a:pt x="1520" y="1901"/>
                  </a:lnTo>
                  <a:lnTo>
                    <a:pt x="1525" y="1888"/>
                  </a:lnTo>
                  <a:lnTo>
                    <a:pt x="1531" y="1880"/>
                  </a:lnTo>
                  <a:lnTo>
                    <a:pt x="1537" y="1872"/>
                  </a:lnTo>
                  <a:lnTo>
                    <a:pt x="1546" y="1869"/>
                  </a:lnTo>
                  <a:lnTo>
                    <a:pt x="1553" y="1866"/>
                  </a:lnTo>
                  <a:lnTo>
                    <a:pt x="1562" y="1866"/>
                  </a:lnTo>
                  <a:lnTo>
                    <a:pt x="1562" y="1866"/>
                  </a:lnTo>
                  <a:lnTo>
                    <a:pt x="1569" y="1866"/>
                  </a:lnTo>
                  <a:lnTo>
                    <a:pt x="1576" y="1869"/>
                  </a:lnTo>
                  <a:lnTo>
                    <a:pt x="1584" y="1871"/>
                  </a:lnTo>
                  <a:lnTo>
                    <a:pt x="1589" y="1874"/>
                  </a:lnTo>
                  <a:lnTo>
                    <a:pt x="1594" y="1879"/>
                  </a:lnTo>
                  <a:lnTo>
                    <a:pt x="1599" y="1882"/>
                  </a:lnTo>
                  <a:lnTo>
                    <a:pt x="1605" y="1891"/>
                  </a:lnTo>
                  <a:lnTo>
                    <a:pt x="1605" y="1891"/>
                  </a:lnTo>
                  <a:close/>
                  <a:moveTo>
                    <a:pt x="1856" y="1876"/>
                  </a:moveTo>
                  <a:lnTo>
                    <a:pt x="1856" y="1876"/>
                  </a:lnTo>
                  <a:lnTo>
                    <a:pt x="1871" y="1869"/>
                  </a:lnTo>
                  <a:lnTo>
                    <a:pt x="1885" y="1864"/>
                  </a:lnTo>
                  <a:lnTo>
                    <a:pt x="1901" y="1860"/>
                  </a:lnTo>
                  <a:lnTo>
                    <a:pt x="1918" y="1859"/>
                  </a:lnTo>
                  <a:lnTo>
                    <a:pt x="1918" y="1859"/>
                  </a:lnTo>
                  <a:lnTo>
                    <a:pt x="1930" y="1860"/>
                  </a:lnTo>
                  <a:lnTo>
                    <a:pt x="1938" y="1861"/>
                  </a:lnTo>
                  <a:lnTo>
                    <a:pt x="1945" y="1864"/>
                  </a:lnTo>
                  <a:lnTo>
                    <a:pt x="1952" y="1869"/>
                  </a:lnTo>
                  <a:lnTo>
                    <a:pt x="1956" y="1874"/>
                  </a:lnTo>
                  <a:lnTo>
                    <a:pt x="1960" y="1880"/>
                  </a:lnTo>
                  <a:lnTo>
                    <a:pt x="1963" y="1886"/>
                  </a:lnTo>
                  <a:lnTo>
                    <a:pt x="1963" y="1894"/>
                  </a:lnTo>
                  <a:lnTo>
                    <a:pt x="1963" y="1912"/>
                  </a:lnTo>
                  <a:lnTo>
                    <a:pt x="1963" y="1912"/>
                  </a:lnTo>
                  <a:lnTo>
                    <a:pt x="1952" y="1907"/>
                  </a:lnTo>
                  <a:lnTo>
                    <a:pt x="1938" y="1903"/>
                  </a:lnTo>
                  <a:lnTo>
                    <a:pt x="1925" y="1901"/>
                  </a:lnTo>
                  <a:lnTo>
                    <a:pt x="1910" y="1899"/>
                  </a:lnTo>
                  <a:lnTo>
                    <a:pt x="1910" y="1899"/>
                  </a:lnTo>
                  <a:lnTo>
                    <a:pt x="1893" y="1901"/>
                  </a:lnTo>
                  <a:lnTo>
                    <a:pt x="1876" y="1904"/>
                  </a:lnTo>
                  <a:lnTo>
                    <a:pt x="1860" y="1909"/>
                  </a:lnTo>
                  <a:lnTo>
                    <a:pt x="1851" y="1913"/>
                  </a:lnTo>
                  <a:lnTo>
                    <a:pt x="1844" y="1918"/>
                  </a:lnTo>
                  <a:lnTo>
                    <a:pt x="1838" y="1923"/>
                  </a:lnTo>
                  <a:lnTo>
                    <a:pt x="1831" y="1929"/>
                  </a:lnTo>
                  <a:lnTo>
                    <a:pt x="1825" y="1935"/>
                  </a:lnTo>
                  <a:lnTo>
                    <a:pt x="1820" y="1942"/>
                  </a:lnTo>
                  <a:lnTo>
                    <a:pt x="1817" y="1951"/>
                  </a:lnTo>
                  <a:lnTo>
                    <a:pt x="1814" y="1961"/>
                  </a:lnTo>
                  <a:lnTo>
                    <a:pt x="1813" y="1970"/>
                  </a:lnTo>
                  <a:lnTo>
                    <a:pt x="1812" y="1980"/>
                  </a:lnTo>
                  <a:lnTo>
                    <a:pt x="1812" y="1980"/>
                  </a:lnTo>
                  <a:lnTo>
                    <a:pt x="1813" y="1992"/>
                  </a:lnTo>
                  <a:lnTo>
                    <a:pt x="1814" y="2003"/>
                  </a:lnTo>
                  <a:lnTo>
                    <a:pt x="1817" y="2012"/>
                  </a:lnTo>
                  <a:lnTo>
                    <a:pt x="1820" y="2022"/>
                  </a:lnTo>
                  <a:lnTo>
                    <a:pt x="1824" y="2029"/>
                  </a:lnTo>
                  <a:lnTo>
                    <a:pt x="1830" y="2036"/>
                  </a:lnTo>
                  <a:lnTo>
                    <a:pt x="1835" y="2043"/>
                  </a:lnTo>
                  <a:lnTo>
                    <a:pt x="1842" y="2049"/>
                  </a:lnTo>
                  <a:lnTo>
                    <a:pt x="1849" y="2054"/>
                  </a:lnTo>
                  <a:lnTo>
                    <a:pt x="1856" y="2057"/>
                  </a:lnTo>
                  <a:lnTo>
                    <a:pt x="1872" y="2063"/>
                  </a:lnTo>
                  <a:lnTo>
                    <a:pt x="1888" y="2067"/>
                  </a:lnTo>
                  <a:lnTo>
                    <a:pt x="1904" y="2068"/>
                  </a:lnTo>
                  <a:lnTo>
                    <a:pt x="1904" y="2068"/>
                  </a:lnTo>
                  <a:lnTo>
                    <a:pt x="1917" y="2066"/>
                  </a:lnTo>
                  <a:lnTo>
                    <a:pt x="1926" y="2065"/>
                  </a:lnTo>
                  <a:lnTo>
                    <a:pt x="1933" y="2062"/>
                  </a:lnTo>
                  <a:lnTo>
                    <a:pt x="1942" y="2058"/>
                  </a:lnTo>
                  <a:lnTo>
                    <a:pt x="1949" y="2054"/>
                  </a:lnTo>
                  <a:lnTo>
                    <a:pt x="1956" y="2049"/>
                  </a:lnTo>
                  <a:lnTo>
                    <a:pt x="1963" y="2043"/>
                  </a:lnTo>
                  <a:lnTo>
                    <a:pt x="1963" y="2062"/>
                  </a:lnTo>
                  <a:lnTo>
                    <a:pt x="2024" y="2062"/>
                  </a:lnTo>
                  <a:lnTo>
                    <a:pt x="2024" y="1896"/>
                  </a:lnTo>
                  <a:lnTo>
                    <a:pt x="2024" y="1896"/>
                  </a:lnTo>
                  <a:lnTo>
                    <a:pt x="2024" y="1886"/>
                  </a:lnTo>
                  <a:lnTo>
                    <a:pt x="2023" y="1877"/>
                  </a:lnTo>
                  <a:lnTo>
                    <a:pt x="2020" y="1869"/>
                  </a:lnTo>
                  <a:lnTo>
                    <a:pt x="2018" y="1860"/>
                  </a:lnTo>
                  <a:lnTo>
                    <a:pt x="2013" y="1853"/>
                  </a:lnTo>
                  <a:lnTo>
                    <a:pt x="2009" y="1846"/>
                  </a:lnTo>
                  <a:lnTo>
                    <a:pt x="2003" y="1839"/>
                  </a:lnTo>
                  <a:lnTo>
                    <a:pt x="1997" y="1833"/>
                  </a:lnTo>
                  <a:lnTo>
                    <a:pt x="1991" y="1828"/>
                  </a:lnTo>
                  <a:lnTo>
                    <a:pt x="1983" y="1824"/>
                  </a:lnTo>
                  <a:lnTo>
                    <a:pt x="1975" y="1820"/>
                  </a:lnTo>
                  <a:lnTo>
                    <a:pt x="1966" y="1816"/>
                  </a:lnTo>
                  <a:lnTo>
                    <a:pt x="1956" y="1814"/>
                  </a:lnTo>
                  <a:lnTo>
                    <a:pt x="1947" y="1813"/>
                  </a:lnTo>
                  <a:lnTo>
                    <a:pt x="1936" y="1811"/>
                  </a:lnTo>
                  <a:lnTo>
                    <a:pt x="1925" y="1810"/>
                  </a:lnTo>
                  <a:lnTo>
                    <a:pt x="1925" y="1810"/>
                  </a:lnTo>
                  <a:lnTo>
                    <a:pt x="1911" y="1811"/>
                  </a:lnTo>
                  <a:lnTo>
                    <a:pt x="1900" y="1811"/>
                  </a:lnTo>
                  <a:lnTo>
                    <a:pt x="1888" y="1814"/>
                  </a:lnTo>
                  <a:lnTo>
                    <a:pt x="1876" y="1816"/>
                  </a:lnTo>
                  <a:lnTo>
                    <a:pt x="1865" y="1820"/>
                  </a:lnTo>
                  <a:lnTo>
                    <a:pt x="1854" y="1824"/>
                  </a:lnTo>
                  <a:lnTo>
                    <a:pt x="1842" y="1828"/>
                  </a:lnTo>
                  <a:lnTo>
                    <a:pt x="1831" y="1835"/>
                  </a:lnTo>
                  <a:lnTo>
                    <a:pt x="1856" y="1876"/>
                  </a:lnTo>
                  <a:close/>
                  <a:moveTo>
                    <a:pt x="1873" y="1980"/>
                  </a:moveTo>
                  <a:lnTo>
                    <a:pt x="1873" y="1980"/>
                  </a:lnTo>
                  <a:lnTo>
                    <a:pt x="1873" y="1973"/>
                  </a:lnTo>
                  <a:lnTo>
                    <a:pt x="1876" y="1965"/>
                  </a:lnTo>
                  <a:lnTo>
                    <a:pt x="1879" y="1959"/>
                  </a:lnTo>
                  <a:lnTo>
                    <a:pt x="1884" y="1954"/>
                  </a:lnTo>
                  <a:lnTo>
                    <a:pt x="1890" y="1951"/>
                  </a:lnTo>
                  <a:lnTo>
                    <a:pt x="1898" y="1948"/>
                  </a:lnTo>
                  <a:lnTo>
                    <a:pt x="1906" y="1946"/>
                  </a:lnTo>
                  <a:lnTo>
                    <a:pt x="1915" y="1946"/>
                  </a:lnTo>
                  <a:lnTo>
                    <a:pt x="1915" y="1946"/>
                  </a:lnTo>
                  <a:lnTo>
                    <a:pt x="1928" y="1946"/>
                  </a:lnTo>
                  <a:lnTo>
                    <a:pt x="1941" y="1948"/>
                  </a:lnTo>
                  <a:lnTo>
                    <a:pt x="1952" y="1952"/>
                  </a:lnTo>
                  <a:lnTo>
                    <a:pt x="1963" y="1958"/>
                  </a:lnTo>
                  <a:lnTo>
                    <a:pt x="1963" y="1991"/>
                  </a:lnTo>
                  <a:lnTo>
                    <a:pt x="1963" y="1991"/>
                  </a:lnTo>
                  <a:lnTo>
                    <a:pt x="1960" y="1996"/>
                  </a:lnTo>
                  <a:lnTo>
                    <a:pt x="1955" y="2001"/>
                  </a:lnTo>
                  <a:lnTo>
                    <a:pt x="1950" y="2006"/>
                  </a:lnTo>
                  <a:lnTo>
                    <a:pt x="1944" y="2009"/>
                  </a:lnTo>
                  <a:lnTo>
                    <a:pt x="1938" y="2013"/>
                  </a:lnTo>
                  <a:lnTo>
                    <a:pt x="1931" y="2016"/>
                  </a:lnTo>
                  <a:lnTo>
                    <a:pt x="1923" y="2017"/>
                  </a:lnTo>
                  <a:lnTo>
                    <a:pt x="1915" y="2018"/>
                  </a:lnTo>
                  <a:lnTo>
                    <a:pt x="1915" y="2018"/>
                  </a:lnTo>
                  <a:lnTo>
                    <a:pt x="1906" y="2017"/>
                  </a:lnTo>
                  <a:lnTo>
                    <a:pt x="1898" y="2014"/>
                  </a:lnTo>
                  <a:lnTo>
                    <a:pt x="1890" y="2012"/>
                  </a:lnTo>
                  <a:lnTo>
                    <a:pt x="1884" y="2007"/>
                  </a:lnTo>
                  <a:lnTo>
                    <a:pt x="1879" y="2002"/>
                  </a:lnTo>
                  <a:lnTo>
                    <a:pt x="1876" y="1996"/>
                  </a:lnTo>
                  <a:lnTo>
                    <a:pt x="1874" y="1989"/>
                  </a:lnTo>
                  <a:lnTo>
                    <a:pt x="1873" y="1980"/>
                  </a:lnTo>
                  <a:lnTo>
                    <a:pt x="1873" y="1980"/>
                  </a:lnTo>
                  <a:close/>
                  <a:moveTo>
                    <a:pt x="2592" y="1991"/>
                  </a:moveTo>
                  <a:lnTo>
                    <a:pt x="2592" y="1991"/>
                  </a:lnTo>
                  <a:lnTo>
                    <a:pt x="2583" y="1998"/>
                  </a:lnTo>
                  <a:lnTo>
                    <a:pt x="2572" y="2005"/>
                  </a:lnTo>
                  <a:lnTo>
                    <a:pt x="2566" y="2007"/>
                  </a:lnTo>
                  <a:lnTo>
                    <a:pt x="2558" y="2009"/>
                  </a:lnTo>
                  <a:lnTo>
                    <a:pt x="2551" y="2011"/>
                  </a:lnTo>
                  <a:lnTo>
                    <a:pt x="2544" y="2012"/>
                  </a:lnTo>
                  <a:lnTo>
                    <a:pt x="2544" y="2012"/>
                  </a:lnTo>
                  <a:lnTo>
                    <a:pt x="2538" y="2011"/>
                  </a:lnTo>
                  <a:lnTo>
                    <a:pt x="2530" y="2011"/>
                  </a:lnTo>
                  <a:lnTo>
                    <a:pt x="2522" y="2008"/>
                  </a:lnTo>
                  <a:lnTo>
                    <a:pt x="2512" y="2003"/>
                  </a:lnTo>
                  <a:lnTo>
                    <a:pt x="2503" y="1997"/>
                  </a:lnTo>
                  <a:lnTo>
                    <a:pt x="2500" y="1992"/>
                  </a:lnTo>
                  <a:lnTo>
                    <a:pt x="2496" y="1987"/>
                  </a:lnTo>
                  <a:lnTo>
                    <a:pt x="2493" y="1981"/>
                  </a:lnTo>
                  <a:lnTo>
                    <a:pt x="2491" y="1974"/>
                  </a:lnTo>
                  <a:lnTo>
                    <a:pt x="2490" y="1967"/>
                  </a:lnTo>
                  <a:lnTo>
                    <a:pt x="2489" y="1958"/>
                  </a:lnTo>
                  <a:lnTo>
                    <a:pt x="2639" y="1958"/>
                  </a:lnTo>
                  <a:lnTo>
                    <a:pt x="2639" y="1958"/>
                  </a:lnTo>
                  <a:lnTo>
                    <a:pt x="2641" y="1940"/>
                  </a:lnTo>
                  <a:lnTo>
                    <a:pt x="2641" y="1940"/>
                  </a:lnTo>
                  <a:lnTo>
                    <a:pt x="2641" y="1925"/>
                  </a:lnTo>
                  <a:lnTo>
                    <a:pt x="2638" y="1912"/>
                  </a:lnTo>
                  <a:lnTo>
                    <a:pt x="2637" y="1898"/>
                  </a:lnTo>
                  <a:lnTo>
                    <a:pt x="2633" y="1886"/>
                  </a:lnTo>
                  <a:lnTo>
                    <a:pt x="2630" y="1875"/>
                  </a:lnTo>
                  <a:lnTo>
                    <a:pt x="2625" y="1864"/>
                  </a:lnTo>
                  <a:lnTo>
                    <a:pt x="2618" y="1854"/>
                  </a:lnTo>
                  <a:lnTo>
                    <a:pt x="2612" y="1846"/>
                  </a:lnTo>
                  <a:lnTo>
                    <a:pt x="2605" y="1837"/>
                  </a:lnTo>
                  <a:lnTo>
                    <a:pt x="2598" y="1831"/>
                  </a:lnTo>
                  <a:lnTo>
                    <a:pt x="2589" y="1825"/>
                  </a:lnTo>
                  <a:lnTo>
                    <a:pt x="2579" y="1820"/>
                  </a:lnTo>
                  <a:lnTo>
                    <a:pt x="2569" y="1816"/>
                  </a:lnTo>
                  <a:lnTo>
                    <a:pt x="2560" y="1813"/>
                  </a:lnTo>
                  <a:lnTo>
                    <a:pt x="2549" y="1811"/>
                  </a:lnTo>
                  <a:lnTo>
                    <a:pt x="2536" y="1810"/>
                  </a:lnTo>
                  <a:lnTo>
                    <a:pt x="2536" y="1810"/>
                  </a:lnTo>
                  <a:lnTo>
                    <a:pt x="2525" y="1811"/>
                  </a:lnTo>
                  <a:lnTo>
                    <a:pt x="2514" y="1813"/>
                  </a:lnTo>
                  <a:lnTo>
                    <a:pt x="2503" y="1816"/>
                  </a:lnTo>
                  <a:lnTo>
                    <a:pt x="2492" y="1820"/>
                  </a:lnTo>
                  <a:lnTo>
                    <a:pt x="2482" y="1825"/>
                  </a:lnTo>
                  <a:lnTo>
                    <a:pt x="2474" y="1832"/>
                  </a:lnTo>
                  <a:lnTo>
                    <a:pt x="2465" y="1838"/>
                  </a:lnTo>
                  <a:lnTo>
                    <a:pt x="2458" y="1847"/>
                  </a:lnTo>
                  <a:lnTo>
                    <a:pt x="2451" y="1855"/>
                  </a:lnTo>
                  <a:lnTo>
                    <a:pt x="2444" y="1865"/>
                  </a:lnTo>
                  <a:lnTo>
                    <a:pt x="2439" y="1876"/>
                  </a:lnTo>
                  <a:lnTo>
                    <a:pt x="2435" y="1887"/>
                  </a:lnTo>
                  <a:lnTo>
                    <a:pt x="2431" y="1899"/>
                  </a:lnTo>
                  <a:lnTo>
                    <a:pt x="2428" y="1913"/>
                  </a:lnTo>
                  <a:lnTo>
                    <a:pt x="2427" y="1925"/>
                  </a:lnTo>
                  <a:lnTo>
                    <a:pt x="2426" y="1940"/>
                  </a:lnTo>
                  <a:lnTo>
                    <a:pt x="2426" y="1940"/>
                  </a:lnTo>
                  <a:lnTo>
                    <a:pt x="2427" y="1953"/>
                  </a:lnTo>
                  <a:lnTo>
                    <a:pt x="2428" y="1967"/>
                  </a:lnTo>
                  <a:lnTo>
                    <a:pt x="2431" y="1980"/>
                  </a:lnTo>
                  <a:lnTo>
                    <a:pt x="2435" y="1992"/>
                  </a:lnTo>
                  <a:lnTo>
                    <a:pt x="2439" y="2003"/>
                  </a:lnTo>
                  <a:lnTo>
                    <a:pt x="2444" y="2014"/>
                  </a:lnTo>
                  <a:lnTo>
                    <a:pt x="2451" y="2024"/>
                  </a:lnTo>
                  <a:lnTo>
                    <a:pt x="2458" y="2033"/>
                  </a:lnTo>
                  <a:lnTo>
                    <a:pt x="2466" y="2040"/>
                  </a:lnTo>
                  <a:lnTo>
                    <a:pt x="2475" y="2047"/>
                  </a:lnTo>
                  <a:lnTo>
                    <a:pt x="2485" y="2054"/>
                  </a:lnTo>
                  <a:lnTo>
                    <a:pt x="2495" y="2058"/>
                  </a:lnTo>
                  <a:lnTo>
                    <a:pt x="2506" y="2062"/>
                  </a:lnTo>
                  <a:lnTo>
                    <a:pt x="2518" y="2066"/>
                  </a:lnTo>
                  <a:lnTo>
                    <a:pt x="2530" y="2067"/>
                  </a:lnTo>
                  <a:lnTo>
                    <a:pt x="2544" y="2068"/>
                  </a:lnTo>
                  <a:lnTo>
                    <a:pt x="2544" y="2068"/>
                  </a:lnTo>
                  <a:lnTo>
                    <a:pt x="2556" y="2067"/>
                  </a:lnTo>
                  <a:lnTo>
                    <a:pt x="2567" y="2066"/>
                  </a:lnTo>
                  <a:lnTo>
                    <a:pt x="2579" y="2062"/>
                  </a:lnTo>
                  <a:lnTo>
                    <a:pt x="2590" y="2058"/>
                  </a:lnTo>
                  <a:lnTo>
                    <a:pt x="2601" y="2052"/>
                  </a:lnTo>
                  <a:lnTo>
                    <a:pt x="2611" y="2046"/>
                  </a:lnTo>
                  <a:lnTo>
                    <a:pt x="2621" y="2038"/>
                  </a:lnTo>
                  <a:lnTo>
                    <a:pt x="2631" y="2029"/>
                  </a:lnTo>
                  <a:lnTo>
                    <a:pt x="2592" y="1991"/>
                  </a:lnTo>
                  <a:close/>
                  <a:moveTo>
                    <a:pt x="2490" y="1913"/>
                  </a:moveTo>
                  <a:lnTo>
                    <a:pt x="2490" y="1913"/>
                  </a:lnTo>
                  <a:lnTo>
                    <a:pt x="2491" y="1902"/>
                  </a:lnTo>
                  <a:lnTo>
                    <a:pt x="2493" y="1892"/>
                  </a:lnTo>
                  <a:lnTo>
                    <a:pt x="2497" y="1883"/>
                  </a:lnTo>
                  <a:lnTo>
                    <a:pt x="2503" y="1876"/>
                  </a:lnTo>
                  <a:lnTo>
                    <a:pt x="2509" y="1870"/>
                  </a:lnTo>
                  <a:lnTo>
                    <a:pt x="2517" y="1866"/>
                  </a:lnTo>
                  <a:lnTo>
                    <a:pt x="2525" y="1863"/>
                  </a:lnTo>
                  <a:lnTo>
                    <a:pt x="2535" y="1863"/>
                  </a:lnTo>
                  <a:lnTo>
                    <a:pt x="2535" y="1863"/>
                  </a:lnTo>
                  <a:lnTo>
                    <a:pt x="2546" y="1864"/>
                  </a:lnTo>
                  <a:lnTo>
                    <a:pt x="2556" y="1866"/>
                  </a:lnTo>
                  <a:lnTo>
                    <a:pt x="2563" y="1871"/>
                  </a:lnTo>
                  <a:lnTo>
                    <a:pt x="2569" y="1879"/>
                  </a:lnTo>
                  <a:lnTo>
                    <a:pt x="2574" y="1886"/>
                  </a:lnTo>
                  <a:lnTo>
                    <a:pt x="2578" y="1894"/>
                  </a:lnTo>
                  <a:lnTo>
                    <a:pt x="2580" y="1904"/>
                  </a:lnTo>
                  <a:lnTo>
                    <a:pt x="2582" y="1913"/>
                  </a:lnTo>
                  <a:lnTo>
                    <a:pt x="2490" y="1913"/>
                  </a:lnTo>
                  <a:close/>
                  <a:moveTo>
                    <a:pt x="3181" y="1991"/>
                  </a:moveTo>
                  <a:lnTo>
                    <a:pt x="3181" y="1991"/>
                  </a:lnTo>
                  <a:lnTo>
                    <a:pt x="3171" y="1998"/>
                  </a:lnTo>
                  <a:lnTo>
                    <a:pt x="3162" y="2005"/>
                  </a:lnTo>
                  <a:lnTo>
                    <a:pt x="3154" y="2007"/>
                  </a:lnTo>
                  <a:lnTo>
                    <a:pt x="3148" y="2009"/>
                  </a:lnTo>
                  <a:lnTo>
                    <a:pt x="3141" y="2011"/>
                  </a:lnTo>
                  <a:lnTo>
                    <a:pt x="3132" y="2012"/>
                  </a:lnTo>
                  <a:lnTo>
                    <a:pt x="3132" y="2012"/>
                  </a:lnTo>
                  <a:lnTo>
                    <a:pt x="3126" y="2011"/>
                  </a:lnTo>
                  <a:lnTo>
                    <a:pt x="3119" y="2011"/>
                  </a:lnTo>
                  <a:lnTo>
                    <a:pt x="3110" y="2008"/>
                  </a:lnTo>
                  <a:lnTo>
                    <a:pt x="3101" y="2003"/>
                  </a:lnTo>
                  <a:lnTo>
                    <a:pt x="3093" y="1997"/>
                  </a:lnTo>
                  <a:lnTo>
                    <a:pt x="3089" y="1992"/>
                  </a:lnTo>
                  <a:lnTo>
                    <a:pt x="3086" y="1987"/>
                  </a:lnTo>
                  <a:lnTo>
                    <a:pt x="3083" y="1981"/>
                  </a:lnTo>
                  <a:lnTo>
                    <a:pt x="3081" y="1974"/>
                  </a:lnTo>
                  <a:lnTo>
                    <a:pt x="3078" y="1967"/>
                  </a:lnTo>
                  <a:lnTo>
                    <a:pt x="3077" y="1958"/>
                  </a:lnTo>
                  <a:lnTo>
                    <a:pt x="3229" y="1958"/>
                  </a:lnTo>
                  <a:lnTo>
                    <a:pt x="3229" y="1958"/>
                  </a:lnTo>
                  <a:lnTo>
                    <a:pt x="3230" y="1940"/>
                  </a:lnTo>
                  <a:lnTo>
                    <a:pt x="3230" y="1940"/>
                  </a:lnTo>
                  <a:lnTo>
                    <a:pt x="3229" y="1925"/>
                  </a:lnTo>
                  <a:lnTo>
                    <a:pt x="3228" y="1912"/>
                  </a:lnTo>
                  <a:lnTo>
                    <a:pt x="3225" y="1898"/>
                  </a:lnTo>
                  <a:lnTo>
                    <a:pt x="3223" y="1886"/>
                  </a:lnTo>
                  <a:lnTo>
                    <a:pt x="3218" y="1875"/>
                  </a:lnTo>
                  <a:lnTo>
                    <a:pt x="3213" y="1864"/>
                  </a:lnTo>
                  <a:lnTo>
                    <a:pt x="3208" y="1854"/>
                  </a:lnTo>
                  <a:lnTo>
                    <a:pt x="3202" y="1846"/>
                  </a:lnTo>
                  <a:lnTo>
                    <a:pt x="3195" y="1837"/>
                  </a:lnTo>
                  <a:lnTo>
                    <a:pt x="3186" y="1831"/>
                  </a:lnTo>
                  <a:lnTo>
                    <a:pt x="3177" y="1825"/>
                  </a:lnTo>
                  <a:lnTo>
                    <a:pt x="3169" y="1820"/>
                  </a:lnTo>
                  <a:lnTo>
                    <a:pt x="3159" y="1816"/>
                  </a:lnTo>
                  <a:lnTo>
                    <a:pt x="3148" y="1813"/>
                  </a:lnTo>
                  <a:lnTo>
                    <a:pt x="3137" y="1811"/>
                  </a:lnTo>
                  <a:lnTo>
                    <a:pt x="3126" y="1810"/>
                  </a:lnTo>
                  <a:lnTo>
                    <a:pt x="3126" y="1810"/>
                  </a:lnTo>
                  <a:lnTo>
                    <a:pt x="3114" y="1811"/>
                  </a:lnTo>
                  <a:lnTo>
                    <a:pt x="3103" y="1813"/>
                  </a:lnTo>
                  <a:lnTo>
                    <a:pt x="3092" y="1816"/>
                  </a:lnTo>
                  <a:lnTo>
                    <a:pt x="3082" y="1820"/>
                  </a:lnTo>
                  <a:lnTo>
                    <a:pt x="3072" y="1825"/>
                  </a:lnTo>
                  <a:lnTo>
                    <a:pt x="3062" y="1832"/>
                  </a:lnTo>
                  <a:lnTo>
                    <a:pt x="3055" y="1838"/>
                  </a:lnTo>
                  <a:lnTo>
                    <a:pt x="3046" y="1847"/>
                  </a:lnTo>
                  <a:lnTo>
                    <a:pt x="3039" y="1855"/>
                  </a:lnTo>
                  <a:lnTo>
                    <a:pt x="3033" y="1865"/>
                  </a:lnTo>
                  <a:lnTo>
                    <a:pt x="3028" y="1876"/>
                  </a:lnTo>
                  <a:lnTo>
                    <a:pt x="3023" y="1887"/>
                  </a:lnTo>
                  <a:lnTo>
                    <a:pt x="3021" y="1899"/>
                  </a:lnTo>
                  <a:lnTo>
                    <a:pt x="3017" y="1913"/>
                  </a:lnTo>
                  <a:lnTo>
                    <a:pt x="3016" y="1925"/>
                  </a:lnTo>
                  <a:lnTo>
                    <a:pt x="3016" y="1940"/>
                  </a:lnTo>
                  <a:lnTo>
                    <a:pt x="3016" y="1940"/>
                  </a:lnTo>
                  <a:lnTo>
                    <a:pt x="3016" y="1953"/>
                  </a:lnTo>
                  <a:lnTo>
                    <a:pt x="3017" y="1967"/>
                  </a:lnTo>
                  <a:lnTo>
                    <a:pt x="3019" y="1980"/>
                  </a:lnTo>
                  <a:lnTo>
                    <a:pt x="3023" y="1992"/>
                  </a:lnTo>
                  <a:lnTo>
                    <a:pt x="3028" y="2003"/>
                  </a:lnTo>
                  <a:lnTo>
                    <a:pt x="3034" y="2014"/>
                  </a:lnTo>
                  <a:lnTo>
                    <a:pt x="3040" y="2024"/>
                  </a:lnTo>
                  <a:lnTo>
                    <a:pt x="3048" y="2033"/>
                  </a:lnTo>
                  <a:lnTo>
                    <a:pt x="3055" y="2040"/>
                  </a:lnTo>
                  <a:lnTo>
                    <a:pt x="3063" y="2047"/>
                  </a:lnTo>
                  <a:lnTo>
                    <a:pt x="3073" y="2054"/>
                  </a:lnTo>
                  <a:lnTo>
                    <a:pt x="3084" y="2058"/>
                  </a:lnTo>
                  <a:lnTo>
                    <a:pt x="3095" y="2062"/>
                  </a:lnTo>
                  <a:lnTo>
                    <a:pt x="3106" y="2066"/>
                  </a:lnTo>
                  <a:lnTo>
                    <a:pt x="3120" y="2067"/>
                  </a:lnTo>
                  <a:lnTo>
                    <a:pt x="3132" y="2068"/>
                  </a:lnTo>
                  <a:lnTo>
                    <a:pt x="3132" y="2068"/>
                  </a:lnTo>
                  <a:lnTo>
                    <a:pt x="3144" y="2067"/>
                  </a:lnTo>
                  <a:lnTo>
                    <a:pt x="3157" y="2066"/>
                  </a:lnTo>
                  <a:lnTo>
                    <a:pt x="3168" y="2062"/>
                  </a:lnTo>
                  <a:lnTo>
                    <a:pt x="3179" y="2058"/>
                  </a:lnTo>
                  <a:lnTo>
                    <a:pt x="3190" y="2052"/>
                  </a:lnTo>
                  <a:lnTo>
                    <a:pt x="3201" y="2046"/>
                  </a:lnTo>
                  <a:lnTo>
                    <a:pt x="3211" y="2038"/>
                  </a:lnTo>
                  <a:lnTo>
                    <a:pt x="3219" y="2029"/>
                  </a:lnTo>
                  <a:lnTo>
                    <a:pt x="3181" y="1991"/>
                  </a:lnTo>
                  <a:close/>
                  <a:moveTo>
                    <a:pt x="3078" y="1913"/>
                  </a:moveTo>
                  <a:lnTo>
                    <a:pt x="3078" y="1913"/>
                  </a:lnTo>
                  <a:lnTo>
                    <a:pt x="3079" y="1902"/>
                  </a:lnTo>
                  <a:lnTo>
                    <a:pt x="3083" y="1892"/>
                  </a:lnTo>
                  <a:lnTo>
                    <a:pt x="3087" y="1883"/>
                  </a:lnTo>
                  <a:lnTo>
                    <a:pt x="3092" y="1876"/>
                  </a:lnTo>
                  <a:lnTo>
                    <a:pt x="3099" y="1870"/>
                  </a:lnTo>
                  <a:lnTo>
                    <a:pt x="3106" y="1866"/>
                  </a:lnTo>
                  <a:lnTo>
                    <a:pt x="3115" y="1863"/>
                  </a:lnTo>
                  <a:lnTo>
                    <a:pt x="3125" y="1863"/>
                  </a:lnTo>
                  <a:lnTo>
                    <a:pt x="3125" y="1863"/>
                  </a:lnTo>
                  <a:lnTo>
                    <a:pt x="3136" y="1864"/>
                  </a:lnTo>
                  <a:lnTo>
                    <a:pt x="3144" y="1866"/>
                  </a:lnTo>
                  <a:lnTo>
                    <a:pt x="3153" y="1871"/>
                  </a:lnTo>
                  <a:lnTo>
                    <a:pt x="3159" y="1879"/>
                  </a:lnTo>
                  <a:lnTo>
                    <a:pt x="3164" y="1886"/>
                  </a:lnTo>
                  <a:lnTo>
                    <a:pt x="3168" y="1894"/>
                  </a:lnTo>
                  <a:lnTo>
                    <a:pt x="3170" y="1904"/>
                  </a:lnTo>
                  <a:lnTo>
                    <a:pt x="3171" y="1913"/>
                  </a:lnTo>
                  <a:lnTo>
                    <a:pt x="3078" y="1913"/>
                  </a:lnTo>
                  <a:close/>
                  <a:moveTo>
                    <a:pt x="2931" y="1976"/>
                  </a:moveTo>
                  <a:lnTo>
                    <a:pt x="2931" y="1976"/>
                  </a:lnTo>
                  <a:lnTo>
                    <a:pt x="2931" y="1985"/>
                  </a:lnTo>
                  <a:lnTo>
                    <a:pt x="2932" y="1991"/>
                  </a:lnTo>
                  <a:lnTo>
                    <a:pt x="2935" y="1997"/>
                  </a:lnTo>
                  <a:lnTo>
                    <a:pt x="2937" y="2002"/>
                  </a:lnTo>
                  <a:lnTo>
                    <a:pt x="2941" y="2006"/>
                  </a:lnTo>
                  <a:lnTo>
                    <a:pt x="2946" y="2008"/>
                  </a:lnTo>
                  <a:lnTo>
                    <a:pt x="2951" y="2009"/>
                  </a:lnTo>
                  <a:lnTo>
                    <a:pt x="2958" y="2009"/>
                  </a:lnTo>
                  <a:lnTo>
                    <a:pt x="2958" y="2009"/>
                  </a:lnTo>
                  <a:lnTo>
                    <a:pt x="2967" y="2009"/>
                  </a:lnTo>
                  <a:lnTo>
                    <a:pt x="2976" y="2007"/>
                  </a:lnTo>
                  <a:lnTo>
                    <a:pt x="2986" y="2003"/>
                  </a:lnTo>
                  <a:lnTo>
                    <a:pt x="2995" y="1998"/>
                  </a:lnTo>
                  <a:lnTo>
                    <a:pt x="2987" y="2056"/>
                  </a:lnTo>
                  <a:lnTo>
                    <a:pt x="2987" y="2056"/>
                  </a:lnTo>
                  <a:lnTo>
                    <a:pt x="2976" y="2061"/>
                  </a:lnTo>
                  <a:lnTo>
                    <a:pt x="2963" y="2065"/>
                  </a:lnTo>
                  <a:lnTo>
                    <a:pt x="2949" y="2067"/>
                  </a:lnTo>
                  <a:lnTo>
                    <a:pt x="2936" y="2068"/>
                  </a:lnTo>
                  <a:lnTo>
                    <a:pt x="2936" y="2068"/>
                  </a:lnTo>
                  <a:lnTo>
                    <a:pt x="2927" y="2067"/>
                  </a:lnTo>
                  <a:lnTo>
                    <a:pt x="2919" y="2066"/>
                  </a:lnTo>
                  <a:lnTo>
                    <a:pt x="2911" y="2063"/>
                  </a:lnTo>
                  <a:lnTo>
                    <a:pt x="2905" y="2061"/>
                  </a:lnTo>
                  <a:lnTo>
                    <a:pt x="2899" y="2057"/>
                  </a:lnTo>
                  <a:lnTo>
                    <a:pt x="2893" y="2054"/>
                  </a:lnTo>
                  <a:lnTo>
                    <a:pt x="2889" y="2049"/>
                  </a:lnTo>
                  <a:lnTo>
                    <a:pt x="2884" y="2043"/>
                  </a:lnTo>
                  <a:lnTo>
                    <a:pt x="2878" y="2032"/>
                  </a:lnTo>
                  <a:lnTo>
                    <a:pt x="2873" y="2018"/>
                  </a:lnTo>
                  <a:lnTo>
                    <a:pt x="2871" y="2006"/>
                  </a:lnTo>
                  <a:lnTo>
                    <a:pt x="2870" y="1992"/>
                  </a:lnTo>
                  <a:lnTo>
                    <a:pt x="2870" y="1872"/>
                  </a:lnTo>
                  <a:lnTo>
                    <a:pt x="2832" y="1872"/>
                  </a:lnTo>
                  <a:lnTo>
                    <a:pt x="2832" y="1816"/>
                  </a:lnTo>
                  <a:lnTo>
                    <a:pt x="2870" y="1816"/>
                  </a:lnTo>
                  <a:lnTo>
                    <a:pt x="2870" y="1753"/>
                  </a:lnTo>
                  <a:lnTo>
                    <a:pt x="2931" y="1722"/>
                  </a:lnTo>
                  <a:lnTo>
                    <a:pt x="2931" y="1816"/>
                  </a:lnTo>
                  <a:lnTo>
                    <a:pt x="2986" y="1816"/>
                  </a:lnTo>
                  <a:lnTo>
                    <a:pt x="2986" y="1872"/>
                  </a:lnTo>
                  <a:lnTo>
                    <a:pt x="2931" y="1872"/>
                  </a:lnTo>
                  <a:lnTo>
                    <a:pt x="2931" y="1976"/>
                  </a:lnTo>
                  <a:close/>
                  <a:moveTo>
                    <a:pt x="2812" y="2056"/>
                  </a:moveTo>
                  <a:lnTo>
                    <a:pt x="2812" y="2056"/>
                  </a:lnTo>
                  <a:lnTo>
                    <a:pt x="2801" y="2061"/>
                  </a:lnTo>
                  <a:lnTo>
                    <a:pt x="2789" y="2065"/>
                  </a:lnTo>
                  <a:lnTo>
                    <a:pt x="2775" y="2067"/>
                  </a:lnTo>
                  <a:lnTo>
                    <a:pt x="2762" y="2068"/>
                  </a:lnTo>
                  <a:lnTo>
                    <a:pt x="2762" y="2068"/>
                  </a:lnTo>
                  <a:lnTo>
                    <a:pt x="2752" y="2067"/>
                  </a:lnTo>
                  <a:lnTo>
                    <a:pt x="2745" y="2066"/>
                  </a:lnTo>
                  <a:lnTo>
                    <a:pt x="2737" y="2063"/>
                  </a:lnTo>
                  <a:lnTo>
                    <a:pt x="2730" y="2061"/>
                  </a:lnTo>
                  <a:lnTo>
                    <a:pt x="2725" y="2057"/>
                  </a:lnTo>
                  <a:lnTo>
                    <a:pt x="2719" y="2054"/>
                  </a:lnTo>
                  <a:lnTo>
                    <a:pt x="2714" y="2049"/>
                  </a:lnTo>
                  <a:lnTo>
                    <a:pt x="2710" y="2043"/>
                  </a:lnTo>
                  <a:lnTo>
                    <a:pt x="2703" y="2032"/>
                  </a:lnTo>
                  <a:lnTo>
                    <a:pt x="2699" y="2018"/>
                  </a:lnTo>
                  <a:lnTo>
                    <a:pt x="2696" y="2006"/>
                  </a:lnTo>
                  <a:lnTo>
                    <a:pt x="2696" y="1992"/>
                  </a:lnTo>
                  <a:lnTo>
                    <a:pt x="2696" y="1872"/>
                  </a:lnTo>
                  <a:lnTo>
                    <a:pt x="2658" y="1872"/>
                  </a:lnTo>
                  <a:lnTo>
                    <a:pt x="2658" y="1816"/>
                  </a:lnTo>
                  <a:lnTo>
                    <a:pt x="2696" y="1816"/>
                  </a:lnTo>
                  <a:lnTo>
                    <a:pt x="2696" y="1753"/>
                  </a:lnTo>
                  <a:lnTo>
                    <a:pt x="2757" y="1722"/>
                  </a:lnTo>
                  <a:lnTo>
                    <a:pt x="2757" y="1816"/>
                  </a:lnTo>
                  <a:lnTo>
                    <a:pt x="2808" y="1816"/>
                  </a:lnTo>
                  <a:lnTo>
                    <a:pt x="2808" y="1872"/>
                  </a:lnTo>
                  <a:lnTo>
                    <a:pt x="2757" y="1872"/>
                  </a:lnTo>
                  <a:lnTo>
                    <a:pt x="2757" y="1976"/>
                  </a:lnTo>
                  <a:lnTo>
                    <a:pt x="2757" y="1976"/>
                  </a:lnTo>
                  <a:lnTo>
                    <a:pt x="2757" y="1985"/>
                  </a:lnTo>
                  <a:lnTo>
                    <a:pt x="2758" y="1991"/>
                  </a:lnTo>
                  <a:lnTo>
                    <a:pt x="2761" y="1997"/>
                  </a:lnTo>
                  <a:lnTo>
                    <a:pt x="2763" y="2002"/>
                  </a:lnTo>
                  <a:lnTo>
                    <a:pt x="2767" y="2006"/>
                  </a:lnTo>
                  <a:lnTo>
                    <a:pt x="2772" y="2008"/>
                  </a:lnTo>
                  <a:lnTo>
                    <a:pt x="2777" y="2009"/>
                  </a:lnTo>
                  <a:lnTo>
                    <a:pt x="2783" y="2009"/>
                  </a:lnTo>
                  <a:lnTo>
                    <a:pt x="2783" y="2009"/>
                  </a:lnTo>
                  <a:lnTo>
                    <a:pt x="2793" y="2009"/>
                  </a:lnTo>
                  <a:lnTo>
                    <a:pt x="2802" y="2007"/>
                  </a:lnTo>
                  <a:lnTo>
                    <a:pt x="2811" y="2003"/>
                  </a:lnTo>
                  <a:lnTo>
                    <a:pt x="2820" y="1998"/>
                  </a:lnTo>
                  <a:lnTo>
                    <a:pt x="2812" y="2056"/>
                  </a:lnTo>
                  <a:close/>
                  <a:moveTo>
                    <a:pt x="3414" y="1885"/>
                  </a:moveTo>
                  <a:lnTo>
                    <a:pt x="3414" y="1885"/>
                  </a:lnTo>
                  <a:lnTo>
                    <a:pt x="3405" y="1879"/>
                  </a:lnTo>
                  <a:lnTo>
                    <a:pt x="3396" y="1875"/>
                  </a:lnTo>
                  <a:lnTo>
                    <a:pt x="3385" y="1872"/>
                  </a:lnTo>
                  <a:lnTo>
                    <a:pt x="3374" y="1871"/>
                  </a:lnTo>
                  <a:lnTo>
                    <a:pt x="3374" y="1871"/>
                  </a:lnTo>
                  <a:lnTo>
                    <a:pt x="3364" y="1872"/>
                  </a:lnTo>
                  <a:lnTo>
                    <a:pt x="3354" y="1875"/>
                  </a:lnTo>
                  <a:lnTo>
                    <a:pt x="3347" y="1880"/>
                  </a:lnTo>
                  <a:lnTo>
                    <a:pt x="3341" y="1886"/>
                  </a:lnTo>
                  <a:lnTo>
                    <a:pt x="3336" y="1893"/>
                  </a:lnTo>
                  <a:lnTo>
                    <a:pt x="3333" y="1903"/>
                  </a:lnTo>
                  <a:lnTo>
                    <a:pt x="3331" y="1915"/>
                  </a:lnTo>
                  <a:lnTo>
                    <a:pt x="3329" y="1929"/>
                  </a:lnTo>
                  <a:lnTo>
                    <a:pt x="3329" y="2062"/>
                  </a:lnTo>
                  <a:lnTo>
                    <a:pt x="3269" y="2062"/>
                  </a:lnTo>
                  <a:lnTo>
                    <a:pt x="3269" y="1816"/>
                  </a:lnTo>
                  <a:lnTo>
                    <a:pt x="3329" y="1816"/>
                  </a:lnTo>
                  <a:lnTo>
                    <a:pt x="3329" y="1837"/>
                  </a:lnTo>
                  <a:lnTo>
                    <a:pt x="3329" y="1837"/>
                  </a:lnTo>
                  <a:lnTo>
                    <a:pt x="3336" y="1831"/>
                  </a:lnTo>
                  <a:lnTo>
                    <a:pt x="3342" y="1825"/>
                  </a:lnTo>
                  <a:lnTo>
                    <a:pt x="3348" y="1821"/>
                  </a:lnTo>
                  <a:lnTo>
                    <a:pt x="3355" y="1817"/>
                  </a:lnTo>
                  <a:lnTo>
                    <a:pt x="3361" y="1814"/>
                  </a:lnTo>
                  <a:lnTo>
                    <a:pt x="3369" y="1813"/>
                  </a:lnTo>
                  <a:lnTo>
                    <a:pt x="3376" y="1811"/>
                  </a:lnTo>
                  <a:lnTo>
                    <a:pt x="3385" y="1810"/>
                  </a:lnTo>
                  <a:lnTo>
                    <a:pt x="3385" y="1810"/>
                  </a:lnTo>
                  <a:lnTo>
                    <a:pt x="3397" y="1811"/>
                  </a:lnTo>
                  <a:lnTo>
                    <a:pt x="3409" y="1815"/>
                  </a:lnTo>
                  <a:lnTo>
                    <a:pt x="3420" y="1819"/>
                  </a:lnTo>
                  <a:lnTo>
                    <a:pt x="3430" y="1825"/>
                  </a:lnTo>
                  <a:lnTo>
                    <a:pt x="3414" y="1885"/>
                  </a:lnTo>
                  <a:close/>
                  <a:moveTo>
                    <a:pt x="658" y="1757"/>
                  </a:moveTo>
                  <a:lnTo>
                    <a:pt x="658" y="1781"/>
                  </a:lnTo>
                  <a:lnTo>
                    <a:pt x="597" y="1781"/>
                  </a:lnTo>
                  <a:lnTo>
                    <a:pt x="597" y="1720"/>
                  </a:lnTo>
                  <a:lnTo>
                    <a:pt x="658" y="1720"/>
                  </a:lnTo>
                  <a:lnTo>
                    <a:pt x="658" y="1757"/>
                  </a:lnTo>
                  <a:close/>
                  <a:moveTo>
                    <a:pt x="1082" y="1816"/>
                  </a:moveTo>
                  <a:lnTo>
                    <a:pt x="1144" y="1816"/>
                  </a:lnTo>
                  <a:lnTo>
                    <a:pt x="1144" y="1942"/>
                  </a:lnTo>
                  <a:lnTo>
                    <a:pt x="1144" y="2062"/>
                  </a:lnTo>
                  <a:lnTo>
                    <a:pt x="1082" y="2062"/>
                  </a:lnTo>
                  <a:lnTo>
                    <a:pt x="1082" y="1816"/>
                  </a:lnTo>
                  <a:close/>
                  <a:moveTo>
                    <a:pt x="1144" y="1750"/>
                  </a:moveTo>
                  <a:lnTo>
                    <a:pt x="1144" y="1781"/>
                  </a:lnTo>
                  <a:lnTo>
                    <a:pt x="1082" y="1781"/>
                  </a:lnTo>
                  <a:lnTo>
                    <a:pt x="1082" y="1720"/>
                  </a:lnTo>
                  <a:lnTo>
                    <a:pt x="1144" y="1720"/>
                  </a:lnTo>
                  <a:lnTo>
                    <a:pt x="1144" y="1750"/>
                  </a:lnTo>
                  <a:close/>
                  <a:moveTo>
                    <a:pt x="2821" y="2264"/>
                  </a:moveTo>
                  <a:lnTo>
                    <a:pt x="2821" y="2264"/>
                  </a:lnTo>
                  <a:lnTo>
                    <a:pt x="2815" y="2259"/>
                  </a:lnTo>
                  <a:lnTo>
                    <a:pt x="2808" y="2254"/>
                  </a:lnTo>
                  <a:lnTo>
                    <a:pt x="2802" y="2250"/>
                  </a:lnTo>
                  <a:lnTo>
                    <a:pt x="2795" y="2247"/>
                  </a:lnTo>
                  <a:lnTo>
                    <a:pt x="2789" y="2244"/>
                  </a:lnTo>
                  <a:lnTo>
                    <a:pt x="2782" y="2243"/>
                  </a:lnTo>
                  <a:lnTo>
                    <a:pt x="2766" y="2241"/>
                  </a:lnTo>
                  <a:lnTo>
                    <a:pt x="2766" y="2241"/>
                  </a:lnTo>
                  <a:lnTo>
                    <a:pt x="2755" y="2242"/>
                  </a:lnTo>
                  <a:lnTo>
                    <a:pt x="2745" y="2243"/>
                  </a:lnTo>
                  <a:lnTo>
                    <a:pt x="2735" y="2247"/>
                  </a:lnTo>
                  <a:lnTo>
                    <a:pt x="2725" y="2250"/>
                  </a:lnTo>
                  <a:lnTo>
                    <a:pt x="2717" y="2255"/>
                  </a:lnTo>
                  <a:lnTo>
                    <a:pt x="2709" y="2260"/>
                  </a:lnTo>
                  <a:lnTo>
                    <a:pt x="2702" y="2268"/>
                  </a:lnTo>
                  <a:lnTo>
                    <a:pt x="2694" y="2275"/>
                  </a:lnTo>
                  <a:lnTo>
                    <a:pt x="2690" y="2284"/>
                  </a:lnTo>
                  <a:lnTo>
                    <a:pt x="2683" y="2293"/>
                  </a:lnTo>
                  <a:lnTo>
                    <a:pt x="2680" y="2303"/>
                  </a:lnTo>
                  <a:lnTo>
                    <a:pt x="2676" y="2315"/>
                  </a:lnTo>
                  <a:lnTo>
                    <a:pt x="2672" y="2326"/>
                  </a:lnTo>
                  <a:lnTo>
                    <a:pt x="2671" y="2340"/>
                  </a:lnTo>
                  <a:lnTo>
                    <a:pt x="2670" y="2353"/>
                  </a:lnTo>
                  <a:lnTo>
                    <a:pt x="2669" y="2368"/>
                  </a:lnTo>
                  <a:lnTo>
                    <a:pt x="2669" y="2368"/>
                  </a:lnTo>
                  <a:lnTo>
                    <a:pt x="2670" y="2383"/>
                  </a:lnTo>
                  <a:lnTo>
                    <a:pt x="2671" y="2396"/>
                  </a:lnTo>
                  <a:lnTo>
                    <a:pt x="2672" y="2410"/>
                  </a:lnTo>
                  <a:lnTo>
                    <a:pt x="2676" y="2423"/>
                  </a:lnTo>
                  <a:lnTo>
                    <a:pt x="2679" y="2434"/>
                  </a:lnTo>
                  <a:lnTo>
                    <a:pt x="2683" y="2445"/>
                  </a:lnTo>
                  <a:lnTo>
                    <a:pt x="2688" y="2455"/>
                  </a:lnTo>
                  <a:lnTo>
                    <a:pt x="2694" y="2463"/>
                  </a:lnTo>
                  <a:lnTo>
                    <a:pt x="2701" y="2472"/>
                  </a:lnTo>
                  <a:lnTo>
                    <a:pt x="2708" y="2478"/>
                  </a:lnTo>
                  <a:lnTo>
                    <a:pt x="2715" y="2484"/>
                  </a:lnTo>
                  <a:lnTo>
                    <a:pt x="2724" y="2489"/>
                  </a:lnTo>
                  <a:lnTo>
                    <a:pt x="2734" y="2494"/>
                  </a:lnTo>
                  <a:lnTo>
                    <a:pt x="2744" y="2496"/>
                  </a:lnTo>
                  <a:lnTo>
                    <a:pt x="2753" y="2498"/>
                  </a:lnTo>
                  <a:lnTo>
                    <a:pt x="2764" y="2499"/>
                  </a:lnTo>
                  <a:lnTo>
                    <a:pt x="2764" y="2499"/>
                  </a:lnTo>
                  <a:lnTo>
                    <a:pt x="2772" y="2498"/>
                  </a:lnTo>
                  <a:lnTo>
                    <a:pt x="2780" y="2496"/>
                  </a:lnTo>
                  <a:lnTo>
                    <a:pt x="2788" y="2495"/>
                  </a:lnTo>
                  <a:lnTo>
                    <a:pt x="2794" y="2493"/>
                  </a:lnTo>
                  <a:lnTo>
                    <a:pt x="2801" y="2489"/>
                  </a:lnTo>
                  <a:lnTo>
                    <a:pt x="2808" y="2485"/>
                  </a:lnTo>
                  <a:lnTo>
                    <a:pt x="2815" y="2480"/>
                  </a:lnTo>
                  <a:lnTo>
                    <a:pt x="2821" y="2474"/>
                  </a:lnTo>
                  <a:lnTo>
                    <a:pt x="2821" y="2493"/>
                  </a:lnTo>
                  <a:lnTo>
                    <a:pt x="2882" y="2493"/>
                  </a:lnTo>
                  <a:lnTo>
                    <a:pt x="2882" y="2144"/>
                  </a:lnTo>
                  <a:lnTo>
                    <a:pt x="2821" y="2175"/>
                  </a:lnTo>
                  <a:lnTo>
                    <a:pt x="2821" y="2264"/>
                  </a:lnTo>
                  <a:close/>
                  <a:moveTo>
                    <a:pt x="2778" y="2443"/>
                  </a:moveTo>
                  <a:lnTo>
                    <a:pt x="2778" y="2443"/>
                  </a:lnTo>
                  <a:lnTo>
                    <a:pt x="2769" y="2441"/>
                  </a:lnTo>
                  <a:lnTo>
                    <a:pt x="2762" y="2439"/>
                  </a:lnTo>
                  <a:lnTo>
                    <a:pt x="2753" y="2435"/>
                  </a:lnTo>
                  <a:lnTo>
                    <a:pt x="2746" y="2428"/>
                  </a:lnTo>
                  <a:lnTo>
                    <a:pt x="2740" y="2418"/>
                  </a:lnTo>
                  <a:lnTo>
                    <a:pt x="2735" y="2405"/>
                  </a:lnTo>
                  <a:lnTo>
                    <a:pt x="2732" y="2387"/>
                  </a:lnTo>
                  <a:lnTo>
                    <a:pt x="2731" y="2365"/>
                  </a:lnTo>
                  <a:lnTo>
                    <a:pt x="2731" y="2365"/>
                  </a:lnTo>
                  <a:lnTo>
                    <a:pt x="2732" y="2347"/>
                  </a:lnTo>
                  <a:lnTo>
                    <a:pt x="2735" y="2331"/>
                  </a:lnTo>
                  <a:lnTo>
                    <a:pt x="2740" y="2319"/>
                  </a:lnTo>
                  <a:lnTo>
                    <a:pt x="2746" y="2310"/>
                  </a:lnTo>
                  <a:lnTo>
                    <a:pt x="2753" y="2304"/>
                  </a:lnTo>
                  <a:lnTo>
                    <a:pt x="2761" y="2299"/>
                  </a:lnTo>
                  <a:lnTo>
                    <a:pt x="2769" y="2298"/>
                  </a:lnTo>
                  <a:lnTo>
                    <a:pt x="2777" y="2297"/>
                  </a:lnTo>
                  <a:lnTo>
                    <a:pt x="2777" y="2297"/>
                  </a:lnTo>
                  <a:lnTo>
                    <a:pt x="2785" y="2298"/>
                  </a:lnTo>
                  <a:lnTo>
                    <a:pt x="2793" y="2299"/>
                  </a:lnTo>
                  <a:lnTo>
                    <a:pt x="2799" y="2302"/>
                  </a:lnTo>
                  <a:lnTo>
                    <a:pt x="2805" y="2306"/>
                  </a:lnTo>
                  <a:lnTo>
                    <a:pt x="2810" y="2309"/>
                  </a:lnTo>
                  <a:lnTo>
                    <a:pt x="2815" y="2313"/>
                  </a:lnTo>
                  <a:lnTo>
                    <a:pt x="2821" y="2321"/>
                  </a:lnTo>
                  <a:lnTo>
                    <a:pt x="2821" y="2418"/>
                  </a:lnTo>
                  <a:lnTo>
                    <a:pt x="2821" y="2418"/>
                  </a:lnTo>
                  <a:lnTo>
                    <a:pt x="2813" y="2427"/>
                  </a:lnTo>
                  <a:lnTo>
                    <a:pt x="2805" y="2434"/>
                  </a:lnTo>
                  <a:lnTo>
                    <a:pt x="2799" y="2438"/>
                  </a:lnTo>
                  <a:lnTo>
                    <a:pt x="2793" y="2440"/>
                  </a:lnTo>
                  <a:lnTo>
                    <a:pt x="2785" y="2441"/>
                  </a:lnTo>
                  <a:lnTo>
                    <a:pt x="2778" y="2443"/>
                  </a:lnTo>
                  <a:lnTo>
                    <a:pt x="2778" y="2443"/>
                  </a:lnTo>
                  <a:close/>
                  <a:moveTo>
                    <a:pt x="747" y="2315"/>
                  </a:moveTo>
                  <a:lnTo>
                    <a:pt x="747" y="2315"/>
                  </a:lnTo>
                  <a:lnTo>
                    <a:pt x="738" y="2310"/>
                  </a:lnTo>
                  <a:lnTo>
                    <a:pt x="728" y="2306"/>
                  </a:lnTo>
                  <a:lnTo>
                    <a:pt x="717" y="2303"/>
                  </a:lnTo>
                  <a:lnTo>
                    <a:pt x="706" y="2302"/>
                  </a:lnTo>
                  <a:lnTo>
                    <a:pt x="706" y="2302"/>
                  </a:lnTo>
                  <a:lnTo>
                    <a:pt x="696" y="2303"/>
                  </a:lnTo>
                  <a:lnTo>
                    <a:pt x="686" y="2306"/>
                  </a:lnTo>
                  <a:lnTo>
                    <a:pt x="679" y="2310"/>
                  </a:lnTo>
                  <a:lnTo>
                    <a:pt x="673" y="2317"/>
                  </a:lnTo>
                  <a:lnTo>
                    <a:pt x="668" y="2324"/>
                  </a:lnTo>
                  <a:lnTo>
                    <a:pt x="666" y="2334"/>
                  </a:lnTo>
                  <a:lnTo>
                    <a:pt x="663" y="2346"/>
                  </a:lnTo>
                  <a:lnTo>
                    <a:pt x="662" y="2359"/>
                  </a:lnTo>
                  <a:lnTo>
                    <a:pt x="662" y="2493"/>
                  </a:lnTo>
                  <a:lnTo>
                    <a:pt x="602" y="2493"/>
                  </a:lnTo>
                  <a:lnTo>
                    <a:pt x="602" y="2247"/>
                  </a:lnTo>
                  <a:lnTo>
                    <a:pt x="662" y="2247"/>
                  </a:lnTo>
                  <a:lnTo>
                    <a:pt x="662" y="2268"/>
                  </a:lnTo>
                  <a:lnTo>
                    <a:pt x="662" y="2268"/>
                  </a:lnTo>
                  <a:lnTo>
                    <a:pt x="668" y="2261"/>
                  </a:lnTo>
                  <a:lnTo>
                    <a:pt x="674" y="2255"/>
                  </a:lnTo>
                  <a:lnTo>
                    <a:pt x="680" y="2252"/>
                  </a:lnTo>
                  <a:lnTo>
                    <a:pt x="688" y="2248"/>
                  </a:lnTo>
                  <a:lnTo>
                    <a:pt x="694" y="2244"/>
                  </a:lnTo>
                  <a:lnTo>
                    <a:pt x="701" y="2243"/>
                  </a:lnTo>
                  <a:lnTo>
                    <a:pt x="710" y="2242"/>
                  </a:lnTo>
                  <a:lnTo>
                    <a:pt x="717" y="2241"/>
                  </a:lnTo>
                  <a:lnTo>
                    <a:pt x="717" y="2241"/>
                  </a:lnTo>
                  <a:lnTo>
                    <a:pt x="729" y="2242"/>
                  </a:lnTo>
                  <a:lnTo>
                    <a:pt x="742" y="2246"/>
                  </a:lnTo>
                  <a:lnTo>
                    <a:pt x="754" y="2250"/>
                  </a:lnTo>
                  <a:lnTo>
                    <a:pt x="764" y="2257"/>
                  </a:lnTo>
                  <a:lnTo>
                    <a:pt x="747" y="2315"/>
                  </a:lnTo>
                  <a:close/>
                  <a:moveTo>
                    <a:pt x="267" y="2247"/>
                  </a:moveTo>
                  <a:lnTo>
                    <a:pt x="327" y="2247"/>
                  </a:lnTo>
                  <a:lnTo>
                    <a:pt x="257" y="2493"/>
                  </a:lnTo>
                  <a:lnTo>
                    <a:pt x="205" y="2493"/>
                  </a:lnTo>
                  <a:lnTo>
                    <a:pt x="178" y="2391"/>
                  </a:lnTo>
                  <a:lnTo>
                    <a:pt x="178" y="2391"/>
                  </a:lnTo>
                  <a:lnTo>
                    <a:pt x="164" y="2337"/>
                  </a:lnTo>
                  <a:lnTo>
                    <a:pt x="164" y="2337"/>
                  </a:lnTo>
                  <a:lnTo>
                    <a:pt x="158" y="2363"/>
                  </a:lnTo>
                  <a:lnTo>
                    <a:pt x="151" y="2392"/>
                  </a:lnTo>
                  <a:lnTo>
                    <a:pt x="123" y="2493"/>
                  </a:lnTo>
                  <a:lnTo>
                    <a:pt x="70" y="2493"/>
                  </a:lnTo>
                  <a:lnTo>
                    <a:pt x="70" y="2491"/>
                  </a:lnTo>
                  <a:lnTo>
                    <a:pt x="0" y="2247"/>
                  </a:lnTo>
                  <a:lnTo>
                    <a:pt x="64" y="2247"/>
                  </a:lnTo>
                  <a:lnTo>
                    <a:pt x="86" y="2339"/>
                  </a:lnTo>
                  <a:lnTo>
                    <a:pt x="86" y="2339"/>
                  </a:lnTo>
                  <a:lnTo>
                    <a:pt x="92" y="2368"/>
                  </a:lnTo>
                  <a:lnTo>
                    <a:pt x="98" y="2398"/>
                  </a:lnTo>
                  <a:lnTo>
                    <a:pt x="98" y="2398"/>
                  </a:lnTo>
                  <a:lnTo>
                    <a:pt x="105" y="2368"/>
                  </a:lnTo>
                  <a:lnTo>
                    <a:pt x="113" y="2337"/>
                  </a:lnTo>
                  <a:lnTo>
                    <a:pt x="139" y="2247"/>
                  </a:lnTo>
                  <a:lnTo>
                    <a:pt x="191" y="2247"/>
                  </a:lnTo>
                  <a:lnTo>
                    <a:pt x="217" y="2337"/>
                  </a:lnTo>
                  <a:lnTo>
                    <a:pt x="217" y="2337"/>
                  </a:lnTo>
                  <a:lnTo>
                    <a:pt x="224" y="2367"/>
                  </a:lnTo>
                  <a:lnTo>
                    <a:pt x="232" y="2400"/>
                  </a:lnTo>
                  <a:lnTo>
                    <a:pt x="232" y="2400"/>
                  </a:lnTo>
                  <a:lnTo>
                    <a:pt x="237" y="2372"/>
                  </a:lnTo>
                  <a:lnTo>
                    <a:pt x="244" y="2337"/>
                  </a:lnTo>
                  <a:lnTo>
                    <a:pt x="267" y="2247"/>
                  </a:lnTo>
                  <a:close/>
                  <a:moveTo>
                    <a:pt x="451" y="2241"/>
                  </a:moveTo>
                  <a:lnTo>
                    <a:pt x="451" y="2241"/>
                  </a:lnTo>
                  <a:lnTo>
                    <a:pt x="440" y="2242"/>
                  </a:lnTo>
                  <a:lnTo>
                    <a:pt x="428" y="2243"/>
                  </a:lnTo>
                  <a:lnTo>
                    <a:pt x="417" y="2247"/>
                  </a:lnTo>
                  <a:lnTo>
                    <a:pt x="407" y="2250"/>
                  </a:lnTo>
                  <a:lnTo>
                    <a:pt x="397" y="2255"/>
                  </a:lnTo>
                  <a:lnTo>
                    <a:pt x="387" y="2261"/>
                  </a:lnTo>
                  <a:lnTo>
                    <a:pt x="379" y="2269"/>
                  </a:lnTo>
                  <a:lnTo>
                    <a:pt x="371" y="2277"/>
                  </a:lnTo>
                  <a:lnTo>
                    <a:pt x="364" y="2286"/>
                  </a:lnTo>
                  <a:lnTo>
                    <a:pt x="358" y="2296"/>
                  </a:lnTo>
                  <a:lnTo>
                    <a:pt x="352" y="2307"/>
                  </a:lnTo>
                  <a:lnTo>
                    <a:pt x="348" y="2318"/>
                  </a:lnTo>
                  <a:lnTo>
                    <a:pt x="344" y="2330"/>
                  </a:lnTo>
                  <a:lnTo>
                    <a:pt x="342" y="2342"/>
                  </a:lnTo>
                  <a:lnTo>
                    <a:pt x="340" y="2356"/>
                  </a:lnTo>
                  <a:lnTo>
                    <a:pt x="340" y="2370"/>
                  </a:lnTo>
                  <a:lnTo>
                    <a:pt x="340" y="2370"/>
                  </a:lnTo>
                  <a:lnTo>
                    <a:pt x="340" y="2384"/>
                  </a:lnTo>
                  <a:lnTo>
                    <a:pt x="342" y="2397"/>
                  </a:lnTo>
                  <a:lnTo>
                    <a:pt x="344" y="2410"/>
                  </a:lnTo>
                  <a:lnTo>
                    <a:pt x="348" y="2422"/>
                  </a:lnTo>
                  <a:lnTo>
                    <a:pt x="352" y="2433"/>
                  </a:lnTo>
                  <a:lnTo>
                    <a:pt x="358" y="2444"/>
                  </a:lnTo>
                  <a:lnTo>
                    <a:pt x="364" y="2454"/>
                  </a:lnTo>
                  <a:lnTo>
                    <a:pt x="371" y="2462"/>
                  </a:lnTo>
                  <a:lnTo>
                    <a:pt x="379" y="2471"/>
                  </a:lnTo>
                  <a:lnTo>
                    <a:pt x="387" y="2478"/>
                  </a:lnTo>
                  <a:lnTo>
                    <a:pt x="397" y="2484"/>
                  </a:lnTo>
                  <a:lnTo>
                    <a:pt x="407" y="2489"/>
                  </a:lnTo>
                  <a:lnTo>
                    <a:pt x="417" y="2493"/>
                  </a:lnTo>
                  <a:lnTo>
                    <a:pt x="428" y="2496"/>
                  </a:lnTo>
                  <a:lnTo>
                    <a:pt x="440" y="2498"/>
                  </a:lnTo>
                  <a:lnTo>
                    <a:pt x="451" y="2499"/>
                  </a:lnTo>
                  <a:lnTo>
                    <a:pt x="451" y="2499"/>
                  </a:lnTo>
                  <a:lnTo>
                    <a:pt x="463" y="2498"/>
                  </a:lnTo>
                  <a:lnTo>
                    <a:pt x="476" y="2496"/>
                  </a:lnTo>
                  <a:lnTo>
                    <a:pt x="487" y="2493"/>
                  </a:lnTo>
                  <a:lnTo>
                    <a:pt x="496" y="2489"/>
                  </a:lnTo>
                  <a:lnTo>
                    <a:pt x="506" y="2484"/>
                  </a:lnTo>
                  <a:lnTo>
                    <a:pt x="516" y="2478"/>
                  </a:lnTo>
                  <a:lnTo>
                    <a:pt x="525" y="2471"/>
                  </a:lnTo>
                  <a:lnTo>
                    <a:pt x="532" y="2462"/>
                  </a:lnTo>
                  <a:lnTo>
                    <a:pt x="539" y="2454"/>
                  </a:lnTo>
                  <a:lnTo>
                    <a:pt x="546" y="2444"/>
                  </a:lnTo>
                  <a:lnTo>
                    <a:pt x="550" y="2433"/>
                  </a:lnTo>
                  <a:lnTo>
                    <a:pt x="555" y="2422"/>
                  </a:lnTo>
                  <a:lnTo>
                    <a:pt x="559" y="2410"/>
                  </a:lnTo>
                  <a:lnTo>
                    <a:pt x="561" y="2397"/>
                  </a:lnTo>
                  <a:lnTo>
                    <a:pt x="564" y="2384"/>
                  </a:lnTo>
                  <a:lnTo>
                    <a:pt x="564" y="2370"/>
                  </a:lnTo>
                  <a:lnTo>
                    <a:pt x="564" y="2370"/>
                  </a:lnTo>
                  <a:lnTo>
                    <a:pt x="564" y="2356"/>
                  </a:lnTo>
                  <a:lnTo>
                    <a:pt x="561" y="2342"/>
                  </a:lnTo>
                  <a:lnTo>
                    <a:pt x="559" y="2330"/>
                  </a:lnTo>
                  <a:lnTo>
                    <a:pt x="555" y="2318"/>
                  </a:lnTo>
                  <a:lnTo>
                    <a:pt x="550" y="2307"/>
                  </a:lnTo>
                  <a:lnTo>
                    <a:pt x="546" y="2296"/>
                  </a:lnTo>
                  <a:lnTo>
                    <a:pt x="539" y="2286"/>
                  </a:lnTo>
                  <a:lnTo>
                    <a:pt x="532" y="2277"/>
                  </a:lnTo>
                  <a:lnTo>
                    <a:pt x="525" y="2269"/>
                  </a:lnTo>
                  <a:lnTo>
                    <a:pt x="516" y="2261"/>
                  </a:lnTo>
                  <a:lnTo>
                    <a:pt x="506" y="2255"/>
                  </a:lnTo>
                  <a:lnTo>
                    <a:pt x="496" y="2250"/>
                  </a:lnTo>
                  <a:lnTo>
                    <a:pt x="487" y="2247"/>
                  </a:lnTo>
                  <a:lnTo>
                    <a:pt x="476" y="2243"/>
                  </a:lnTo>
                  <a:lnTo>
                    <a:pt x="463" y="2242"/>
                  </a:lnTo>
                  <a:lnTo>
                    <a:pt x="451" y="2241"/>
                  </a:lnTo>
                  <a:lnTo>
                    <a:pt x="451" y="2241"/>
                  </a:lnTo>
                  <a:close/>
                  <a:moveTo>
                    <a:pt x="451" y="2441"/>
                  </a:moveTo>
                  <a:lnTo>
                    <a:pt x="451" y="2441"/>
                  </a:lnTo>
                  <a:lnTo>
                    <a:pt x="440" y="2440"/>
                  </a:lnTo>
                  <a:lnTo>
                    <a:pt x="430" y="2436"/>
                  </a:lnTo>
                  <a:lnTo>
                    <a:pt x="423" y="2430"/>
                  </a:lnTo>
                  <a:lnTo>
                    <a:pt x="416" y="2422"/>
                  </a:lnTo>
                  <a:lnTo>
                    <a:pt x="409" y="2412"/>
                  </a:lnTo>
                  <a:lnTo>
                    <a:pt x="405" y="2400"/>
                  </a:lnTo>
                  <a:lnTo>
                    <a:pt x="402" y="2385"/>
                  </a:lnTo>
                  <a:lnTo>
                    <a:pt x="402" y="2370"/>
                  </a:lnTo>
                  <a:lnTo>
                    <a:pt x="402" y="2370"/>
                  </a:lnTo>
                  <a:lnTo>
                    <a:pt x="402" y="2354"/>
                  </a:lnTo>
                  <a:lnTo>
                    <a:pt x="405" y="2340"/>
                  </a:lnTo>
                  <a:lnTo>
                    <a:pt x="409" y="2329"/>
                  </a:lnTo>
                  <a:lnTo>
                    <a:pt x="416" y="2318"/>
                  </a:lnTo>
                  <a:lnTo>
                    <a:pt x="423" y="2309"/>
                  </a:lnTo>
                  <a:lnTo>
                    <a:pt x="430" y="2303"/>
                  </a:lnTo>
                  <a:lnTo>
                    <a:pt x="440" y="2299"/>
                  </a:lnTo>
                  <a:lnTo>
                    <a:pt x="451" y="2298"/>
                  </a:lnTo>
                  <a:lnTo>
                    <a:pt x="451" y="2298"/>
                  </a:lnTo>
                  <a:lnTo>
                    <a:pt x="462" y="2299"/>
                  </a:lnTo>
                  <a:lnTo>
                    <a:pt x="472" y="2303"/>
                  </a:lnTo>
                  <a:lnTo>
                    <a:pt x="481" y="2309"/>
                  </a:lnTo>
                  <a:lnTo>
                    <a:pt x="488" y="2318"/>
                  </a:lnTo>
                  <a:lnTo>
                    <a:pt x="494" y="2329"/>
                  </a:lnTo>
                  <a:lnTo>
                    <a:pt x="498" y="2340"/>
                  </a:lnTo>
                  <a:lnTo>
                    <a:pt x="500" y="2354"/>
                  </a:lnTo>
                  <a:lnTo>
                    <a:pt x="501" y="2370"/>
                  </a:lnTo>
                  <a:lnTo>
                    <a:pt x="501" y="2370"/>
                  </a:lnTo>
                  <a:lnTo>
                    <a:pt x="500" y="2385"/>
                  </a:lnTo>
                  <a:lnTo>
                    <a:pt x="498" y="2400"/>
                  </a:lnTo>
                  <a:lnTo>
                    <a:pt x="494" y="2412"/>
                  </a:lnTo>
                  <a:lnTo>
                    <a:pt x="488" y="2422"/>
                  </a:lnTo>
                  <a:lnTo>
                    <a:pt x="481" y="2430"/>
                  </a:lnTo>
                  <a:lnTo>
                    <a:pt x="472" y="2436"/>
                  </a:lnTo>
                  <a:lnTo>
                    <a:pt x="462" y="2440"/>
                  </a:lnTo>
                  <a:lnTo>
                    <a:pt x="451" y="2441"/>
                  </a:lnTo>
                  <a:lnTo>
                    <a:pt x="451" y="2441"/>
                  </a:lnTo>
                  <a:close/>
                  <a:moveTo>
                    <a:pt x="2520" y="2315"/>
                  </a:moveTo>
                  <a:lnTo>
                    <a:pt x="2520" y="2315"/>
                  </a:lnTo>
                  <a:lnTo>
                    <a:pt x="2511" y="2310"/>
                  </a:lnTo>
                  <a:lnTo>
                    <a:pt x="2501" y="2306"/>
                  </a:lnTo>
                  <a:lnTo>
                    <a:pt x="2490" y="2303"/>
                  </a:lnTo>
                  <a:lnTo>
                    <a:pt x="2480" y="2302"/>
                  </a:lnTo>
                  <a:lnTo>
                    <a:pt x="2480" y="2302"/>
                  </a:lnTo>
                  <a:lnTo>
                    <a:pt x="2469" y="2303"/>
                  </a:lnTo>
                  <a:lnTo>
                    <a:pt x="2460" y="2306"/>
                  </a:lnTo>
                  <a:lnTo>
                    <a:pt x="2453" y="2310"/>
                  </a:lnTo>
                  <a:lnTo>
                    <a:pt x="2447" y="2317"/>
                  </a:lnTo>
                  <a:lnTo>
                    <a:pt x="2442" y="2324"/>
                  </a:lnTo>
                  <a:lnTo>
                    <a:pt x="2438" y="2334"/>
                  </a:lnTo>
                  <a:lnTo>
                    <a:pt x="2436" y="2346"/>
                  </a:lnTo>
                  <a:lnTo>
                    <a:pt x="2436" y="2359"/>
                  </a:lnTo>
                  <a:lnTo>
                    <a:pt x="2436" y="2493"/>
                  </a:lnTo>
                  <a:lnTo>
                    <a:pt x="2375" y="2493"/>
                  </a:lnTo>
                  <a:lnTo>
                    <a:pt x="2375" y="2247"/>
                  </a:lnTo>
                  <a:lnTo>
                    <a:pt x="2436" y="2247"/>
                  </a:lnTo>
                  <a:lnTo>
                    <a:pt x="2436" y="2268"/>
                  </a:lnTo>
                  <a:lnTo>
                    <a:pt x="2436" y="2268"/>
                  </a:lnTo>
                  <a:lnTo>
                    <a:pt x="2441" y="2261"/>
                  </a:lnTo>
                  <a:lnTo>
                    <a:pt x="2447" y="2255"/>
                  </a:lnTo>
                  <a:lnTo>
                    <a:pt x="2453" y="2252"/>
                  </a:lnTo>
                  <a:lnTo>
                    <a:pt x="2460" y="2248"/>
                  </a:lnTo>
                  <a:lnTo>
                    <a:pt x="2468" y="2244"/>
                  </a:lnTo>
                  <a:lnTo>
                    <a:pt x="2475" y="2243"/>
                  </a:lnTo>
                  <a:lnTo>
                    <a:pt x="2482" y="2242"/>
                  </a:lnTo>
                  <a:lnTo>
                    <a:pt x="2490" y="2241"/>
                  </a:lnTo>
                  <a:lnTo>
                    <a:pt x="2490" y="2241"/>
                  </a:lnTo>
                  <a:lnTo>
                    <a:pt x="2502" y="2242"/>
                  </a:lnTo>
                  <a:lnTo>
                    <a:pt x="2514" y="2246"/>
                  </a:lnTo>
                  <a:lnTo>
                    <a:pt x="2527" y="2250"/>
                  </a:lnTo>
                  <a:lnTo>
                    <a:pt x="2536" y="2257"/>
                  </a:lnTo>
                  <a:lnTo>
                    <a:pt x="2520" y="2315"/>
                  </a:lnTo>
                  <a:close/>
                  <a:moveTo>
                    <a:pt x="2040" y="2247"/>
                  </a:moveTo>
                  <a:lnTo>
                    <a:pt x="2100" y="2247"/>
                  </a:lnTo>
                  <a:lnTo>
                    <a:pt x="2030" y="2493"/>
                  </a:lnTo>
                  <a:lnTo>
                    <a:pt x="1977" y="2493"/>
                  </a:lnTo>
                  <a:lnTo>
                    <a:pt x="1950" y="2391"/>
                  </a:lnTo>
                  <a:lnTo>
                    <a:pt x="1950" y="2391"/>
                  </a:lnTo>
                  <a:lnTo>
                    <a:pt x="1937" y="2337"/>
                  </a:lnTo>
                  <a:lnTo>
                    <a:pt x="1937" y="2337"/>
                  </a:lnTo>
                  <a:lnTo>
                    <a:pt x="1931" y="2363"/>
                  </a:lnTo>
                  <a:lnTo>
                    <a:pt x="1923" y="2392"/>
                  </a:lnTo>
                  <a:lnTo>
                    <a:pt x="1896" y="2493"/>
                  </a:lnTo>
                  <a:lnTo>
                    <a:pt x="1844" y="2493"/>
                  </a:lnTo>
                  <a:lnTo>
                    <a:pt x="1842" y="2491"/>
                  </a:lnTo>
                  <a:lnTo>
                    <a:pt x="1774" y="2247"/>
                  </a:lnTo>
                  <a:lnTo>
                    <a:pt x="1836" y="2247"/>
                  </a:lnTo>
                  <a:lnTo>
                    <a:pt x="1860" y="2339"/>
                  </a:lnTo>
                  <a:lnTo>
                    <a:pt x="1860" y="2339"/>
                  </a:lnTo>
                  <a:lnTo>
                    <a:pt x="1866" y="2368"/>
                  </a:lnTo>
                  <a:lnTo>
                    <a:pt x="1872" y="2398"/>
                  </a:lnTo>
                  <a:lnTo>
                    <a:pt x="1872" y="2398"/>
                  </a:lnTo>
                  <a:lnTo>
                    <a:pt x="1878" y="2368"/>
                  </a:lnTo>
                  <a:lnTo>
                    <a:pt x="1887" y="2337"/>
                  </a:lnTo>
                  <a:lnTo>
                    <a:pt x="1912" y="2247"/>
                  </a:lnTo>
                  <a:lnTo>
                    <a:pt x="1964" y="2247"/>
                  </a:lnTo>
                  <a:lnTo>
                    <a:pt x="1990" y="2337"/>
                  </a:lnTo>
                  <a:lnTo>
                    <a:pt x="1990" y="2337"/>
                  </a:lnTo>
                  <a:lnTo>
                    <a:pt x="1997" y="2367"/>
                  </a:lnTo>
                  <a:lnTo>
                    <a:pt x="2004" y="2400"/>
                  </a:lnTo>
                  <a:lnTo>
                    <a:pt x="2004" y="2400"/>
                  </a:lnTo>
                  <a:lnTo>
                    <a:pt x="2010" y="2372"/>
                  </a:lnTo>
                  <a:lnTo>
                    <a:pt x="2018" y="2337"/>
                  </a:lnTo>
                  <a:lnTo>
                    <a:pt x="2040" y="2247"/>
                  </a:lnTo>
                  <a:close/>
                  <a:moveTo>
                    <a:pt x="2224" y="2241"/>
                  </a:moveTo>
                  <a:lnTo>
                    <a:pt x="2224" y="2241"/>
                  </a:lnTo>
                  <a:lnTo>
                    <a:pt x="2213" y="2242"/>
                  </a:lnTo>
                  <a:lnTo>
                    <a:pt x="2200" y="2243"/>
                  </a:lnTo>
                  <a:lnTo>
                    <a:pt x="2189" y="2247"/>
                  </a:lnTo>
                  <a:lnTo>
                    <a:pt x="2180" y="2250"/>
                  </a:lnTo>
                  <a:lnTo>
                    <a:pt x="2170" y="2255"/>
                  </a:lnTo>
                  <a:lnTo>
                    <a:pt x="2160" y="2263"/>
                  </a:lnTo>
                  <a:lnTo>
                    <a:pt x="2151" y="2269"/>
                  </a:lnTo>
                  <a:lnTo>
                    <a:pt x="2144" y="2277"/>
                  </a:lnTo>
                  <a:lnTo>
                    <a:pt x="2137" y="2286"/>
                  </a:lnTo>
                  <a:lnTo>
                    <a:pt x="2131" y="2296"/>
                  </a:lnTo>
                  <a:lnTo>
                    <a:pt x="2124" y="2307"/>
                  </a:lnTo>
                  <a:lnTo>
                    <a:pt x="2121" y="2318"/>
                  </a:lnTo>
                  <a:lnTo>
                    <a:pt x="2117" y="2330"/>
                  </a:lnTo>
                  <a:lnTo>
                    <a:pt x="2113" y="2343"/>
                  </a:lnTo>
                  <a:lnTo>
                    <a:pt x="2112" y="2356"/>
                  </a:lnTo>
                  <a:lnTo>
                    <a:pt x="2112" y="2370"/>
                  </a:lnTo>
                  <a:lnTo>
                    <a:pt x="2112" y="2370"/>
                  </a:lnTo>
                  <a:lnTo>
                    <a:pt x="2112" y="2384"/>
                  </a:lnTo>
                  <a:lnTo>
                    <a:pt x="2113" y="2397"/>
                  </a:lnTo>
                  <a:lnTo>
                    <a:pt x="2117" y="2410"/>
                  </a:lnTo>
                  <a:lnTo>
                    <a:pt x="2121" y="2422"/>
                  </a:lnTo>
                  <a:lnTo>
                    <a:pt x="2124" y="2433"/>
                  </a:lnTo>
                  <a:lnTo>
                    <a:pt x="2131" y="2444"/>
                  </a:lnTo>
                  <a:lnTo>
                    <a:pt x="2137" y="2454"/>
                  </a:lnTo>
                  <a:lnTo>
                    <a:pt x="2144" y="2462"/>
                  </a:lnTo>
                  <a:lnTo>
                    <a:pt x="2151" y="2471"/>
                  </a:lnTo>
                  <a:lnTo>
                    <a:pt x="2160" y="2478"/>
                  </a:lnTo>
                  <a:lnTo>
                    <a:pt x="2170" y="2484"/>
                  </a:lnTo>
                  <a:lnTo>
                    <a:pt x="2180" y="2489"/>
                  </a:lnTo>
                  <a:lnTo>
                    <a:pt x="2189" y="2493"/>
                  </a:lnTo>
                  <a:lnTo>
                    <a:pt x="2200" y="2496"/>
                  </a:lnTo>
                  <a:lnTo>
                    <a:pt x="2213" y="2498"/>
                  </a:lnTo>
                  <a:lnTo>
                    <a:pt x="2224" y="2499"/>
                  </a:lnTo>
                  <a:lnTo>
                    <a:pt x="2224" y="2499"/>
                  </a:lnTo>
                  <a:lnTo>
                    <a:pt x="2236" y="2498"/>
                  </a:lnTo>
                  <a:lnTo>
                    <a:pt x="2248" y="2496"/>
                  </a:lnTo>
                  <a:lnTo>
                    <a:pt x="2259" y="2493"/>
                  </a:lnTo>
                  <a:lnTo>
                    <a:pt x="2269" y="2489"/>
                  </a:lnTo>
                  <a:lnTo>
                    <a:pt x="2279" y="2484"/>
                  </a:lnTo>
                  <a:lnTo>
                    <a:pt x="2289" y="2478"/>
                  </a:lnTo>
                  <a:lnTo>
                    <a:pt x="2297" y="2471"/>
                  </a:lnTo>
                  <a:lnTo>
                    <a:pt x="2305" y="2462"/>
                  </a:lnTo>
                  <a:lnTo>
                    <a:pt x="2312" y="2454"/>
                  </a:lnTo>
                  <a:lnTo>
                    <a:pt x="2318" y="2444"/>
                  </a:lnTo>
                  <a:lnTo>
                    <a:pt x="2323" y="2433"/>
                  </a:lnTo>
                  <a:lnTo>
                    <a:pt x="2328" y="2422"/>
                  </a:lnTo>
                  <a:lnTo>
                    <a:pt x="2332" y="2410"/>
                  </a:lnTo>
                  <a:lnTo>
                    <a:pt x="2334" y="2397"/>
                  </a:lnTo>
                  <a:lnTo>
                    <a:pt x="2337" y="2384"/>
                  </a:lnTo>
                  <a:lnTo>
                    <a:pt x="2337" y="2370"/>
                  </a:lnTo>
                  <a:lnTo>
                    <a:pt x="2337" y="2370"/>
                  </a:lnTo>
                  <a:lnTo>
                    <a:pt x="2337" y="2356"/>
                  </a:lnTo>
                  <a:lnTo>
                    <a:pt x="2334" y="2343"/>
                  </a:lnTo>
                  <a:lnTo>
                    <a:pt x="2332" y="2330"/>
                  </a:lnTo>
                  <a:lnTo>
                    <a:pt x="2328" y="2318"/>
                  </a:lnTo>
                  <a:lnTo>
                    <a:pt x="2323" y="2307"/>
                  </a:lnTo>
                  <a:lnTo>
                    <a:pt x="2318" y="2296"/>
                  </a:lnTo>
                  <a:lnTo>
                    <a:pt x="2312" y="2286"/>
                  </a:lnTo>
                  <a:lnTo>
                    <a:pt x="2305" y="2277"/>
                  </a:lnTo>
                  <a:lnTo>
                    <a:pt x="2297" y="2269"/>
                  </a:lnTo>
                  <a:lnTo>
                    <a:pt x="2289" y="2263"/>
                  </a:lnTo>
                  <a:lnTo>
                    <a:pt x="2279" y="2255"/>
                  </a:lnTo>
                  <a:lnTo>
                    <a:pt x="2269" y="2250"/>
                  </a:lnTo>
                  <a:lnTo>
                    <a:pt x="2259" y="2247"/>
                  </a:lnTo>
                  <a:lnTo>
                    <a:pt x="2248" y="2243"/>
                  </a:lnTo>
                  <a:lnTo>
                    <a:pt x="2236" y="2242"/>
                  </a:lnTo>
                  <a:lnTo>
                    <a:pt x="2224" y="2241"/>
                  </a:lnTo>
                  <a:lnTo>
                    <a:pt x="2224" y="2241"/>
                  </a:lnTo>
                  <a:close/>
                  <a:moveTo>
                    <a:pt x="2224" y="2441"/>
                  </a:moveTo>
                  <a:lnTo>
                    <a:pt x="2224" y="2441"/>
                  </a:lnTo>
                  <a:lnTo>
                    <a:pt x="2213" y="2440"/>
                  </a:lnTo>
                  <a:lnTo>
                    <a:pt x="2204" y="2436"/>
                  </a:lnTo>
                  <a:lnTo>
                    <a:pt x="2196" y="2430"/>
                  </a:lnTo>
                  <a:lnTo>
                    <a:pt x="2188" y="2422"/>
                  </a:lnTo>
                  <a:lnTo>
                    <a:pt x="2182" y="2412"/>
                  </a:lnTo>
                  <a:lnTo>
                    <a:pt x="2177" y="2400"/>
                  </a:lnTo>
                  <a:lnTo>
                    <a:pt x="2175" y="2385"/>
                  </a:lnTo>
                  <a:lnTo>
                    <a:pt x="2175" y="2370"/>
                  </a:lnTo>
                  <a:lnTo>
                    <a:pt x="2175" y="2370"/>
                  </a:lnTo>
                  <a:lnTo>
                    <a:pt x="2175" y="2354"/>
                  </a:lnTo>
                  <a:lnTo>
                    <a:pt x="2177" y="2341"/>
                  </a:lnTo>
                  <a:lnTo>
                    <a:pt x="2182" y="2329"/>
                  </a:lnTo>
                  <a:lnTo>
                    <a:pt x="2188" y="2318"/>
                  </a:lnTo>
                  <a:lnTo>
                    <a:pt x="2196" y="2309"/>
                  </a:lnTo>
                  <a:lnTo>
                    <a:pt x="2204" y="2303"/>
                  </a:lnTo>
                  <a:lnTo>
                    <a:pt x="2213" y="2299"/>
                  </a:lnTo>
                  <a:lnTo>
                    <a:pt x="2224" y="2298"/>
                  </a:lnTo>
                  <a:lnTo>
                    <a:pt x="2224" y="2298"/>
                  </a:lnTo>
                  <a:lnTo>
                    <a:pt x="2235" y="2299"/>
                  </a:lnTo>
                  <a:lnTo>
                    <a:pt x="2245" y="2303"/>
                  </a:lnTo>
                  <a:lnTo>
                    <a:pt x="2253" y="2309"/>
                  </a:lnTo>
                  <a:lnTo>
                    <a:pt x="2261" y="2318"/>
                  </a:lnTo>
                  <a:lnTo>
                    <a:pt x="2267" y="2329"/>
                  </a:lnTo>
                  <a:lnTo>
                    <a:pt x="2270" y="2341"/>
                  </a:lnTo>
                  <a:lnTo>
                    <a:pt x="2273" y="2354"/>
                  </a:lnTo>
                  <a:lnTo>
                    <a:pt x="2274" y="2370"/>
                  </a:lnTo>
                  <a:lnTo>
                    <a:pt x="2274" y="2370"/>
                  </a:lnTo>
                  <a:lnTo>
                    <a:pt x="2273" y="2385"/>
                  </a:lnTo>
                  <a:lnTo>
                    <a:pt x="2270" y="2400"/>
                  </a:lnTo>
                  <a:lnTo>
                    <a:pt x="2267" y="2412"/>
                  </a:lnTo>
                  <a:lnTo>
                    <a:pt x="2261" y="2422"/>
                  </a:lnTo>
                  <a:lnTo>
                    <a:pt x="2253" y="2430"/>
                  </a:lnTo>
                  <a:lnTo>
                    <a:pt x="2245" y="2436"/>
                  </a:lnTo>
                  <a:lnTo>
                    <a:pt x="2235" y="2440"/>
                  </a:lnTo>
                  <a:lnTo>
                    <a:pt x="2224" y="2441"/>
                  </a:lnTo>
                  <a:lnTo>
                    <a:pt x="2224" y="2441"/>
                  </a:lnTo>
                  <a:close/>
                  <a:moveTo>
                    <a:pt x="929" y="2328"/>
                  </a:moveTo>
                  <a:lnTo>
                    <a:pt x="1004" y="2493"/>
                  </a:lnTo>
                  <a:lnTo>
                    <a:pt x="937" y="2493"/>
                  </a:lnTo>
                  <a:lnTo>
                    <a:pt x="885" y="2379"/>
                  </a:lnTo>
                  <a:lnTo>
                    <a:pt x="852" y="2419"/>
                  </a:lnTo>
                  <a:lnTo>
                    <a:pt x="852" y="2493"/>
                  </a:lnTo>
                  <a:lnTo>
                    <a:pt x="792" y="2493"/>
                  </a:lnTo>
                  <a:lnTo>
                    <a:pt x="792" y="2175"/>
                  </a:lnTo>
                  <a:lnTo>
                    <a:pt x="852" y="2144"/>
                  </a:lnTo>
                  <a:lnTo>
                    <a:pt x="852" y="2341"/>
                  </a:lnTo>
                  <a:lnTo>
                    <a:pt x="852" y="2341"/>
                  </a:lnTo>
                  <a:lnTo>
                    <a:pt x="875" y="2309"/>
                  </a:lnTo>
                  <a:lnTo>
                    <a:pt x="924" y="2247"/>
                  </a:lnTo>
                  <a:lnTo>
                    <a:pt x="995" y="2247"/>
                  </a:lnTo>
                  <a:lnTo>
                    <a:pt x="929" y="2328"/>
                  </a:lnTo>
                  <a:close/>
                  <a:moveTo>
                    <a:pt x="1219" y="2493"/>
                  </a:moveTo>
                  <a:lnTo>
                    <a:pt x="1157" y="2493"/>
                  </a:lnTo>
                  <a:lnTo>
                    <a:pt x="1157" y="2247"/>
                  </a:lnTo>
                  <a:lnTo>
                    <a:pt x="1219" y="2247"/>
                  </a:lnTo>
                  <a:lnTo>
                    <a:pt x="1219" y="2268"/>
                  </a:lnTo>
                  <a:lnTo>
                    <a:pt x="1219" y="2268"/>
                  </a:lnTo>
                  <a:lnTo>
                    <a:pt x="1225" y="2261"/>
                  </a:lnTo>
                  <a:lnTo>
                    <a:pt x="1231" y="2257"/>
                  </a:lnTo>
                  <a:lnTo>
                    <a:pt x="1238" y="2252"/>
                  </a:lnTo>
                  <a:lnTo>
                    <a:pt x="1245" y="2248"/>
                  </a:lnTo>
                  <a:lnTo>
                    <a:pt x="1254" y="2246"/>
                  </a:lnTo>
                  <a:lnTo>
                    <a:pt x="1263" y="2243"/>
                  </a:lnTo>
                  <a:lnTo>
                    <a:pt x="1271" y="2242"/>
                  </a:lnTo>
                  <a:lnTo>
                    <a:pt x="1281" y="2241"/>
                  </a:lnTo>
                  <a:lnTo>
                    <a:pt x="1281" y="2241"/>
                  </a:lnTo>
                  <a:lnTo>
                    <a:pt x="1292" y="2242"/>
                  </a:lnTo>
                  <a:lnTo>
                    <a:pt x="1302" y="2243"/>
                  </a:lnTo>
                  <a:lnTo>
                    <a:pt x="1310" y="2246"/>
                  </a:lnTo>
                  <a:lnTo>
                    <a:pt x="1320" y="2248"/>
                  </a:lnTo>
                  <a:lnTo>
                    <a:pt x="1328" y="2253"/>
                  </a:lnTo>
                  <a:lnTo>
                    <a:pt x="1335" y="2258"/>
                  </a:lnTo>
                  <a:lnTo>
                    <a:pt x="1342" y="2263"/>
                  </a:lnTo>
                  <a:lnTo>
                    <a:pt x="1348" y="2270"/>
                  </a:lnTo>
                  <a:lnTo>
                    <a:pt x="1353" y="2277"/>
                  </a:lnTo>
                  <a:lnTo>
                    <a:pt x="1358" y="2286"/>
                  </a:lnTo>
                  <a:lnTo>
                    <a:pt x="1362" y="2295"/>
                  </a:lnTo>
                  <a:lnTo>
                    <a:pt x="1366" y="2306"/>
                  </a:lnTo>
                  <a:lnTo>
                    <a:pt x="1368" y="2317"/>
                  </a:lnTo>
                  <a:lnTo>
                    <a:pt x="1369" y="2328"/>
                  </a:lnTo>
                  <a:lnTo>
                    <a:pt x="1371" y="2340"/>
                  </a:lnTo>
                  <a:lnTo>
                    <a:pt x="1372" y="2353"/>
                  </a:lnTo>
                  <a:lnTo>
                    <a:pt x="1372" y="2493"/>
                  </a:lnTo>
                  <a:lnTo>
                    <a:pt x="1310" y="2493"/>
                  </a:lnTo>
                  <a:lnTo>
                    <a:pt x="1310" y="2357"/>
                  </a:lnTo>
                  <a:lnTo>
                    <a:pt x="1310" y="2357"/>
                  </a:lnTo>
                  <a:lnTo>
                    <a:pt x="1309" y="2343"/>
                  </a:lnTo>
                  <a:lnTo>
                    <a:pt x="1308" y="2330"/>
                  </a:lnTo>
                  <a:lnTo>
                    <a:pt x="1304" y="2320"/>
                  </a:lnTo>
                  <a:lnTo>
                    <a:pt x="1299" y="2312"/>
                  </a:lnTo>
                  <a:lnTo>
                    <a:pt x="1293" y="2306"/>
                  </a:lnTo>
                  <a:lnTo>
                    <a:pt x="1286" y="2301"/>
                  </a:lnTo>
                  <a:lnTo>
                    <a:pt x="1276" y="2298"/>
                  </a:lnTo>
                  <a:lnTo>
                    <a:pt x="1265" y="2297"/>
                  </a:lnTo>
                  <a:lnTo>
                    <a:pt x="1265" y="2297"/>
                  </a:lnTo>
                  <a:lnTo>
                    <a:pt x="1255" y="2298"/>
                  </a:lnTo>
                  <a:lnTo>
                    <a:pt x="1245" y="2301"/>
                  </a:lnTo>
                  <a:lnTo>
                    <a:pt x="1237" y="2306"/>
                  </a:lnTo>
                  <a:lnTo>
                    <a:pt x="1231" y="2313"/>
                  </a:lnTo>
                  <a:lnTo>
                    <a:pt x="1226" y="2320"/>
                  </a:lnTo>
                  <a:lnTo>
                    <a:pt x="1222" y="2331"/>
                  </a:lnTo>
                  <a:lnTo>
                    <a:pt x="1220" y="2343"/>
                  </a:lnTo>
                  <a:lnTo>
                    <a:pt x="1219" y="2357"/>
                  </a:lnTo>
                  <a:lnTo>
                    <a:pt x="1219" y="2493"/>
                  </a:lnTo>
                  <a:close/>
                  <a:moveTo>
                    <a:pt x="1564" y="2264"/>
                  </a:moveTo>
                  <a:lnTo>
                    <a:pt x="1564" y="2264"/>
                  </a:lnTo>
                  <a:lnTo>
                    <a:pt x="1558" y="2259"/>
                  </a:lnTo>
                  <a:lnTo>
                    <a:pt x="1552" y="2254"/>
                  </a:lnTo>
                  <a:lnTo>
                    <a:pt x="1546" y="2250"/>
                  </a:lnTo>
                  <a:lnTo>
                    <a:pt x="1538" y="2247"/>
                  </a:lnTo>
                  <a:lnTo>
                    <a:pt x="1531" y="2244"/>
                  </a:lnTo>
                  <a:lnTo>
                    <a:pt x="1524" y="2243"/>
                  </a:lnTo>
                  <a:lnTo>
                    <a:pt x="1516" y="2242"/>
                  </a:lnTo>
                  <a:lnTo>
                    <a:pt x="1509" y="2241"/>
                  </a:lnTo>
                  <a:lnTo>
                    <a:pt x="1509" y="2241"/>
                  </a:lnTo>
                  <a:lnTo>
                    <a:pt x="1498" y="2242"/>
                  </a:lnTo>
                  <a:lnTo>
                    <a:pt x="1488" y="2243"/>
                  </a:lnTo>
                  <a:lnTo>
                    <a:pt x="1478" y="2246"/>
                  </a:lnTo>
                  <a:lnTo>
                    <a:pt x="1469" y="2250"/>
                  </a:lnTo>
                  <a:lnTo>
                    <a:pt x="1460" y="2254"/>
                  </a:lnTo>
                  <a:lnTo>
                    <a:pt x="1453" y="2260"/>
                  </a:lnTo>
                  <a:lnTo>
                    <a:pt x="1445" y="2268"/>
                  </a:lnTo>
                  <a:lnTo>
                    <a:pt x="1438" y="2275"/>
                  </a:lnTo>
                  <a:lnTo>
                    <a:pt x="1432" y="2284"/>
                  </a:lnTo>
                  <a:lnTo>
                    <a:pt x="1427" y="2293"/>
                  </a:lnTo>
                  <a:lnTo>
                    <a:pt x="1422" y="2303"/>
                  </a:lnTo>
                  <a:lnTo>
                    <a:pt x="1418" y="2315"/>
                  </a:lnTo>
                  <a:lnTo>
                    <a:pt x="1416" y="2326"/>
                  </a:lnTo>
                  <a:lnTo>
                    <a:pt x="1413" y="2340"/>
                  </a:lnTo>
                  <a:lnTo>
                    <a:pt x="1412" y="2353"/>
                  </a:lnTo>
                  <a:lnTo>
                    <a:pt x="1412" y="2367"/>
                  </a:lnTo>
                  <a:lnTo>
                    <a:pt x="1412" y="2367"/>
                  </a:lnTo>
                  <a:lnTo>
                    <a:pt x="1412" y="2383"/>
                  </a:lnTo>
                  <a:lnTo>
                    <a:pt x="1413" y="2396"/>
                  </a:lnTo>
                  <a:lnTo>
                    <a:pt x="1416" y="2410"/>
                  </a:lnTo>
                  <a:lnTo>
                    <a:pt x="1418" y="2423"/>
                  </a:lnTo>
                  <a:lnTo>
                    <a:pt x="1422" y="2434"/>
                  </a:lnTo>
                  <a:lnTo>
                    <a:pt x="1427" y="2445"/>
                  </a:lnTo>
                  <a:lnTo>
                    <a:pt x="1432" y="2455"/>
                  </a:lnTo>
                  <a:lnTo>
                    <a:pt x="1438" y="2463"/>
                  </a:lnTo>
                  <a:lnTo>
                    <a:pt x="1444" y="2472"/>
                  </a:lnTo>
                  <a:lnTo>
                    <a:pt x="1451" y="2478"/>
                  </a:lnTo>
                  <a:lnTo>
                    <a:pt x="1459" y="2484"/>
                  </a:lnTo>
                  <a:lnTo>
                    <a:pt x="1467" y="2489"/>
                  </a:lnTo>
                  <a:lnTo>
                    <a:pt x="1477" y="2493"/>
                  </a:lnTo>
                  <a:lnTo>
                    <a:pt x="1487" y="2496"/>
                  </a:lnTo>
                  <a:lnTo>
                    <a:pt x="1497" y="2498"/>
                  </a:lnTo>
                  <a:lnTo>
                    <a:pt x="1508" y="2499"/>
                  </a:lnTo>
                  <a:lnTo>
                    <a:pt x="1508" y="2499"/>
                  </a:lnTo>
                  <a:lnTo>
                    <a:pt x="1515" y="2498"/>
                  </a:lnTo>
                  <a:lnTo>
                    <a:pt x="1524" y="2496"/>
                  </a:lnTo>
                  <a:lnTo>
                    <a:pt x="1531" y="2495"/>
                  </a:lnTo>
                  <a:lnTo>
                    <a:pt x="1538" y="2493"/>
                  </a:lnTo>
                  <a:lnTo>
                    <a:pt x="1545" y="2489"/>
                  </a:lnTo>
                  <a:lnTo>
                    <a:pt x="1552" y="2485"/>
                  </a:lnTo>
                  <a:lnTo>
                    <a:pt x="1558" y="2480"/>
                  </a:lnTo>
                  <a:lnTo>
                    <a:pt x="1564" y="2474"/>
                  </a:lnTo>
                  <a:lnTo>
                    <a:pt x="1564" y="2480"/>
                  </a:lnTo>
                  <a:lnTo>
                    <a:pt x="1564" y="2480"/>
                  </a:lnTo>
                  <a:lnTo>
                    <a:pt x="1564" y="2490"/>
                  </a:lnTo>
                  <a:lnTo>
                    <a:pt x="1563" y="2501"/>
                  </a:lnTo>
                  <a:lnTo>
                    <a:pt x="1559" y="2512"/>
                  </a:lnTo>
                  <a:lnTo>
                    <a:pt x="1557" y="2517"/>
                  </a:lnTo>
                  <a:lnTo>
                    <a:pt x="1554" y="2522"/>
                  </a:lnTo>
                  <a:lnTo>
                    <a:pt x="1550" y="2527"/>
                  </a:lnTo>
                  <a:lnTo>
                    <a:pt x="1545" y="2532"/>
                  </a:lnTo>
                  <a:lnTo>
                    <a:pt x="1538" y="2536"/>
                  </a:lnTo>
                  <a:lnTo>
                    <a:pt x="1531" y="2539"/>
                  </a:lnTo>
                  <a:lnTo>
                    <a:pt x="1521" y="2542"/>
                  </a:lnTo>
                  <a:lnTo>
                    <a:pt x="1512" y="2544"/>
                  </a:lnTo>
                  <a:lnTo>
                    <a:pt x="1499" y="2545"/>
                  </a:lnTo>
                  <a:lnTo>
                    <a:pt x="1485" y="2545"/>
                  </a:lnTo>
                  <a:lnTo>
                    <a:pt x="1482" y="2545"/>
                  </a:lnTo>
                  <a:lnTo>
                    <a:pt x="1504" y="2593"/>
                  </a:lnTo>
                  <a:lnTo>
                    <a:pt x="1505" y="2593"/>
                  </a:lnTo>
                  <a:lnTo>
                    <a:pt x="1505" y="2593"/>
                  </a:lnTo>
                  <a:lnTo>
                    <a:pt x="1520" y="2593"/>
                  </a:lnTo>
                  <a:lnTo>
                    <a:pt x="1534" y="2592"/>
                  </a:lnTo>
                  <a:lnTo>
                    <a:pt x="1546" y="2588"/>
                  </a:lnTo>
                  <a:lnTo>
                    <a:pt x="1558" y="2586"/>
                  </a:lnTo>
                  <a:lnTo>
                    <a:pt x="1569" y="2581"/>
                  </a:lnTo>
                  <a:lnTo>
                    <a:pt x="1579" y="2576"/>
                  </a:lnTo>
                  <a:lnTo>
                    <a:pt x="1588" y="2570"/>
                  </a:lnTo>
                  <a:lnTo>
                    <a:pt x="1595" y="2562"/>
                  </a:lnTo>
                  <a:lnTo>
                    <a:pt x="1602" y="2554"/>
                  </a:lnTo>
                  <a:lnTo>
                    <a:pt x="1608" y="2545"/>
                  </a:lnTo>
                  <a:lnTo>
                    <a:pt x="1613" y="2534"/>
                  </a:lnTo>
                  <a:lnTo>
                    <a:pt x="1617" y="2523"/>
                  </a:lnTo>
                  <a:lnTo>
                    <a:pt x="1621" y="2512"/>
                  </a:lnTo>
                  <a:lnTo>
                    <a:pt x="1623" y="2499"/>
                  </a:lnTo>
                  <a:lnTo>
                    <a:pt x="1624" y="2485"/>
                  </a:lnTo>
                  <a:lnTo>
                    <a:pt x="1624" y="2471"/>
                  </a:lnTo>
                  <a:lnTo>
                    <a:pt x="1624" y="2247"/>
                  </a:lnTo>
                  <a:lnTo>
                    <a:pt x="1564" y="2247"/>
                  </a:lnTo>
                  <a:lnTo>
                    <a:pt x="1564" y="2264"/>
                  </a:lnTo>
                  <a:close/>
                  <a:moveTo>
                    <a:pt x="1564" y="2321"/>
                  </a:moveTo>
                  <a:lnTo>
                    <a:pt x="1564" y="2418"/>
                  </a:lnTo>
                  <a:lnTo>
                    <a:pt x="1564" y="2418"/>
                  </a:lnTo>
                  <a:lnTo>
                    <a:pt x="1556" y="2427"/>
                  </a:lnTo>
                  <a:lnTo>
                    <a:pt x="1547" y="2435"/>
                  </a:lnTo>
                  <a:lnTo>
                    <a:pt x="1541" y="2438"/>
                  </a:lnTo>
                  <a:lnTo>
                    <a:pt x="1535" y="2440"/>
                  </a:lnTo>
                  <a:lnTo>
                    <a:pt x="1529" y="2441"/>
                  </a:lnTo>
                  <a:lnTo>
                    <a:pt x="1520" y="2443"/>
                  </a:lnTo>
                  <a:lnTo>
                    <a:pt x="1520" y="2443"/>
                  </a:lnTo>
                  <a:lnTo>
                    <a:pt x="1513" y="2441"/>
                  </a:lnTo>
                  <a:lnTo>
                    <a:pt x="1504" y="2439"/>
                  </a:lnTo>
                  <a:lnTo>
                    <a:pt x="1497" y="2435"/>
                  </a:lnTo>
                  <a:lnTo>
                    <a:pt x="1489" y="2428"/>
                  </a:lnTo>
                  <a:lnTo>
                    <a:pt x="1483" y="2418"/>
                  </a:lnTo>
                  <a:lnTo>
                    <a:pt x="1478" y="2405"/>
                  </a:lnTo>
                  <a:lnTo>
                    <a:pt x="1476" y="2387"/>
                  </a:lnTo>
                  <a:lnTo>
                    <a:pt x="1475" y="2365"/>
                  </a:lnTo>
                  <a:lnTo>
                    <a:pt x="1475" y="2365"/>
                  </a:lnTo>
                  <a:lnTo>
                    <a:pt x="1476" y="2347"/>
                  </a:lnTo>
                  <a:lnTo>
                    <a:pt x="1478" y="2331"/>
                  </a:lnTo>
                  <a:lnTo>
                    <a:pt x="1483" y="2319"/>
                  </a:lnTo>
                  <a:lnTo>
                    <a:pt x="1489" y="2310"/>
                  </a:lnTo>
                  <a:lnTo>
                    <a:pt x="1497" y="2304"/>
                  </a:lnTo>
                  <a:lnTo>
                    <a:pt x="1504" y="2299"/>
                  </a:lnTo>
                  <a:lnTo>
                    <a:pt x="1513" y="2298"/>
                  </a:lnTo>
                  <a:lnTo>
                    <a:pt x="1520" y="2297"/>
                  </a:lnTo>
                  <a:lnTo>
                    <a:pt x="1520" y="2297"/>
                  </a:lnTo>
                  <a:lnTo>
                    <a:pt x="1529" y="2298"/>
                  </a:lnTo>
                  <a:lnTo>
                    <a:pt x="1536" y="2299"/>
                  </a:lnTo>
                  <a:lnTo>
                    <a:pt x="1542" y="2302"/>
                  </a:lnTo>
                  <a:lnTo>
                    <a:pt x="1548" y="2306"/>
                  </a:lnTo>
                  <a:lnTo>
                    <a:pt x="1553" y="2309"/>
                  </a:lnTo>
                  <a:lnTo>
                    <a:pt x="1557" y="2313"/>
                  </a:lnTo>
                  <a:lnTo>
                    <a:pt x="1564" y="2321"/>
                  </a:lnTo>
                  <a:lnTo>
                    <a:pt x="1564" y="2321"/>
                  </a:lnTo>
                  <a:close/>
                  <a:moveTo>
                    <a:pt x="1042" y="2247"/>
                  </a:moveTo>
                  <a:lnTo>
                    <a:pt x="1103" y="2247"/>
                  </a:lnTo>
                  <a:lnTo>
                    <a:pt x="1103" y="2356"/>
                  </a:lnTo>
                  <a:lnTo>
                    <a:pt x="1103" y="2493"/>
                  </a:lnTo>
                  <a:lnTo>
                    <a:pt x="1042" y="2493"/>
                  </a:lnTo>
                  <a:lnTo>
                    <a:pt x="1042" y="2247"/>
                  </a:lnTo>
                  <a:close/>
                  <a:moveTo>
                    <a:pt x="1103" y="2181"/>
                  </a:moveTo>
                  <a:lnTo>
                    <a:pt x="1103" y="2211"/>
                  </a:lnTo>
                  <a:lnTo>
                    <a:pt x="1042" y="2211"/>
                  </a:lnTo>
                  <a:lnTo>
                    <a:pt x="1042" y="2150"/>
                  </a:lnTo>
                  <a:lnTo>
                    <a:pt x="1103" y="2150"/>
                  </a:lnTo>
                  <a:lnTo>
                    <a:pt x="1103" y="2181"/>
                  </a:lnTo>
                  <a:close/>
                  <a:moveTo>
                    <a:pt x="2565" y="2175"/>
                  </a:moveTo>
                  <a:lnTo>
                    <a:pt x="2626" y="2144"/>
                  </a:lnTo>
                  <a:lnTo>
                    <a:pt x="2626" y="2367"/>
                  </a:lnTo>
                  <a:lnTo>
                    <a:pt x="2626" y="2493"/>
                  </a:lnTo>
                  <a:lnTo>
                    <a:pt x="2565" y="2493"/>
                  </a:lnTo>
                  <a:lnTo>
                    <a:pt x="2565" y="2175"/>
                  </a:lnTo>
                  <a:close/>
                  <a:moveTo>
                    <a:pt x="441" y="839"/>
                  </a:moveTo>
                  <a:lnTo>
                    <a:pt x="944" y="839"/>
                  </a:lnTo>
                  <a:lnTo>
                    <a:pt x="944" y="548"/>
                  </a:lnTo>
                  <a:lnTo>
                    <a:pt x="441" y="548"/>
                  </a:lnTo>
                  <a:lnTo>
                    <a:pt x="441" y="319"/>
                  </a:lnTo>
                  <a:lnTo>
                    <a:pt x="998" y="319"/>
                  </a:lnTo>
                  <a:lnTo>
                    <a:pt x="813" y="0"/>
                  </a:lnTo>
                  <a:lnTo>
                    <a:pt x="25" y="0"/>
                  </a:lnTo>
                  <a:lnTo>
                    <a:pt x="25" y="1387"/>
                  </a:lnTo>
                  <a:lnTo>
                    <a:pt x="1136" y="1387"/>
                  </a:lnTo>
                  <a:lnTo>
                    <a:pt x="1136" y="1068"/>
                  </a:lnTo>
                  <a:lnTo>
                    <a:pt x="441" y="1068"/>
                  </a:lnTo>
                  <a:lnTo>
                    <a:pt x="441" y="839"/>
                  </a:lnTo>
                  <a:close/>
                  <a:moveTo>
                    <a:pt x="1877" y="0"/>
                  </a:moveTo>
                  <a:lnTo>
                    <a:pt x="1640" y="452"/>
                  </a:lnTo>
                  <a:lnTo>
                    <a:pt x="1405" y="0"/>
                  </a:lnTo>
                  <a:lnTo>
                    <a:pt x="944" y="0"/>
                  </a:lnTo>
                  <a:lnTo>
                    <a:pt x="1429" y="839"/>
                  </a:lnTo>
                  <a:lnTo>
                    <a:pt x="1429" y="1387"/>
                  </a:lnTo>
                  <a:lnTo>
                    <a:pt x="1845" y="1387"/>
                  </a:lnTo>
                  <a:lnTo>
                    <a:pt x="1845" y="839"/>
                  </a:lnTo>
                  <a:lnTo>
                    <a:pt x="2332" y="0"/>
                  </a:lnTo>
                  <a:lnTo>
                    <a:pt x="187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084"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1">
                <a:ln>
                  <a:noFill/>
                </a:ln>
                <a:solidFill>
                  <a:srgbClr val="FFFFFF"/>
                </a:solidFill>
                <a:effectLst/>
                <a:uLnTx/>
                <a:uFillTx/>
                <a:latin typeface="EYInterstate Light"/>
              </a:endParaRPr>
            </a:p>
          </p:txBody>
        </p:sp>
      </p:grpSp>
      <p:grpSp>
        <p:nvGrpSpPr>
          <p:cNvPr id="223" name="Group 222">
            <a:extLst>
              <a:ext uri="{FF2B5EF4-FFF2-40B4-BE49-F238E27FC236}">
                <a16:creationId xmlns:a16="http://schemas.microsoft.com/office/drawing/2014/main" id="{63399C8B-AEBB-4912-B22F-4474979F834C}"/>
              </a:ext>
            </a:extLst>
          </p:cNvPr>
          <p:cNvGrpSpPr/>
          <p:nvPr userDrawn="1"/>
        </p:nvGrpSpPr>
        <p:grpSpPr>
          <a:xfrm>
            <a:off x="503502" y="919264"/>
            <a:ext cx="4666333" cy="5041426"/>
            <a:chOff x="457200" y="431800"/>
            <a:chExt cx="3721100" cy="4394200"/>
          </a:xfrm>
        </p:grpSpPr>
        <p:sp>
          <p:nvSpPr>
            <p:cNvPr id="224" name="Freeform 5">
              <a:extLst>
                <a:ext uri="{FF2B5EF4-FFF2-40B4-BE49-F238E27FC236}">
                  <a16:creationId xmlns:a16="http://schemas.microsoft.com/office/drawing/2014/main" id="{0602663D-DFBE-474C-A985-6F9B74D7B4DE}"/>
                </a:ext>
              </a:extLst>
            </p:cNvPr>
            <p:cNvSpPr>
              <a:spLocks/>
            </p:cNvSpPr>
            <p:nvPr userDrawn="1"/>
          </p:nvSpPr>
          <p:spPr bwMode="auto">
            <a:xfrm>
              <a:off x="457200" y="431800"/>
              <a:ext cx="3721100" cy="4394200"/>
            </a:xfrm>
            <a:custGeom>
              <a:avLst/>
              <a:gdLst>
                <a:gd name="T0" fmla="*/ 0 w 2344"/>
                <a:gd name="T1" fmla="*/ 414 h 2768"/>
                <a:gd name="T2" fmla="*/ 0 w 2344"/>
                <a:gd name="T3" fmla="*/ 2583 h 2768"/>
                <a:gd name="T4" fmla="*/ 92 w 2344"/>
                <a:gd name="T5" fmla="*/ 2583 h 2768"/>
                <a:gd name="T6" fmla="*/ 92 w 2344"/>
                <a:gd name="T7" fmla="*/ 491 h 2768"/>
                <a:gd name="T8" fmla="*/ 2252 w 2344"/>
                <a:gd name="T9" fmla="*/ 110 h 2768"/>
                <a:gd name="T10" fmla="*/ 2252 w 2344"/>
                <a:gd name="T11" fmla="*/ 2676 h 2768"/>
                <a:gd name="T12" fmla="*/ 554 w 2344"/>
                <a:gd name="T13" fmla="*/ 2676 h 2768"/>
                <a:gd name="T14" fmla="*/ 554 w 2344"/>
                <a:gd name="T15" fmla="*/ 2768 h 2768"/>
                <a:gd name="T16" fmla="*/ 2344 w 2344"/>
                <a:gd name="T17" fmla="*/ 2768 h 2768"/>
                <a:gd name="T18" fmla="*/ 2344 w 2344"/>
                <a:gd name="T19" fmla="*/ 0 h 2768"/>
                <a:gd name="T20" fmla="*/ 0 w 2344"/>
                <a:gd name="T21" fmla="*/ 414 h 2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44" h="2768">
                  <a:moveTo>
                    <a:pt x="0" y="414"/>
                  </a:moveTo>
                  <a:lnTo>
                    <a:pt x="0" y="2583"/>
                  </a:lnTo>
                  <a:lnTo>
                    <a:pt x="92" y="2583"/>
                  </a:lnTo>
                  <a:lnTo>
                    <a:pt x="92" y="491"/>
                  </a:lnTo>
                  <a:lnTo>
                    <a:pt x="2252" y="110"/>
                  </a:lnTo>
                  <a:lnTo>
                    <a:pt x="2252" y="2676"/>
                  </a:lnTo>
                  <a:lnTo>
                    <a:pt x="554" y="2676"/>
                  </a:lnTo>
                  <a:lnTo>
                    <a:pt x="554" y="2768"/>
                  </a:lnTo>
                  <a:lnTo>
                    <a:pt x="2344" y="2768"/>
                  </a:lnTo>
                  <a:lnTo>
                    <a:pt x="2344" y="0"/>
                  </a:lnTo>
                  <a:lnTo>
                    <a:pt x="0" y="414"/>
                  </a:lnTo>
                  <a:close/>
                </a:path>
              </a:pathLst>
            </a:custGeom>
            <a:solidFill>
              <a:srgbClr val="FFE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516"/>
            </a:p>
          </p:txBody>
        </p:sp>
        <p:sp>
          <p:nvSpPr>
            <p:cNvPr id="225" name="Rectangle 224">
              <a:extLst>
                <a:ext uri="{FF2B5EF4-FFF2-40B4-BE49-F238E27FC236}">
                  <a16:creationId xmlns:a16="http://schemas.microsoft.com/office/drawing/2014/main" id="{C29E5AE6-A605-458B-88D1-81978C8F3DB0}"/>
                </a:ext>
              </a:extLst>
            </p:cNvPr>
            <p:cNvSpPr>
              <a:spLocks noChangeArrowheads="1"/>
            </p:cNvSpPr>
            <p:nvPr userDrawn="1"/>
          </p:nvSpPr>
          <p:spPr bwMode="auto">
            <a:xfrm>
              <a:off x="457200" y="4679950"/>
              <a:ext cx="146050" cy="146050"/>
            </a:xfrm>
            <a:prstGeom prst="rect">
              <a:avLst/>
            </a:prstGeom>
            <a:solidFill>
              <a:srgbClr val="FFE6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516"/>
            </a:p>
          </p:txBody>
        </p:sp>
        <p:sp>
          <p:nvSpPr>
            <p:cNvPr id="226" name="Rectangle 225">
              <a:extLst>
                <a:ext uri="{FF2B5EF4-FFF2-40B4-BE49-F238E27FC236}">
                  <a16:creationId xmlns:a16="http://schemas.microsoft.com/office/drawing/2014/main" id="{32631ED7-ED97-416B-9349-2793B509F136}"/>
                </a:ext>
              </a:extLst>
            </p:cNvPr>
            <p:cNvSpPr>
              <a:spLocks noChangeArrowheads="1"/>
            </p:cNvSpPr>
            <p:nvPr userDrawn="1"/>
          </p:nvSpPr>
          <p:spPr bwMode="auto">
            <a:xfrm>
              <a:off x="750888" y="4679950"/>
              <a:ext cx="146050" cy="146050"/>
            </a:xfrm>
            <a:prstGeom prst="rect">
              <a:avLst/>
            </a:prstGeom>
            <a:solidFill>
              <a:srgbClr val="FFE6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516"/>
            </a:p>
          </p:txBody>
        </p:sp>
        <p:sp>
          <p:nvSpPr>
            <p:cNvPr id="227" name="Rectangle 226">
              <a:extLst>
                <a:ext uri="{FF2B5EF4-FFF2-40B4-BE49-F238E27FC236}">
                  <a16:creationId xmlns:a16="http://schemas.microsoft.com/office/drawing/2014/main" id="{55CD08DF-6EFB-4098-B3F2-661C1BF2F45A}"/>
                </a:ext>
              </a:extLst>
            </p:cNvPr>
            <p:cNvSpPr>
              <a:spLocks noChangeArrowheads="1"/>
            </p:cNvSpPr>
            <p:nvPr userDrawn="1"/>
          </p:nvSpPr>
          <p:spPr bwMode="auto">
            <a:xfrm>
              <a:off x="1042988" y="4679950"/>
              <a:ext cx="149225" cy="146050"/>
            </a:xfrm>
            <a:prstGeom prst="rect">
              <a:avLst/>
            </a:prstGeom>
            <a:solidFill>
              <a:srgbClr val="FFE6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516"/>
            </a:p>
          </p:txBody>
        </p:sp>
      </p:grpSp>
    </p:spTree>
    <p:extLst>
      <p:ext uri="{BB962C8B-B14F-4D97-AF65-F5344CB8AC3E}">
        <p14:creationId xmlns:p14="http://schemas.microsoft.com/office/powerpoint/2010/main" val="3923680945"/>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_Title and Content (full-width)">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5D45307-7B8F-FE48-B988-0A98A297F6F3}"/>
              </a:ext>
            </a:extLst>
          </p:cNvPr>
          <p:cNvSpPr/>
          <p:nvPr userDrawn="1"/>
        </p:nvSpPr>
        <p:spPr>
          <a:xfrm>
            <a:off x="0" y="0"/>
            <a:ext cx="6721475" cy="7561263"/>
          </a:xfrm>
          <a:prstGeom prst="rect">
            <a:avLst/>
          </a:prstGeom>
          <a:solidFill>
            <a:srgbClr val="FFE6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a:solidFill>
                <a:schemeClr val="tx1"/>
              </a:solidFill>
            </a:endParaRPr>
          </a:p>
        </p:txBody>
      </p:sp>
    </p:spTree>
    <p:extLst>
      <p:ext uri="{BB962C8B-B14F-4D97-AF65-F5344CB8AC3E}">
        <p14:creationId xmlns:p14="http://schemas.microsoft.com/office/powerpoint/2010/main" val="3778790124"/>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userDrawn="1">
  <p:cSld name="2_Cover alternat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CCB1AFA5-EEEA-1F45-858D-10B999CD393F}"/>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a:off x="0" y="3375"/>
            <a:ext cx="13435952" cy="7557692"/>
          </a:xfrm>
          <a:prstGeom prst="rect">
            <a:avLst/>
          </a:prstGeom>
        </p:spPr>
      </p:pic>
      <p:grpSp>
        <p:nvGrpSpPr>
          <p:cNvPr id="29" name="Group 28">
            <a:extLst>
              <a:ext uri="{FF2B5EF4-FFF2-40B4-BE49-F238E27FC236}">
                <a16:creationId xmlns:a16="http://schemas.microsoft.com/office/drawing/2014/main" id="{924B2BDD-A4F7-4C65-8E10-A51EF99BEC6E}"/>
              </a:ext>
            </a:extLst>
          </p:cNvPr>
          <p:cNvGrpSpPr/>
          <p:nvPr userDrawn="1"/>
        </p:nvGrpSpPr>
        <p:grpSpPr>
          <a:xfrm>
            <a:off x="11923997" y="5933777"/>
            <a:ext cx="1128694" cy="1324603"/>
            <a:chOff x="17101804" y="1049411"/>
            <a:chExt cx="1082675" cy="1270001"/>
          </a:xfrm>
        </p:grpSpPr>
        <p:sp>
          <p:nvSpPr>
            <p:cNvPr id="30" name="Freeform 5">
              <a:extLst>
                <a:ext uri="{FF2B5EF4-FFF2-40B4-BE49-F238E27FC236}">
                  <a16:creationId xmlns:a16="http://schemas.microsoft.com/office/drawing/2014/main" id="{7FCD6FD9-99FA-4342-B4DC-CF98903FFCC1}"/>
                </a:ext>
              </a:extLst>
            </p:cNvPr>
            <p:cNvSpPr>
              <a:spLocks/>
            </p:cNvSpPr>
            <p:nvPr/>
          </p:nvSpPr>
          <p:spPr bwMode="auto">
            <a:xfrm>
              <a:off x="17101804" y="1049411"/>
              <a:ext cx="866775" cy="317500"/>
            </a:xfrm>
            <a:custGeom>
              <a:avLst/>
              <a:gdLst>
                <a:gd name="T0" fmla="*/ 2731 w 2731"/>
                <a:gd name="T1" fmla="*/ 0 h 998"/>
                <a:gd name="T2" fmla="*/ 0 w 2731"/>
                <a:gd name="T3" fmla="*/ 998 h 998"/>
                <a:gd name="T4" fmla="*/ 2731 w 2731"/>
                <a:gd name="T5" fmla="*/ 515 h 998"/>
                <a:gd name="T6" fmla="*/ 2731 w 2731"/>
                <a:gd name="T7" fmla="*/ 0 h 998"/>
                <a:gd name="T8" fmla="*/ 2731 w 2731"/>
                <a:gd name="T9" fmla="*/ 0 h 998"/>
              </a:gdLst>
              <a:ahLst/>
              <a:cxnLst>
                <a:cxn ang="0">
                  <a:pos x="T0" y="T1"/>
                </a:cxn>
                <a:cxn ang="0">
                  <a:pos x="T2" y="T3"/>
                </a:cxn>
                <a:cxn ang="0">
                  <a:pos x="T4" y="T5"/>
                </a:cxn>
                <a:cxn ang="0">
                  <a:pos x="T6" y="T7"/>
                </a:cxn>
                <a:cxn ang="0">
                  <a:pos x="T8" y="T9"/>
                </a:cxn>
              </a:cxnLst>
              <a:rect l="0" t="0" r="r" b="b"/>
              <a:pathLst>
                <a:path w="2731" h="998">
                  <a:moveTo>
                    <a:pt x="2731" y="0"/>
                  </a:moveTo>
                  <a:lnTo>
                    <a:pt x="0" y="998"/>
                  </a:lnTo>
                  <a:lnTo>
                    <a:pt x="2731" y="515"/>
                  </a:lnTo>
                  <a:lnTo>
                    <a:pt x="2731" y="0"/>
                  </a:lnTo>
                  <a:lnTo>
                    <a:pt x="2731" y="0"/>
                  </a:lnTo>
                  <a:close/>
                </a:path>
              </a:pathLst>
            </a:custGeom>
            <a:solidFill>
              <a:srgbClr val="FFE600"/>
            </a:solidFill>
            <a:ln>
              <a:noFill/>
            </a:ln>
          </p:spPr>
          <p:txBody>
            <a:bodyPr vert="horz" wrap="square" lIns="86501" tIns="43250" rIns="86501" bIns="43250" numCol="1" anchor="t" anchorCtr="0" compatLnSpc="1">
              <a:prstTxWarp prst="textNoShape">
                <a:avLst/>
              </a:prstTxWarp>
            </a:bodyPr>
            <a:lstStyle/>
            <a:p>
              <a:pPr marL="0" marR="0" lvl="0" indent="0" defTabSz="1095508" eaLnBrk="1" fontAlgn="auto" latinLnBrk="0" hangingPunct="1">
                <a:lnSpc>
                  <a:spcPct val="100000"/>
                </a:lnSpc>
                <a:spcBef>
                  <a:spcPts val="0"/>
                </a:spcBef>
                <a:spcAft>
                  <a:spcPts val="0"/>
                </a:spcAft>
                <a:buClrTx/>
                <a:buSzTx/>
                <a:buFontTx/>
                <a:buNone/>
                <a:tabLst/>
                <a:defRPr/>
              </a:pPr>
              <a:endParaRPr kumimoji="0" lang="en-US" sz="1877" b="0" i="0" u="none" strike="noStrike" kern="0" cap="none" spc="0" normalizeH="0" baseline="0" noProof="0">
                <a:ln>
                  <a:noFill/>
                </a:ln>
                <a:solidFill>
                  <a:srgbClr val="FFFFFF"/>
                </a:solidFill>
                <a:effectLst/>
                <a:uLnTx/>
                <a:uFillTx/>
                <a:latin typeface="Arial"/>
              </a:endParaRPr>
            </a:p>
          </p:txBody>
        </p:sp>
        <p:sp>
          <p:nvSpPr>
            <p:cNvPr id="31" name="Freeform 6">
              <a:extLst>
                <a:ext uri="{FF2B5EF4-FFF2-40B4-BE49-F238E27FC236}">
                  <a16:creationId xmlns:a16="http://schemas.microsoft.com/office/drawing/2014/main" id="{5F5E424A-1713-41C1-BC7E-248390C2E2BF}"/>
                </a:ext>
              </a:extLst>
            </p:cNvPr>
            <p:cNvSpPr>
              <a:spLocks noEditPoints="1"/>
            </p:cNvSpPr>
            <p:nvPr/>
          </p:nvSpPr>
          <p:spPr bwMode="auto">
            <a:xfrm>
              <a:off x="17101804" y="1498674"/>
              <a:ext cx="1082675" cy="820738"/>
            </a:xfrm>
            <a:custGeom>
              <a:avLst/>
              <a:gdLst>
                <a:gd name="T0" fmla="*/ 251 w 3410"/>
                <a:gd name="T1" fmla="*/ 1750 h 2587"/>
                <a:gd name="T2" fmla="*/ 283 w 3410"/>
                <a:gd name="T3" fmla="*/ 1962 h 2587"/>
                <a:gd name="T4" fmla="*/ 166 w 3410"/>
                <a:gd name="T5" fmla="*/ 1850 h 2587"/>
                <a:gd name="T6" fmla="*/ 388 w 3410"/>
                <a:gd name="T7" fmla="*/ 1948 h 2587"/>
                <a:gd name="T8" fmla="*/ 445 w 3410"/>
                <a:gd name="T9" fmla="*/ 2060 h 2587"/>
                <a:gd name="T10" fmla="*/ 1272 w 3410"/>
                <a:gd name="T11" fmla="*/ 1817 h 2587"/>
                <a:gd name="T12" fmla="*/ 1341 w 3410"/>
                <a:gd name="T13" fmla="*/ 1895 h 2587"/>
                <a:gd name="T14" fmla="*/ 769 w 3410"/>
                <a:gd name="T15" fmla="*/ 2057 h 2587"/>
                <a:gd name="T16" fmla="*/ 812 w 3410"/>
                <a:gd name="T17" fmla="*/ 1918 h 2587"/>
                <a:gd name="T18" fmla="*/ 962 w 3410"/>
                <a:gd name="T19" fmla="*/ 2057 h 2587"/>
                <a:gd name="T20" fmla="*/ 941 w 3410"/>
                <a:gd name="T21" fmla="*/ 1867 h 2587"/>
                <a:gd name="T22" fmla="*/ 2236 w 3410"/>
                <a:gd name="T23" fmla="*/ 2045 h 2587"/>
                <a:gd name="T24" fmla="*/ 2378 w 3410"/>
                <a:gd name="T25" fmla="*/ 1891 h 2587"/>
                <a:gd name="T26" fmla="*/ 2317 w 3410"/>
                <a:gd name="T27" fmla="*/ 1965 h 2587"/>
                <a:gd name="T28" fmla="*/ 1590 w 3410"/>
                <a:gd name="T29" fmla="*/ 1824 h 2587"/>
                <a:gd name="T30" fmla="*/ 1449 w 3410"/>
                <a:gd name="T31" fmla="*/ 1974 h 2587"/>
                <a:gd name="T32" fmla="*/ 1589 w 3410"/>
                <a:gd name="T33" fmla="*/ 2082 h 2587"/>
                <a:gd name="T34" fmla="*/ 1656 w 3410"/>
                <a:gd name="T35" fmla="*/ 2050 h 2587"/>
                <a:gd name="T36" fmla="*/ 1522 w 3410"/>
                <a:gd name="T37" fmla="*/ 1876 h 2587"/>
                <a:gd name="T38" fmla="*/ 1951 w 3410"/>
                <a:gd name="T39" fmla="*/ 1882 h 2587"/>
                <a:gd name="T40" fmla="*/ 1820 w 3410"/>
                <a:gd name="T41" fmla="*/ 2032 h 2587"/>
                <a:gd name="T42" fmla="*/ 1979 w 3410"/>
                <a:gd name="T43" fmla="*/ 1824 h 2587"/>
                <a:gd name="T44" fmla="*/ 1904 w 3410"/>
                <a:gd name="T45" fmla="*/ 1941 h 2587"/>
                <a:gd name="T46" fmla="*/ 2576 w 3410"/>
                <a:gd name="T47" fmla="*/ 1987 h 2587"/>
                <a:gd name="T48" fmla="*/ 2609 w 3410"/>
                <a:gd name="T49" fmla="*/ 1860 h 2587"/>
                <a:gd name="T50" fmla="*/ 2412 w 3410"/>
                <a:gd name="T51" fmla="*/ 1935 h 2587"/>
                <a:gd name="T52" fmla="*/ 2475 w 3410"/>
                <a:gd name="T53" fmla="*/ 1909 h 2587"/>
                <a:gd name="T54" fmla="*/ 3114 w 3410"/>
                <a:gd name="T55" fmla="*/ 2007 h 2587"/>
                <a:gd name="T56" fmla="*/ 3150 w 3410"/>
                <a:gd name="T57" fmla="*/ 1816 h 2587"/>
                <a:gd name="T58" fmla="*/ 3016 w 3410"/>
                <a:gd name="T59" fmla="*/ 2010 h 2587"/>
                <a:gd name="T60" fmla="*/ 3081 w 3410"/>
                <a:gd name="T61" fmla="*/ 1866 h 2587"/>
                <a:gd name="T62" fmla="*/ 2969 w 3410"/>
                <a:gd name="T63" fmla="*/ 1999 h 2587"/>
                <a:gd name="T64" fmla="*/ 2969 w 3410"/>
                <a:gd name="T65" fmla="*/ 1812 h 2587"/>
                <a:gd name="T66" fmla="*/ 2680 w 3410"/>
                <a:gd name="T67" fmla="*/ 1749 h 2587"/>
                <a:gd name="T68" fmla="*/ 3354 w 3410"/>
                <a:gd name="T69" fmla="*/ 1867 h 2587"/>
                <a:gd name="T70" fmla="*/ 3410 w 3410"/>
                <a:gd name="T71" fmla="*/ 1821 h 2587"/>
                <a:gd name="T72" fmla="*/ 2786 w 3410"/>
                <a:gd name="T73" fmla="*/ 2245 h 2587"/>
                <a:gd name="T74" fmla="*/ 2668 w 3410"/>
                <a:gd name="T75" fmla="*/ 2439 h 2587"/>
                <a:gd name="T76" fmla="*/ 2753 w 3410"/>
                <a:gd name="T77" fmla="*/ 2436 h 2587"/>
                <a:gd name="T78" fmla="*/ 2788 w 3410"/>
                <a:gd name="T79" fmla="*/ 2428 h 2587"/>
                <a:gd name="T80" fmla="*/ 664 w 3410"/>
                <a:gd name="T81" fmla="*/ 2256 h 2587"/>
                <a:gd name="T82" fmla="*/ 0 w 3410"/>
                <a:gd name="T83" fmla="*/ 2242 h 2587"/>
                <a:gd name="T84" fmla="*/ 377 w 3410"/>
                <a:gd name="T85" fmla="*/ 2264 h 2587"/>
                <a:gd name="T86" fmla="*/ 461 w 3410"/>
                <a:gd name="T87" fmla="*/ 2492 h 2587"/>
                <a:gd name="T88" fmla="*/ 494 w 3410"/>
                <a:gd name="T89" fmla="*/ 2245 h 2587"/>
                <a:gd name="T90" fmla="*/ 469 w 3410"/>
                <a:gd name="T91" fmla="*/ 2298 h 2587"/>
                <a:gd name="T92" fmla="*/ 2433 w 3410"/>
                <a:gd name="T93" fmla="*/ 2311 h 2587"/>
                <a:gd name="T94" fmla="*/ 2018 w 3410"/>
                <a:gd name="T95" fmla="*/ 2487 h 2587"/>
                <a:gd name="T96" fmla="*/ 2006 w 3410"/>
                <a:gd name="T97" fmla="*/ 2332 h 2587"/>
                <a:gd name="T98" fmla="*/ 2124 w 3410"/>
                <a:gd name="T99" fmla="*/ 2448 h 2587"/>
                <a:gd name="T100" fmla="*/ 2323 w 3410"/>
                <a:gd name="T101" fmla="*/ 2350 h 2587"/>
                <a:gd name="T102" fmla="*/ 2162 w 3410"/>
                <a:gd name="T103" fmla="*/ 2365 h 2587"/>
                <a:gd name="T104" fmla="*/ 2211 w 3410"/>
                <a:gd name="T105" fmla="*/ 2436 h 2587"/>
                <a:gd name="T106" fmla="*/ 1255 w 3410"/>
                <a:gd name="T107" fmla="*/ 2238 h 2587"/>
                <a:gd name="T108" fmla="*/ 1286 w 3410"/>
                <a:gd name="T109" fmla="*/ 2300 h 2587"/>
                <a:gd name="T110" fmla="*/ 1470 w 3410"/>
                <a:gd name="T111" fmla="*/ 2240 h 2587"/>
                <a:gd name="T112" fmla="*/ 1478 w 3410"/>
                <a:gd name="T113" fmla="*/ 2491 h 2587"/>
                <a:gd name="T114" fmla="*/ 1495 w 3410"/>
                <a:gd name="T115" fmla="*/ 2587 h 2587"/>
                <a:gd name="T116" fmla="*/ 1532 w 3410"/>
                <a:gd name="T117" fmla="*/ 2432 h 2587"/>
                <a:gd name="T118" fmla="*/ 1548 w 3410"/>
                <a:gd name="T119" fmla="*/ 2308 h 2587"/>
                <a:gd name="T120" fmla="*/ 439 w 3410"/>
                <a:gd name="T121" fmla="*/ 547 h 25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410" h="2587">
                  <a:moveTo>
                    <a:pt x="284" y="1950"/>
                  </a:moveTo>
                  <a:lnTo>
                    <a:pt x="284" y="1950"/>
                  </a:lnTo>
                  <a:lnTo>
                    <a:pt x="284" y="1941"/>
                  </a:lnTo>
                  <a:lnTo>
                    <a:pt x="283" y="1934"/>
                  </a:lnTo>
                  <a:lnTo>
                    <a:pt x="279" y="1920"/>
                  </a:lnTo>
                  <a:lnTo>
                    <a:pt x="273" y="1907"/>
                  </a:lnTo>
                  <a:lnTo>
                    <a:pt x="266" y="1898"/>
                  </a:lnTo>
                  <a:lnTo>
                    <a:pt x="257" y="1890"/>
                  </a:lnTo>
                  <a:lnTo>
                    <a:pt x="249" y="1884"/>
                  </a:lnTo>
                  <a:lnTo>
                    <a:pt x="241" y="1879"/>
                  </a:lnTo>
                  <a:lnTo>
                    <a:pt x="234" y="1876"/>
                  </a:lnTo>
                  <a:lnTo>
                    <a:pt x="234" y="1876"/>
                  </a:lnTo>
                  <a:lnTo>
                    <a:pt x="243" y="1869"/>
                  </a:lnTo>
                  <a:lnTo>
                    <a:pt x="250" y="1863"/>
                  </a:lnTo>
                  <a:lnTo>
                    <a:pt x="256" y="1856"/>
                  </a:lnTo>
                  <a:lnTo>
                    <a:pt x="262" y="1848"/>
                  </a:lnTo>
                  <a:lnTo>
                    <a:pt x="267" y="1839"/>
                  </a:lnTo>
                  <a:lnTo>
                    <a:pt x="269" y="1829"/>
                  </a:lnTo>
                  <a:lnTo>
                    <a:pt x="272" y="1819"/>
                  </a:lnTo>
                  <a:lnTo>
                    <a:pt x="272" y="1808"/>
                  </a:lnTo>
                  <a:lnTo>
                    <a:pt x="272" y="1808"/>
                  </a:lnTo>
                  <a:lnTo>
                    <a:pt x="272" y="1799"/>
                  </a:lnTo>
                  <a:lnTo>
                    <a:pt x="271" y="1789"/>
                  </a:lnTo>
                  <a:lnTo>
                    <a:pt x="268" y="1780"/>
                  </a:lnTo>
                  <a:lnTo>
                    <a:pt x="266" y="1772"/>
                  </a:lnTo>
                  <a:lnTo>
                    <a:pt x="262" y="1763"/>
                  </a:lnTo>
                  <a:lnTo>
                    <a:pt x="257" y="1756"/>
                  </a:lnTo>
                  <a:lnTo>
                    <a:pt x="251" y="1750"/>
                  </a:lnTo>
                  <a:lnTo>
                    <a:pt x="245" y="1744"/>
                  </a:lnTo>
                  <a:lnTo>
                    <a:pt x="238" y="1739"/>
                  </a:lnTo>
                  <a:lnTo>
                    <a:pt x="230" y="1734"/>
                  </a:lnTo>
                  <a:lnTo>
                    <a:pt x="222" y="1730"/>
                  </a:lnTo>
                  <a:lnTo>
                    <a:pt x="212" y="1727"/>
                  </a:lnTo>
                  <a:lnTo>
                    <a:pt x="202" y="1724"/>
                  </a:lnTo>
                  <a:lnTo>
                    <a:pt x="191" y="1722"/>
                  </a:lnTo>
                  <a:lnTo>
                    <a:pt x="180" y="1722"/>
                  </a:lnTo>
                  <a:lnTo>
                    <a:pt x="168" y="1721"/>
                  </a:lnTo>
                  <a:lnTo>
                    <a:pt x="24" y="1721"/>
                  </a:lnTo>
                  <a:lnTo>
                    <a:pt x="24" y="2057"/>
                  </a:lnTo>
                  <a:lnTo>
                    <a:pt x="167" y="2057"/>
                  </a:lnTo>
                  <a:lnTo>
                    <a:pt x="167" y="2057"/>
                  </a:lnTo>
                  <a:lnTo>
                    <a:pt x="180" y="2057"/>
                  </a:lnTo>
                  <a:lnTo>
                    <a:pt x="193" y="2056"/>
                  </a:lnTo>
                  <a:lnTo>
                    <a:pt x="205" y="2054"/>
                  </a:lnTo>
                  <a:lnTo>
                    <a:pt x="216" y="2050"/>
                  </a:lnTo>
                  <a:lnTo>
                    <a:pt x="227" y="2046"/>
                  </a:lnTo>
                  <a:lnTo>
                    <a:pt x="236" y="2042"/>
                  </a:lnTo>
                  <a:lnTo>
                    <a:pt x="245" y="2035"/>
                  </a:lnTo>
                  <a:lnTo>
                    <a:pt x="252" y="2029"/>
                  </a:lnTo>
                  <a:lnTo>
                    <a:pt x="260" y="2022"/>
                  </a:lnTo>
                  <a:lnTo>
                    <a:pt x="266" y="2013"/>
                  </a:lnTo>
                  <a:lnTo>
                    <a:pt x="272" y="2005"/>
                  </a:lnTo>
                  <a:lnTo>
                    <a:pt x="275" y="1995"/>
                  </a:lnTo>
                  <a:lnTo>
                    <a:pt x="279" y="1985"/>
                  </a:lnTo>
                  <a:lnTo>
                    <a:pt x="282" y="1974"/>
                  </a:lnTo>
                  <a:lnTo>
                    <a:pt x="283" y="1962"/>
                  </a:lnTo>
                  <a:lnTo>
                    <a:pt x="284" y="1950"/>
                  </a:lnTo>
                  <a:lnTo>
                    <a:pt x="284" y="1950"/>
                  </a:lnTo>
                  <a:lnTo>
                    <a:pt x="284" y="1950"/>
                  </a:lnTo>
                  <a:close/>
                  <a:moveTo>
                    <a:pt x="167" y="2001"/>
                  </a:moveTo>
                  <a:lnTo>
                    <a:pt x="87" y="2001"/>
                  </a:lnTo>
                  <a:lnTo>
                    <a:pt x="87" y="1905"/>
                  </a:lnTo>
                  <a:lnTo>
                    <a:pt x="167" y="1905"/>
                  </a:lnTo>
                  <a:lnTo>
                    <a:pt x="167" y="1905"/>
                  </a:lnTo>
                  <a:lnTo>
                    <a:pt x="179" y="1906"/>
                  </a:lnTo>
                  <a:lnTo>
                    <a:pt x="189" y="1907"/>
                  </a:lnTo>
                  <a:lnTo>
                    <a:pt x="197" y="1911"/>
                  </a:lnTo>
                  <a:lnTo>
                    <a:pt x="205" y="1917"/>
                  </a:lnTo>
                  <a:lnTo>
                    <a:pt x="211" y="1923"/>
                  </a:lnTo>
                  <a:lnTo>
                    <a:pt x="214" y="1932"/>
                  </a:lnTo>
                  <a:lnTo>
                    <a:pt x="217" y="1941"/>
                  </a:lnTo>
                  <a:lnTo>
                    <a:pt x="218" y="1952"/>
                  </a:lnTo>
                  <a:lnTo>
                    <a:pt x="218" y="1952"/>
                  </a:lnTo>
                  <a:lnTo>
                    <a:pt x="217" y="1963"/>
                  </a:lnTo>
                  <a:lnTo>
                    <a:pt x="214" y="1973"/>
                  </a:lnTo>
                  <a:lnTo>
                    <a:pt x="210" y="1982"/>
                  </a:lnTo>
                  <a:lnTo>
                    <a:pt x="205" y="1988"/>
                  </a:lnTo>
                  <a:lnTo>
                    <a:pt x="197" y="1994"/>
                  </a:lnTo>
                  <a:lnTo>
                    <a:pt x="189" y="1998"/>
                  </a:lnTo>
                  <a:lnTo>
                    <a:pt x="178" y="2000"/>
                  </a:lnTo>
                  <a:lnTo>
                    <a:pt x="167" y="2001"/>
                  </a:lnTo>
                  <a:lnTo>
                    <a:pt x="167" y="2001"/>
                  </a:lnTo>
                  <a:lnTo>
                    <a:pt x="167" y="2001"/>
                  </a:lnTo>
                  <a:close/>
                  <a:moveTo>
                    <a:pt x="166" y="1850"/>
                  </a:moveTo>
                  <a:lnTo>
                    <a:pt x="87" y="1850"/>
                  </a:lnTo>
                  <a:lnTo>
                    <a:pt x="87" y="1778"/>
                  </a:lnTo>
                  <a:lnTo>
                    <a:pt x="163" y="1778"/>
                  </a:lnTo>
                  <a:lnTo>
                    <a:pt x="163" y="1778"/>
                  </a:lnTo>
                  <a:lnTo>
                    <a:pt x="173" y="1779"/>
                  </a:lnTo>
                  <a:lnTo>
                    <a:pt x="183" y="1780"/>
                  </a:lnTo>
                  <a:lnTo>
                    <a:pt x="190" y="1783"/>
                  </a:lnTo>
                  <a:lnTo>
                    <a:pt x="196" y="1787"/>
                  </a:lnTo>
                  <a:lnTo>
                    <a:pt x="201" y="1793"/>
                  </a:lnTo>
                  <a:lnTo>
                    <a:pt x="205" y="1799"/>
                  </a:lnTo>
                  <a:lnTo>
                    <a:pt x="206" y="1806"/>
                  </a:lnTo>
                  <a:lnTo>
                    <a:pt x="207" y="1815"/>
                  </a:lnTo>
                  <a:lnTo>
                    <a:pt x="207" y="1815"/>
                  </a:lnTo>
                  <a:lnTo>
                    <a:pt x="207" y="1821"/>
                  </a:lnTo>
                  <a:lnTo>
                    <a:pt x="206" y="1827"/>
                  </a:lnTo>
                  <a:lnTo>
                    <a:pt x="204" y="1833"/>
                  </a:lnTo>
                  <a:lnTo>
                    <a:pt x="200" y="1838"/>
                  </a:lnTo>
                  <a:lnTo>
                    <a:pt x="194" y="1843"/>
                  </a:lnTo>
                  <a:lnTo>
                    <a:pt x="186" y="1846"/>
                  </a:lnTo>
                  <a:lnTo>
                    <a:pt x="178" y="1849"/>
                  </a:lnTo>
                  <a:lnTo>
                    <a:pt x="166" y="1850"/>
                  </a:lnTo>
                  <a:lnTo>
                    <a:pt x="166" y="1850"/>
                  </a:lnTo>
                  <a:lnTo>
                    <a:pt x="166" y="1850"/>
                  </a:lnTo>
                  <a:close/>
                  <a:moveTo>
                    <a:pt x="327" y="1951"/>
                  </a:moveTo>
                  <a:lnTo>
                    <a:pt x="327" y="1812"/>
                  </a:lnTo>
                  <a:lnTo>
                    <a:pt x="388" y="1812"/>
                  </a:lnTo>
                  <a:lnTo>
                    <a:pt x="388" y="1948"/>
                  </a:lnTo>
                  <a:lnTo>
                    <a:pt x="388" y="1948"/>
                  </a:lnTo>
                  <a:lnTo>
                    <a:pt x="388" y="1961"/>
                  </a:lnTo>
                  <a:lnTo>
                    <a:pt x="390" y="1974"/>
                  </a:lnTo>
                  <a:lnTo>
                    <a:pt x="394" y="1984"/>
                  </a:lnTo>
                  <a:lnTo>
                    <a:pt x="399" y="1993"/>
                  </a:lnTo>
                  <a:lnTo>
                    <a:pt x="405" y="1999"/>
                  </a:lnTo>
                  <a:lnTo>
                    <a:pt x="412" y="2004"/>
                  </a:lnTo>
                  <a:lnTo>
                    <a:pt x="422" y="2006"/>
                  </a:lnTo>
                  <a:lnTo>
                    <a:pt x="433" y="2007"/>
                  </a:lnTo>
                  <a:lnTo>
                    <a:pt x="433" y="2007"/>
                  </a:lnTo>
                  <a:lnTo>
                    <a:pt x="444" y="2006"/>
                  </a:lnTo>
                  <a:lnTo>
                    <a:pt x="452" y="2004"/>
                  </a:lnTo>
                  <a:lnTo>
                    <a:pt x="461" y="1999"/>
                  </a:lnTo>
                  <a:lnTo>
                    <a:pt x="467" y="1993"/>
                  </a:lnTo>
                  <a:lnTo>
                    <a:pt x="472" y="1984"/>
                  </a:lnTo>
                  <a:lnTo>
                    <a:pt x="475" y="1973"/>
                  </a:lnTo>
                  <a:lnTo>
                    <a:pt x="478" y="1961"/>
                  </a:lnTo>
                  <a:lnTo>
                    <a:pt x="478" y="1948"/>
                  </a:lnTo>
                  <a:lnTo>
                    <a:pt x="478" y="1812"/>
                  </a:lnTo>
                  <a:lnTo>
                    <a:pt x="539" y="1812"/>
                  </a:lnTo>
                  <a:lnTo>
                    <a:pt x="539" y="2057"/>
                  </a:lnTo>
                  <a:lnTo>
                    <a:pt x="478" y="2057"/>
                  </a:lnTo>
                  <a:lnTo>
                    <a:pt x="478" y="2038"/>
                  </a:lnTo>
                  <a:lnTo>
                    <a:pt x="478" y="2038"/>
                  </a:lnTo>
                  <a:lnTo>
                    <a:pt x="473" y="2044"/>
                  </a:lnTo>
                  <a:lnTo>
                    <a:pt x="466" y="2049"/>
                  </a:lnTo>
                  <a:lnTo>
                    <a:pt x="459" y="2054"/>
                  </a:lnTo>
                  <a:lnTo>
                    <a:pt x="452" y="2056"/>
                  </a:lnTo>
                  <a:lnTo>
                    <a:pt x="445" y="2060"/>
                  </a:lnTo>
                  <a:lnTo>
                    <a:pt x="436" y="2061"/>
                  </a:lnTo>
                  <a:lnTo>
                    <a:pt x="428" y="2062"/>
                  </a:lnTo>
                  <a:lnTo>
                    <a:pt x="419" y="2064"/>
                  </a:lnTo>
                  <a:lnTo>
                    <a:pt x="419" y="2064"/>
                  </a:lnTo>
                  <a:lnTo>
                    <a:pt x="405" y="2062"/>
                  </a:lnTo>
                  <a:lnTo>
                    <a:pt x="392" y="2060"/>
                  </a:lnTo>
                  <a:lnTo>
                    <a:pt x="381" y="2056"/>
                  </a:lnTo>
                  <a:lnTo>
                    <a:pt x="370" y="2051"/>
                  </a:lnTo>
                  <a:lnTo>
                    <a:pt x="362" y="2045"/>
                  </a:lnTo>
                  <a:lnTo>
                    <a:pt x="355" y="2039"/>
                  </a:lnTo>
                  <a:lnTo>
                    <a:pt x="349" y="2031"/>
                  </a:lnTo>
                  <a:lnTo>
                    <a:pt x="342" y="2022"/>
                  </a:lnTo>
                  <a:lnTo>
                    <a:pt x="339" y="2013"/>
                  </a:lnTo>
                  <a:lnTo>
                    <a:pt x="335" y="2005"/>
                  </a:lnTo>
                  <a:lnTo>
                    <a:pt x="330" y="1985"/>
                  </a:lnTo>
                  <a:lnTo>
                    <a:pt x="328" y="1967"/>
                  </a:lnTo>
                  <a:lnTo>
                    <a:pt x="327" y="1951"/>
                  </a:lnTo>
                  <a:lnTo>
                    <a:pt x="327" y="1951"/>
                  </a:lnTo>
                  <a:lnTo>
                    <a:pt x="327" y="1951"/>
                  </a:lnTo>
                  <a:close/>
                  <a:moveTo>
                    <a:pt x="1253" y="2057"/>
                  </a:moveTo>
                  <a:lnTo>
                    <a:pt x="1192" y="2057"/>
                  </a:lnTo>
                  <a:lnTo>
                    <a:pt x="1192" y="1812"/>
                  </a:lnTo>
                  <a:lnTo>
                    <a:pt x="1253" y="1812"/>
                  </a:lnTo>
                  <a:lnTo>
                    <a:pt x="1253" y="1833"/>
                  </a:lnTo>
                  <a:lnTo>
                    <a:pt x="1253" y="1833"/>
                  </a:lnTo>
                  <a:lnTo>
                    <a:pt x="1259" y="1827"/>
                  </a:lnTo>
                  <a:lnTo>
                    <a:pt x="1265" y="1821"/>
                  </a:lnTo>
                  <a:lnTo>
                    <a:pt x="1272" y="1817"/>
                  </a:lnTo>
                  <a:lnTo>
                    <a:pt x="1280" y="1813"/>
                  </a:lnTo>
                  <a:lnTo>
                    <a:pt x="1288" y="1810"/>
                  </a:lnTo>
                  <a:lnTo>
                    <a:pt x="1296" y="1808"/>
                  </a:lnTo>
                  <a:lnTo>
                    <a:pt x="1305" y="1807"/>
                  </a:lnTo>
                  <a:lnTo>
                    <a:pt x="1314" y="1806"/>
                  </a:lnTo>
                  <a:lnTo>
                    <a:pt x="1314" y="1806"/>
                  </a:lnTo>
                  <a:lnTo>
                    <a:pt x="1325" y="1807"/>
                  </a:lnTo>
                  <a:lnTo>
                    <a:pt x="1335" y="1808"/>
                  </a:lnTo>
                  <a:lnTo>
                    <a:pt x="1344" y="1811"/>
                  </a:lnTo>
                  <a:lnTo>
                    <a:pt x="1353" y="1813"/>
                  </a:lnTo>
                  <a:lnTo>
                    <a:pt x="1361" y="1817"/>
                  </a:lnTo>
                  <a:lnTo>
                    <a:pt x="1369" y="1823"/>
                  </a:lnTo>
                  <a:lnTo>
                    <a:pt x="1375" y="1828"/>
                  </a:lnTo>
                  <a:lnTo>
                    <a:pt x="1381" y="1835"/>
                  </a:lnTo>
                  <a:lnTo>
                    <a:pt x="1387" y="1843"/>
                  </a:lnTo>
                  <a:lnTo>
                    <a:pt x="1391" y="1851"/>
                  </a:lnTo>
                  <a:lnTo>
                    <a:pt x="1395" y="1860"/>
                  </a:lnTo>
                  <a:lnTo>
                    <a:pt x="1398" y="1869"/>
                  </a:lnTo>
                  <a:lnTo>
                    <a:pt x="1400" y="1880"/>
                  </a:lnTo>
                  <a:lnTo>
                    <a:pt x="1403" y="1893"/>
                  </a:lnTo>
                  <a:lnTo>
                    <a:pt x="1404" y="1905"/>
                  </a:lnTo>
                  <a:lnTo>
                    <a:pt x="1404" y="1918"/>
                  </a:lnTo>
                  <a:lnTo>
                    <a:pt x="1404" y="2057"/>
                  </a:lnTo>
                  <a:lnTo>
                    <a:pt x="1343" y="2057"/>
                  </a:lnTo>
                  <a:lnTo>
                    <a:pt x="1343" y="1922"/>
                  </a:lnTo>
                  <a:lnTo>
                    <a:pt x="1343" y="1922"/>
                  </a:lnTo>
                  <a:lnTo>
                    <a:pt x="1343" y="1907"/>
                  </a:lnTo>
                  <a:lnTo>
                    <a:pt x="1341" y="1895"/>
                  </a:lnTo>
                  <a:lnTo>
                    <a:pt x="1337" y="1885"/>
                  </a:lnTo>
                  <a:lnTo>
                    <a:pt x="1332" y="1877"/>
                  </a:lnTo>
                  <a:lnTo>
                    <a:pt x="1326" y="1871"/>
                  </a:lnTo>
                  <a:lnTo>
                    <a:pt x="1319" y="1866"/>
                  </a:lnTo>
                  <a:lnTo>
                    <a:pt x="1310" y="1863"/>
                  </a:lnTo>
                  <a:lnTo>
                    <a:pt x="1299" y="1862"/>
                  </a:lnTo>
                  <a:lnTo>
                    <a:pt x="1299" y="1862"/>
                  </a:lnTo>
                  <a:lnTo>
                    <a:pt x="1288" y="1863"/>
                  </a:lnTo>
                  <a:lnTo>
                    <a:pt x="1278" y="1866"/>
                  </a:lnTo>
                  <a:lnTo>
                    <a:pt x="1271" y="1871"/>
                  </a:lnTo>
                  <a:lnTo>
                    <a:pt x="1265" y="1877"/>
                  </a:lnTo>
                  <a:lnTo>
                    <a:pt x="1259" y="1885"/>
                  </a:lnTo>
                  <a:lnTo>
                    <a:pt x="1255" y="1896"/>
                  </a:lnTo>
                  <a:lnTo>
                    <a:pt x="1253" y="1909"/>
                  </a:lnTo>
                  <a:lnTo>
                    <a:pt x="1253" y="1922"/>
                  </a:lnTo>
                  <a:lnTo>
                    <a:pt x="1253" y="2057"/>
                  </a:lnTo>
                  <a:lnTo>
                    <a:pt x="1253" y="2057"/>
                  </a:lnTo>
                  <a:close/>
                  <a:moveTo>
                    <a:pt x="654" y="1927"/>
                  </a:moveTo>
                  <a:lnTo>
                    <a:pt x="654" y="2057"/>
                  </a:lnTo>
                  <a:lnTo>
                    <a:pt x="594" y="2057"/>
                  </a:lnTo>
                  <a:lnTo>
                    <a:pt x="594" y="1812"/>
                  </a:lnTo>
                  <a:lnTo>
                    <a:pt x="654" y="1812"/>
                  </a:lnTo>
                  <a:lnTo>
                    <a:pt x="654" y="1927"/>
                  </a:lnTo>
                  <a:lnTo>
                    <a:pt x="654" y="1927"/>
                  </a:lnTo>
                  <a:close/>
                  <a:moveTo>
                    <a:pt x="708" y="1740"/>
                  </a:moveTo>
                  <a:lnTo>
                    <a:pt x="769" y="1710"/>
                  </a:lnTo>
                  <a:lnTo>
                    <a:pt x="769" y="1932"/>
                  </a:lnTo>
                  <a:lnTo>
                    <a:pt x="769" y="2057"/>
                  </a:lnTo>
                  <a:lnTo>
                    <a:pt x="708" y="2057"/>
                  </a:lnTo>
                  <a:lnTo>
                    <a:pt x="708" y="1740"/>
                  </a:lnTo>
                  <a:lnTo>
                    <a:pt x="708" y="1740"/>
                  </a:lnTo>
                  <a:close/>
                  <a:moveTo>
                    <a:pt x="962" y="1829"/>
                  </a:moveTo>
                  <a:lnTo>
                    <a:pt x="962" y="1829"/>
                  </a:lnTo>
                  <a:lnTo>
                    <a:pt x="957" y="1823"/>
                  </a:lnTo>
                  <a:lnTo>
                    <a:pt x="951" y="1819"/>
                  </a:lnTo>
                  <a:lnTo>
                    <a:pt x="943" y="1815"/>
                  </a:lnTo>
                  <a:lnTo>
                    <a:pt x="937" y="1812"/>
                  </a:lnTo>
                  <a:lnTo>
                    <a:pt x="930" y="1810"/>
                  </a:lnTo>
                  <a:lnTo>
                    <a:pt x="923" y="1807"/>
                  </a:lnTo>
                  <a:lnTo>
                    <a:pt x="908" y="1806"/>
                  </a:lnTo>
                  <a:lnTo>
                    <a:pt x="908" y="1806"/>
                  </a:lnTo>
                  <a:lnTo>
                    <a:pt x="897" y="1807"/>
                  </a:lnTo>
                  <a:lnTo>
                    <a:pt x="886" y="1808"/>
                  </a:lnTo>
                  <a:lnTo>
                    <a:pt x="876" y="1811"/>
                  </a:lnTo>
                  <a:lnTo>
                    <a:pt x="868" y="1815"/>
                  </a:lnTo>
                  <a:lnTo>
                    <a:pt x="859" y="1819"/>
                  </a:lnTo>
                  <a:lnTo>
                    <a:pt x="851" y="1826"/>
                  </a:lnTo>
                  <a:lnTo>
                    <a:pt x="843" y="1833"/>
                  </a:lnTo>
                  <a:lnTo>
                    <a:pt x="837" y="1840"/>
                  </a:lnTo>
                  <a:lnTo>
                    <a:pt x="831" y="1849"/>
                  </a:lnTo>
                  <a:lnTo>
                    <a:pt x="826" y="1859"/>
                  </a:lnTo>
                  <a:lnTo>
                    <a:pt x="821" y="1868"/>
                  </a:lnTo>
                  <a:lnTo>
                    <a:pt x="818" y="1879"/>
                  </a:lnTo>
                  <a:lnTo>
                    <a:pt x="815" y="1891"/>
                  </a:lnTo>
                  <a:lnTo>
                    <a:pt x="813" y="1905"/>
                  </a:lnTo>
                  <a:lnTo>
                    <a:pt x="812" y="1918"/>
                  </a:lnTo>
                  <a:lnTo>
                    <a:pt x="812" y="1932"/>
                  </a:lnTo>
                  <a:lnTo>
                    <a:pt x="812" y="1932"/>
                  </a:lnTo>
                  <a:lnTo>
                    <a:pt x="812" y="1948"/>
                  </a:lnTo>
                  <a:lnTo>
                    <a:pt x="813" y="1961"/>
                  </a:lnTo>
                  <a:lnTo>
                    <a:pt x="815" y="1974"/>
                  </a:lnTo>
                  <a:lnTo>
                    <a:pt x="818" y="1987"/>
                  </a:lnTo>
                  <a:lnTo>
                    <a:pt x="821" y="1999"/>
                  </a:lnTo>
                  <a:lnTo>
                    <a:pt x="825" y="2010"/>
                  </a:lnTo>
                  <a:lnTo>
                    <a:pt x="830" y="2020"/>
                  </a:lnTo>
                  <a:lnTo>
                    <a:pt x="836" y="2028"/>
                  </a:lnTo>
                  <a:lnTo>
                    <a:pt x="843" y="2037"/>
                  </a:lnTo>
                  <a:lnTo>
                    <a:pt x="849" y="2043"/>
                  </a:lnTo>
                  <a:lnTo>
                    <a:pt x="858" y="2049"/>
                  </a:lnTo>
                  <a:lnTo>
                    <a:pt x="867" y="2054"/>
                  </a:lnTo>
                  <a:lnTo>
                    <a:pt x="875" y="2057"/>
                  </a:lnTo>
                  <a:lnTo>
                    <a:pt x="885" y="2061"/>
                  </a:lnTo>
                  <a:lnTo>
                    <a:pt x="896" y="2062"/>
                  </a:lnTo>
                  <a:lnTo>
                    <a:pt x="907" y="2064"/>
                  </a:lnTo>
                  <a:lnTo>
                    <a:pt x="907" y="2064"/>
                  </a:lnTo>
                  <a:lnTo>
                    <a:pt x="914" y="2062"/>
                  </a:lnTo>
                  <a:lnTo>
                    <a:pt x="921" y="2061"/>
                  </a:lnTo>
                  <a:lnTo>
                    <a:pt x="929" y="2060"/>
                  </a:lnTo>
                  <a:lnTo>
                    <a:pt x="936" y="2057"/>
                  </a:lnTo>
                  <a:lnTo>
                    <a:pt x="942" y="2054"/>
                  </a:lnTo>
                  <a:lnTo>
                    <a:pt x="949" y="2050"/>
                  </a:lnTo>
                  <a:lnTo>
                    <a:pt x="955" y="2045"/>
                  </a:lnTo>
                  <a:lnTo>
                    <a:pt x="962" y="2039"/>
                  </a:lnTo>
                  <a:lnTo>
                    <a:pt x="962" y="2057"/>
                  </a:lnTo>
                  <a:lnTo>
                    <a:pt x="1023" y="2057"/>
                  </a:lnTo>
                  <a:lnTo>
                    <a:pt x="1023" y="1710"/>
                  </a:lnTo>
                  <a:lnTo>
                    <a:pt x="962" y="1740"/>
                  </a:lnTo>
                  <a:lnTo>
                    <a:pt x="962" y="1829"/>
                  </a:lnTo>
                  <a:lnTo>
                    <a:pt x="962" y="1829"/>
                  </a:lnTo>
                  <a:close/>
                  <a:moveTo>
                    <a:pt x="919" y="2007"/>
                  </a:moveTo>
                  <a:lnTo>
                    <a:pt x="919" y="2007"/>
                  </a:lnTo>
                  <a:lnTo>
                    <a:pt x="912" y="2006"/>
                  </a:lnTo>
                  <a:lnTo>
                    <a:pt x="903" y="2004"/>
                  </a:lnTo>
                  <a:lnTo>
                    <a:pt x="896" y="2000"/>
                  </a:lnTo>
                  <a:lnTo>
                    <a:pt x="888" y="1993"/>
                  </a:lnTo>
                  <a:lnTo>
                    <a:pt x="882" y="1983"/>
                  </a:lnTo>
                  <a:lnTo>
                    <a:pt x="877" y="1970"/>
                  </a:lnTo>
                  <a:lnTo>
                    <a:pt x="874" y="1952"/>
                  </a:lnTo>
                  <a:lnTo>
                    <a:pt x="873" y="1931"/>
                  </a:lnTo>
                  <a:lnTo>
                    <a:pt x="873" y="1931"/>
                  </a:lnTo>
                  <a:lnTo>
                    <a:pt x="874" y="1911"/>
                  </a:lnTo>
                  <a:lnTo>
                    <a:pt x="877" y="1896"/>
                  </a:lnTo>
                  <a:lnTo>
                    <a:pt x="882" y="1884"/>
                  </a:lnTo>
                  <a:lnTo>
                    <a:pt x="888" y="1876"/>
                  </a:lnTo>
                  <a:lnTo>
                    <a:pt x="895" y="1868"/>
                  </a:lnTo>
                  <a:lnTo>
                    <a:pt x="903" y="1865"/>
                  </a:lnTo>
                  <a:lnTo>
                    <a:pt x="910" y="1862"/>
                  </a:lnTo>
                  <a:lnTo>
                    <a:pt x="919" y="1862"/>
                  </a:lnTo>
                  <a:lnTo>
                    <a:pt x="919" y="1862"/>
                  </a:lnTo>
                  <a:lnTo>
                    <a:pt x="926" y="1862"/>
                  </a:lnTo>
                  <a:lnTo>
                    <a:pt x="934" y="1865"/>
                  </a:lnTo>
                  <a:lnTo>
                    <a:pt x="941" y="1867"/>
                  </a:lnTo>
                  <a:lnTo>
                    <a:pt x="946" y="1871"/>
                  </a:lnTo>
                  <a:lnTo>
                    <a:pt x="951" y="1874"/>
                  </a:lnTo>
                  <a:lnTo>
                    <a:pt x="955" y="1878"/>
                  </a:lnTo>
                  <a:lnTo>
                    <a:pt x="962" y="1887"/>
                  </a:lnTo>
                  <a:lnTo>
                    <a:pt x="962" y="1983"/>
                  </a:lnTo>
                  <a:lnTo>
                    <a:pt x="962" y="1983"/>
                  </a:lnTo>
                  <a:lnTo>
                    <a:pt x="954" y="1992"/>
                  </a:lnTo>
                  <a:lnTo>
                    <a:pt x="946" y="1999"/>
                  </a:lnTo>
                  <a:lnTo>
                    <a:pt x="941" y="2002"/>
                  </a:lnTo>
                  <a:lnTo>
                    <a:pt x="934" y="2005"/>
                  </a:lnTo>
                  <a:lnTo>
                    <a:pt x="927" y="2006"/>
                  </a:lnTo>
                  <a:lnTo>
                    <a:pt x="919" y="2007"/>
                  </a:lnTo>
                  <a:lnTo>
                    <a:pt x="919" y="2007"/>
                  </a:lnTo>
                  <a:lnTo>
                    <a:pt x="919" y="2007"/>
                  </a:lnTo>
                  <a:close/>
                  <a:moveTo>
                    <a:pt x="2285" y="1806"/>
                  </a:moveTo>
                  <a:lnTo>
                    <a:pt x="2285" y="1806"/>
                  </a:lnTo>
                  <a:lnTo>
                    <a:pt x="2279" y="1807"/>
                  </a:lnTo>
                  <a:lnTo>
                    <a:pt x="2272" y="1808"/>
                  </a:lnTo>
                  <a:lnTo>
                    <a:pt x="2257" y="1812"/>
                  </a:lnTo>
                  <a:lnTo>
                    <a:pt x="2244" y="1819"/>
                  </a:lnTo>
                  <a:lnTo>
                    <a:pt x="2231" y="1829"/>
                  </a:lnTo>
                  <a:lnTo>
                    <a:pt x="2231" y="1716"/>
                  </a:lnTo>
                  <a:lnTo>
                    <a:pt x="2171" y="1746"/>
                  </a:lnTo>
                  <a:lnTo>
                    <a:pt x="2171" y="2057"/>
                  </a:lnTo>
                  <a:lnTo>
                    <a:pt x="2231" y="2057"/>
                  </a:lnTo>
                  <a:lnTo>
                    <a:pt x="2231" y="2039"/>
                  </a:lnTo>
                  <a:lnTo>
                    <a:pt x="2231" y="2039"/>
                  </a:lnTo>
                  <a:lnTo>
                    <a:pt x="2236" y="2045"/>
                  </a:lnTo>
                  <a:lnTo>
                    <a:pt x="2244" y="2050"/>
                  </a:lnTo>
                  <a:lnTo>
                    <a:pt x="2250" y="2054"/>
                  </a:lnTo>
                  <a:lnTo>
                    <a:pt x="2257" y="2057"/>
                  </a:lnTo>
                  <a:lnTo>
                    <a:pt x="2263" y="2060"/>
                  </a:lnTo>
                  <a:lnTo>
                    <a:pt x="2272" y="2061"/>
                  </a:lnTo>
                  <a:lnTo>
                    <a:pt x="2279" y="2062"/>
                  </a:lnTo>
                  <a:lnTo>
                    <a:pt x="2286" y="2064"/>
                  </a:lnTo>
                  <a:lnTo>
                    <a:pt x="2286" y="2064"/>
                  </a:lnTo>
                  <a:lnTo>
                    <a:pt x="2297" y="2062"/>
                  </a:lnTo>
                  <a:lnTo>
                    <a:pt x="2308" y="2061"/>
                  </a:lnTo>
                  <a:lnTo>
                    <a:pt x="2318" y="2059"/>
                  </a:lnTo>
                  <a:lnTo>
                    <a:pt x="2328" y="2054"/>
                  </a:lnTo>
                  <a:lnTo>
                    <a:pt x="2336" y="2049"/>
                  </a:lnTo>
                  <a:lnTo>
                    <a:pt x="2344" y="2044"/>
                  </a:lnTo>
                  <a:lnTo>
                    <a:pt x="2351" y="2037"/>
                  </a:lnTo>
                  <a:lnTo>
                    <a:pt x="2357" y="2029"/>
                  </a:lnTo>
                  <a:lnTo>
                    <a:pt x="2363" y="2020"/>
                  </a:lnTo>
                  <a:lnTo>
                    <a:pt x="2368" y="2010"/>
                  </a:lnTo>
                  <a:lnTo>
                    <a:pt x="2372" y="1999"/>
                  </a:lnTo>
                  <a:lnTo>
                    <a:pt x="2375" y="1988"/>
                  </a:lnTo>
                  <a:lnTo>
                    <a:pt x="2379" y="1976"/>
                  </a:lnTo>
                  <a:lnTo>
                    <a:pt x="2380" y="1962"/>
                  </a:lnTo>
                  <a:lnTo>
                    <a:pt x="2381" y="1948"/>
                  </a:lnTo>
                  <a:lnTo>
                    <a:pt x="2383" y="1932"/>
                  </a:lnTo>
                  <a:lnTo>
                    <a:pt x="2383" y="1932"/>
                  </a:lnTo>
                  <a:lnTo>
                    <a:pt x="2381" y="1918"/>
                  </a:lnTo>
                  <a:lnTo>
                    <a:pt x="2380" y="1905"/>
                  </a:lnTo>
                  <a:lnTo>
                    <a:pt x="2378" y="1891"/>
                  </a:lnTo>
                  <a:lnTo>
                    <a:pt x="2375" y="1879"/>
                  </a:lnTo>
                  <a:lnTo>
                    <a:pt x="2372" y="1868"/>
                  </a:lnTo>
                  <a:lnTo>
                    <a:pt x="2367" y="1859"/>
                  </a:lnTo>
                  <a:lnTo>
                    <a:pt x="2362" y="1849"/>
                  </a:lnTo>
                  <a:lnTo>
                    <a:pt x="2356" y="1840"/>
                  </a:lnTo>
                  <a:lnTo>
                    <a:pt x="2350" y="1833"/>
                  </a:lnTo>
                  <a:lnTo>
                    <a:pt x="2342" y="1826"/>
                  </a:lnTo>
                  <a:lnTo>
                    <a:pt x="2334" y="1819"/>
                  </a:lnTo>
                  <a:lnTo>
                    <a:pt x="2325" y="1815"/>
                  </a:lnTo>
                  <a:lnTo>
                    <a:pt x="2317" y="1811"/>
                  </a:lnTo>
                  <a:lnTo>
                    <a:pt x="2307" y="1808"/>
                  </a:lnTo>
                  <a:lnTo>
                    <a:pt x="2296" y="1807"/>
                  </a:lnTo>
                  <a:lnTo>
                    <a:pt x="2285" y="1806"/>
                  </a:lnTo>
                  <a:lnTo>
                    <a:pt x="2285" y="1806"/>
                  </a:lnTo>
                  <a:lnTo>
                    <a:pt x="2285" y="1806"/>
                  </a:lnTo>
                  <a:close/>
                  <a:moveTo>
                    <a:pt x="2274" y="1862"/>
                  </a:moveTo>
                  <a:lnTo>
                    <a:pt x="2274" y="1862"/>
                  </a:lnTo>
                  <a:lnTo>
                    <a:pt x="2283" y="1863"/>
                  </a:lnTo>
                  <a:lnTo>
                    <a:pt x="2291" y="1866"/>
                  </a:lnTo>
                  <a:lnTo>
                    <a:pt x="2299" y="1871"/>
                  </a:lnTo>
                  <a:lnTo>
                    <a:pt x="2306" y="1878"/>
                  </a:lnTo>
                  <a:lnTo>
                    <a:pt x="2312" y="1887"/>
                  </a:lnTo>
                  <a:lnTo>
                    <a:pt x="2316" y="1899"/>
                  </a:lnTo>
                  <a:lnTo>
                    <a:pt x="2319" y="1913"/>
                  </a:lnTo>
                  <a:lnTo>
                    <a:pt x="2320" y="1931"/>
                  </a:lnTo>
                  <a:lnTo>
                    <a:pt x="2320" y="1931"/>
                  </a:lnTo>
                  <a:lnTo>
                    <a:pt x="2319" y="1949"/>
                  </a:lnTo>
                  <a:lnTo>
                    <a:pt x="2317" y="1965"/>
                  </a:lnTo>
                  <a:lnTo>
                    <a:pt x="2314" y="1977"/>
                  </a:lnTo>
                  <a:lnTo>
                    <a:pt x="2309" y="1988"/>
                  </a:lnTo>
                  <a:lnTo>
                    <a:pt x="2302" y="1996"/>
                  </a:lnTo>
                  <a:lnTo>
                    <a:pt x="2295" y="2002"/>
                  </a:lnTo>
                  <a:lnTo>
                    <a:pt x="2286" y="2006"/>
                  </a:lnTo>
                  <a:lnTo>
                    <a:pt x="2275" y="2007"/>
                  </a:lnTo>
                  <a:lnTo>
                    <a:pt x="2275" y="2007"/>
                  </a:lnTo>
                  <a:lnTo>
                    <a:pt x="2267" y="2006"/>
                  </a:lnTo>
                  <a:lnTo>
                    <a:pt x="2260" y="2005"/>
                  </a:lnTo>
                  <a:lnTo>
                    <a:pt x="2253" y="2001"/>
                  </a:lnTo>
                  <a:lnTo>
                    <a:pt x="2247" y="1999"/>
                  </a:lnTo>
                  <a:lnTo>
                    <a:pt x="2238" y="1990"/>
                  </a:lnTo>
                  <a:lnTo>
                    <a:pt x="2231" y="1984"/>
                  </a:lnTo>
                  <a:lnTo>
                    <a:pt x="2231" y="1887"/>
                  </a:lnTo>
                  <a:lnTo>
                    <a:pt x="2231" y="1887"/>
                  </a:lnTo>
                  <a:lnTo>
                    <a:pt x="2235" y="1882"/>
                  </a:lnTo>
                  <a:lnTo>
                    <a:pt x="2240" y="1877"/>
                  </a:lnTo>
                  <a:lnTo>
                    <a:pt x="2245" y="1872"/>
                  </a:lnTo>
                  <a:lnTo>
                    <a:pt x="2250" y="1868"/>
                  </a:lnTo>
                  <a:lnTo>
                    <a:pt x="2256" y="1866"/>
                  </a:lnTo>
                  <a:lnTo>
                    <a:pt x="2262" y="1863"/>
                  </a:lnTo>
                  <a:lnTo>
                    <a:pt x="2268" y="1862"/>
                  </a:lnTo>
                  <a:lnTo>
                    <a:pt x="2274" y="1862"/>
                  </a:lnTo>
                  <a:lnTo>
                    <a:pt x="2274" y="1862"/>
                  </a:lnTo>
                  <a:lnTo>
                    <a:pt x="2274" y="1862"/>
                  </a:lnTo>
                  <a:close/>
                  <a:moveTo>
                    <a:pt x="1595" y="1829"/>
                  </a:moveTo>
                  <a:lnTo>
                    <a:pt x="1595" y="1829"/>
                  </a:lnTo>
                  <a:lnTo>
                    <a:pt x="1590" y="1824"/>
                  </a:lnTo>
                  <a:lnTo>
                    <a:pt x="1584" y="1819"/>
                  </a:lnTo>
                  <a:lnTo>
                    <a:pt x="1577" y="1816"/>
                  </a:lnTo>
                  <a:lnTo>
                    <a:pt x="1571" y="1812"/>
                  </a:lnTo>
                  <a:lnTo>
                    <a:pt x="1564" y="1810"/>
                  </a:lnTo>
                  <a:lnTo>
                    <a:pt x="1556" y="1807"/>
                  </a:lnTo>
                  <a:lnTo>
                    <a:pt x="1549" y="1807"/>
                  </a:lnTo>
                  <a:lnTo>
                    <a:pt x="1542" y="1806"/>
                  </a:lnTo>
                  <a:lnTo>
                    <a:pt x="1542" y="1806"/>
                  </a:lnTo>
                  <a:lnTo>
                    <a:pt x="1531" y="1807"/>
                  </a:lnTo>
                  <a:lnTo>
                    <a:pt x="1520" y="1808"/>
                  </a:lnTo>
                  <a:lnTo>
                    <a:pt x="1510" y="1811"/>
                  </a:lnTo>
                  <a:lnTo>
                    <a:pt x="1501" y="1815"/>
                  </a:lnTo>
                  <a:lnTo>
                    <a:pt x="1493" y="1819"/>
                  </a:lnTo>
                  <a:lnTo>
                    <a:pt x="1484" y="1826"/>
                  </a:lnTo>
                  <a:lnTo>
                    <a:pt x="1477" y="1833"/>
                  </a:lnTo>
                  <a:lnTo>
                    <a:pt x="1471" y="1840"/>
                  </a:lnTo>
                  <a:lnTo>
                    <a:pt x="1465" y="1849"/>
                  </a:lnTo>
                  <a:lnTo>
                    <a:pt x="1460" y="1859"/>
                  </a:lnTo>
                  <a:lnTo>
                    <a:pt x="1455" y="1868"/>
                  </a:lnTo>
                  <a:lnTo>
                    <a:pt x="1452" y="1879"/>
                  </a:lnTo>
                  <a:lnTo>
                    <a:pt x="1449" y="1891"/>
                  </a:lnTo>
                  <a:lnTo>
                    <a:pt x="1447" y="1905"/>
                  </a:lnTo>
                  <a:lnTo>
                    <a:pt x="1445" y="1918"/>
                  </a:lnTo>
                  <a:lnTo>
                    <a:pt x="1445" y="1932"/>
                  </a:lnTo>
                  <a:lnTo>
                    <a:pt x="1445" y="1932"/>
                  </a:lnTo>
                  <a:lnTo>
                    <a:pt x="1445" y="1948"/>
                  </a:lnTo>
                  <a:lnTo>
                    <a:pt x="1447" y="1961"/>
                  </a:lnTo>
                  <a:lnTo>
                    <a:pt x="1449" y="1974"/>
                  </a:lnTo>
                  <a:lnTo>
                    <a:pt x="1452" y="1987"/>
                  </a:lnTo>
                  <a:lnTo>
                    <a:pt x="1455" y="1999"/>
                  </a:lnTo>
                  <a:lnTo>
                    <a:pt x="1459" y="2010"/>
                  </a:lnTo>
                  <a:lnTo>
                    <a:pt x="1465" y="2020"/>
                  </a:lnTo>
                  <a:lnTo>
                    <a:pt x="1470" y="2028"/>
                  </a:lnTo>
                  <a:lnTo>
                    <a:pt x="1477" y="2037"/>
                  </a:lnTo>
                  <a:lnTo>
                    <a:pt x="1483" y="2043"/>
                  </a:lnTo>
                  <a:lnTo>
                    <a:pt x="1492" y="2049"/>
                  </a:lnTo>
                  <a:lnTo>
                    <a:pt x="1500" y="2054"/>
                  </a:lnTo>
                  <a:lnTo>
                    <a:pt x="1509" y="2057"/>
                  </a:lnTo>
                  <a:lnTo>
                    <a:pt x="1519" y="2061"/>
                  </a:lnTo>
                  <a:lnTo>
                    <a:pt x="1530" y="2062"/>
                  </a:lnTo>
                  <a:lnTo>
                    <a:pt x="1540" y="2062"/>
                  </a:lnTo>
                  <a:lnTo>
                    <a:pt x="1540" y="2062"/>
                  </a:lnTo>
                  <a:lnTo>
                    <a:pt x="1548" y="2062"/>
                  </a:lnTo>
                  <a:lnTo>
                    <a:pt x="1555" y="2061"/>
                  </a:lnTo>
                  <a:lnTo>
                    <a:pt x="1562" y="2060"/>
                  </a:lnTo>
                  <a:lnTo>
                    <a:pt x="1570" y="2057"/>
                  </a:lnTo>
                  <a:lnTo>
                    <a:pt x="1577" y="2054"/>
                  </a:lnTo>
                  <a:lnTo>
                    <a:pt x="1583" y="2049"/>
                  </a:lnTo>
                  <a:lnTo>
                    <a:pt x="1589" y="2045"/>
                  </a:lnTo>
                  <a:lnTo>
                    <a:pt x="1595" y="2039"/>
                  </a:lnTo>
                  <a:lnTo>
                    <a:pt x="1595" y="2045"/>
                  </a:lnTo>
                  <a:lnTo>
                    <a:pt x="1595" y="2045"/>
                  </a:lnTo>
                  <a:lnTo>
                    <a:pt x="1595" y="2055"/>
                  </a:lnTo>
                  <a:lnTo>
                    <a:pt x="1594" y="2066"/>
                  </a:lnTo>
                  <a:lnTo>
                    <a:pt x="1592" y="2077"/>
                  </a:lnTo>
                  <a:lnTo>
                    <a:pt x="1589" y="2082"/>
                  </a:lnTo>
                  <a:lnTo>
                    <a:pt x="1586" y="2087"/>
                  </a:lnTo>
                  <a:lnTo>
                    <a:pt x="1582" y="2092"/>
                  </a:lnTo>
                  <a:lnTo>
                    <a:pt x="1577" y="2096"/>
                  </a:lnTo>
                  <a:lnTo>
                    <a:pt x="1570" y="2100"/>
                  </a:lnTo>
                  <a:lnTo>
                    <a:pt x="1562" y="2103"/>
                  </a:lnTo>
                  <a:lnTo>
                    <a:pt x="1554" y="2106"/>
                  </a:lnTo>
                  <a:lnTo>
                    <a:pt x="1543" y="2107"/>
                  </a:lnTo>
                  <a:lnTo>
                    <a:pt x="1531" y="2110"/>
                  </a:lnTo>
                  <a:lnTo>
                    <a:pt x="1517" y="2110"/>
                  </a:lnTo>
                  <a:lnTo>
                    <a:pt x="1515" y="2110"/>
                  </a:lnTo>
                  <a:lnTo>
                    <a:pt x="1536" y="2157"/>
                  </a:lnTo>
                  <a:lnTo>
                    <a:pt x="1537" y="2157"/>
                  </a:lnTo>
                  <a:lnTo>
                    <a:pt x="1537" y="2157"/>
                  </a:lnTo>
                  <a:lnTo>
                    <a:pt x="1551" y="2157"/>
                  </a:lnTo>
                  <a:lnTo>
                    <a:pt x="1565" y="2155"/>
                  </a:lnTo>
                  <a:lnTo>
                    <a:pt x="1578" y="2153"/>
                  </a:lnTo>
                  <a:lnTo>
                    <a:pt x="1589" y="2149"/>
                  </a:lnTo>
                  <a:lnTo>
                    <a:pt x="1600" y="2145"/>
                  </a:lnTo>
                  <a:lnTo>
                    <a:pt x="1610" y="2140"/>
                  </a:lnTo>
                  <a:lnTo>
                    <a:pt x="1618" y="2133"/>
                  </a:lnTo>
                  <a:lnTo>
                    <a:pt x="1627" y="2127"/>
                  </a:lnTo>
                  <a:lnTo>
                    <a:pt x="1634" y="2118"/>
                  </a:lnTo>
                  <a:lnTo>
                    <a:pt x="1639" y="2109"/>
                  </a:lnTo>
                  <a:lnTo>
                    <a:pt x="1645" y="2099"/>
                  </a:lnTo>
                  <a:lnTo>
                    <a:pt x="1649" y="2088"/>
                  </a:lnTo>
                  <a:lnTo>
                    <a:pt x="1653" y="2076"/>
                  </a:lnTo>
                  <a:lnTo>
                    <a:pt x="1655" y="2064"/>
                  </a:lnTo>
                  <a:lnTo>
                    <a:pt x="1656" y="2050"/>
                  </a:lnTo>
                  <a:lnTo>
                    <a:pt x="1656" y="2034"/>
                  </a:lnTo>
                  <a:lnTo>
                    <a:pt x="1656" y="1812"/>
                  </a:lnTo>
                  <a:lnTo>
                    <a:pt x="1595" y="1812"/>
                  </a:lnTo>
                  <a:lnTo>
                    <a:pt x="1595" y="1829"/>
                  </a:lnTo>
                  <a:lnTo>
                    <a:pt x="1595" y="1829"/>
                  </a:lnTo>
                  <a:close/>
                  <a:moveTo>
                    <a:pt x="1595" y="1887"/>
                  </a:moveTo>
                  <a:lnTo>
                    <a:pt x="1595" y="1983"/>
                  </a:lnTo>
                  <a:lnTo>
                    <a:pt x="1595" y="1983"/>
                  </a:lnTo>
                  <a:lnTo>
                    <a:pt x="1588" y="1992"/>
                  </a:lnTo>
                  <a:lnTo>
                    <a:pt x="1578" y="2000"/>
                  </a:lnTo>
                  <a:lnTo>
                    <a:pt x="1573" y="2002"/>
                  </a:lnTo>
                  <a:lnTo>
                    <a:pt x="1567" y="2005"/>
                  </a:lnTo>
                  <a:lnTo>
                    <a:pt x="1560" y="2006"/>
                  </a:lnTo>
                  <a:lnTo>
                    <a:pt x="1553" y="2007"/>
                  </a:lnTo>
                  <a:lnTo>
                    <a:pt x="1553" y="2007"/>
                  </a:lnTo>
                  <a:lnTo>
                    <a:pt x="1544" y="2006"/>
                  </a:lnTo>
                  <a:lnTo>
                    <a:pt x="1537" y="2004"/>
                  </a:lnTo>
                  <a:lnTo>
                    <a:pt x="1528" y="1999"/>
                  </a:lnTo>
                  <a:lnTo>
                    <a:pt x="1522" y="1993"/>
                  </a:lnTo>
                  <a:lnTo>
                    <a:pt x="1516" y="1983"/>
                  </a:lnTo>
                  <a:lnTo>
                    <a:pt x="1511" y="1970"/>
                  </a:lnTo>
                  <a:lnTo>
                    <a:pt x="1508" y="1952"/>
                  </a:lnTo>
                  <a:lnTo>
                    <a:pt x="1506" y="1931"/>
                  </a:lnTo>
                  <a:lnTo>
                    <a:pt x="1506" y="1931"/>
                  </a:lnTo>
                  <a:lnTo>
                    <a:pt x="1508" y="1911"/>
                  </a:lnTo>
                  <a:lnTo>
                    <a:pt x="1511" y="1896"/>
                  </a:lnTo>
                  <a:lnTo>
                    <a:pt x="1516" y="1884"/>
                  </a:lnTo>
                  <a:lnTo>
                    <a:pt x="1522" y="1876"/>
                  </a:lnTo>
                  <a:lnTo>
                    <a:pt x="1528" y="1868"/>
                  </a:lnTo>
                  <a:lnTo>
                    <a:pt x="1537" y="1865"/>
                  </a:lnTo>
                  <a:lnTo>
                    <a:pt x="1544" y="1862"/>
                  </a:lnTo>
                  <a:lnTo>
                    <a:pt x="1553" y="1862"/>
                  </a:lnTo>
                  <a:lnTo>
                    <a:pt x="1553" y="1862"/>
                  </a:lnTo>
                  <a:lnTo>
                    <a:pt x="1560" y="1862"/>
                  </a:lnTo>
                  <a:lnTo>
                    <a:pt x="1567" y="1865"/>
                  </a:lnTo>
                  <a:lnTo>
                    <a:pt x="1575" y="1867"/>
                  </a:lnTo>
                  <a:lnTo>
                    <a:pt x="1579" y="1869"/>
                  </a:lnTo>
                  <a:lnTo>
                    <a:pt x="1584" y="1874"/>
                  </a:lnTo>
                  <a:lnTo>
                    <a:pt x="1589" y="1878"/>
                  </a:lnTo>
                  <a:lnTo>
                    <a:pt x="1595" y="1887"/>
                  </a:lnTo>
                  <a:lnTo>
                    <a:pt x="1595" y="1887"/>
                  </a:lnTo>
                  <a:lnTo>
                    <a:pt x="1595" y="1887"/>
                  </a:lnTo>
                  <a:close/>
                  <a:moveTo>
                    <a:pt x="1845" y="1872"/>
                  </a:moveTo>
                  <a:lnTo>
                    <a:pt x="1845" y="1872"/>
                  </a:lnTo>
                  <a:lnTo>
                    <a:pt x="1860" y="1865"/>
                  </a:lnTo>
                  <a:lnTo>
                    <a:pt x="1874" y="1860"/>
                  </a:lnTo>
                  <a:lnTo>
                    <a:pt x="1890" y="1856"/>
                  </a:lnTo>
                  <a:lnTo>
                    <a:pt x="1907" y="1855"/>
                  </a:lnTo>
                  <a:lnTo>
                    <a:pt x="1907" y="1855"/>
                  </a:lnTo>
                  <a:lnTo>
                    <a:pt x="1918" y="1856"/>
                  </a:lnTo>
                  <a:lnTo>
                    <a:pt x="1927" y="1857"/>
                  </a:lnTo>
                  <a:lnTo>
                    <a:pt x="1934" y="1860"/>
                  </a:lnTo>
                  <a:lnTo>
                    <a:pt x="1940" y="1865"/>
                  </a:lnTo>
                  <a:lnTo>
                    <a:pt x="1945" y="1869"/>
                  </a:lnTo>
                  <a:lnTo>
                    <a:pt x="1949" y="1876"/>
                  </a:lnTo>
                  <a:lnTo>
                    <a:pt x="1951" y="1882"/>
                  </a:lnTo>
                  <a:lnTo>
                    <a:pt x="1951" y="1890"/>
                  </a:lnTo>
                  <a:lnTo>
                    <a:pt x="1951" y="1907"/>
                  </a:lnTo>
                  <a:lnTo>
                    <a:pt x="1951" y="1907"/>
                  </a:lnTo>
                  <a:lnTo>
                    <a:pt x="1940" y="1902"/>
                  </a:lnTo>
                  <a:lnTo>
                    <a:pt x="1927" y="1899"/>
                  </a:lnTo>
                  <a:lnTo>
                    <a:pt x="1913" y="1896"/>
                  </a:lnTo>
                  <a:lnTo>
                    <a:pt x="1899" y="1895"/>
                  </a:lnTo>
                  <a:lnTo>
                    <a:pt x="1899" y="1895"/>
                  </a:lnTo>
                  <a:lnTo>
                    <a:pt x="1882" y="1896"/>
                  </a:lnTo>
                  <a:lnTo>
                    <a:pt x="1865" y="1900"/>
                  </a:lnTo>
                  <a:lnTo>
                    <a:pt x="1849" y="1905"/>
                  </a:lnTo>
                  <a:lnTo>
                    <a:pt x="1840" y="1909"/>
                  </a:lnTo>
                  <a:lnTo>
                    <a:pt x="1833" y="1913"/>
                  </a:lnTo>
                  <a:lnTo>
                    <a:pt x="1827" y="1918"/>
                  </a:lnTo>
                  <a:lnTo>
                    <a:pt x="1821" y="1924"/>
                  </a:lnTo>
                  <a:lnTo>
                    <a:pt x="1815" y="1931"/>
                  </a:lnTo>
                  <a:lnTo>
                    <a:pt x="1810" y="1938"/>
                  </a:lnTo>
                  <a:lnTo>
                    <a:pt x="1806" y="1946"/>
                  </a:lnTo>
                  <a:lnTo>
                    <a:pt x="1804" y="1956"/>
                  </a:lnTo>
                  <a:lnTo>
                    <a:pt x="1802" y="1966"/>
                  </a:lnTo>
                  <a:lnTo>
                    <a:pt x="1801" y="1976"/>
                  </a:lnTo>
                  <a:lnTo>
                    <a:pt x="1801" y="1976"/>
                  </a:lnTo>
                  <a:lnTo>
                    <a:pt x="1802" y="1988"/>
                  </a:lnTo>
                  <a:lnTo>
                    <a:pt x="1804" y="1999"/>
                  </a:lnTo>
                  <a:lnTo>
                    <a:pt x="1806" y="2007"/>
                  </a:lnTo>
                  <a:lnTo>
                    <a:pt x="1810" y="2017"/>
                  </a:lnTo>
                  <a:lnTo>
                    <a:pt x="1813" y="2024"/>
                  </a:lnTo>
                  <a:lnTo>
                    <a:pt x="1820" y="2032"/>
                  </a:lnTo>
                  <a:lnTo>
                    <a:pt x="1824" y="2038"/>
                  </a:lnTo>
                  <a:lnTo>
                    <a:pt x="1832" y="2044"/>
                  </a:lnTo>
                  <a:lnTo>
                    <a:pt x="1838" y="2049"/>
                  </a:lnTo>
                  <a:lnTo>
                    <a:pt x="1845" y="2053"/>
                  </a:lnTo>
                  <a:lnTo>
                    <a:pt x="1861" y="2059"/>
                  </a:lnTo>
                  <a:lnTo>
                    <a:pt x="1877" y="2062"/>
                  </a:lnTo>
                  <a:lnTo>
                    <a:pt x="1893" y="2064"/>
                  </a:lnTo>
                  <a:lnTo>
                    <a:pt x="1893" y="2064"/>
                  </a:lnTo>
                  <a:lnTo>
                    <a:pt x="1906" y="2061"/>
                  </a:lnTo>
                  <a:lnTo>
                    <a:pt x="1915" y="2060"/>
                  </a:lnTo>
                  <a:lnTo>
                    <a:pt x="1922" y="2057"/>
                  </a:lnTo>
                  <a:lnTo>
                    <a:pt x="1930" y="2054"/>
                  </a:lnTo>
                  <a:lnTo>
                    <a:pt x="1938" y="2049"/>
                  </a:lnTo>
                  <a:lnTo>
                    <a:pt x="1945" y="2044"/>
                  </a:lnTo>
                  <a:lnTo>
                    <a:pt x="1951" y="2038"/>
                  </a:lnTo>
                  <a:lnTo>
                    <a:pt x="1951" y="2057"/>
                  </a:lnTo>
                  <a:lnTo>
                    <a:pt x="2012" y="2057"/>
                  </a:lnTo>
                  <a:lnTo>
                    <a:pt x="2012" y="1891"/>
                  </a:lnTo>
                  <a:lnTo>
                    <a:pt x="2012" y="1891"/>
                  </a:lnTo>
                  <a:lnTo>
                    <a:pt x="2012" y="1882"/>
                  </a:lnTo>
                  <a:lnTo>
                    <a:pt x="2011" y="1873"/>
                  </a:lnTo>
                  <a:lnTo>
                    <a:pt x="2008" y="1865"/>
                  </a:lnTo>
                  <a:lnTo>
                    <a:pt x="2006" y="1856"/>
                  </a:lnTo>
                  <a:lnTo>
                    <a:pt x="2001" y="1849"/>
                  </a:lnTo>
                  <a:lnTo>
                    <a:pt x="1997" y="1841"/>
                  </a:lnTo>
                  <a:lnTo>
                    <a:pt x="1991" y="1835"/>
                  </a:lnTo>
                  <a:lnTo>
                    <a:pt x="1985" y="1829"/>
                  </a:lnTo>
                  <a:lnTo>
                    <a:pt x="1979" y="1824"/>
                  </a:lnTo>
                  <a:lnTo>
                    <a:pt x="1972" y="1819"/>
                  </a:lnTo>
                  <a:lnTo>
                    <a:pt x="1963" y="1816"/>
                  </a:lnTo>
                  <a:lnTo>
                    <a:pt x="1955" y="1812"/>
                  </a:lnTo>
                  <a:lnTo>
                    <a:pt x="1945" y="1810"/>
                  </a:lnTo>
                  <a:lnTo>
                    <a:pt x="1935" y="1808"/>
                  </a:lnTo>
                  <a:lnTo>
                    <a:pt x="1924" y="1807"/>
                  </a:lnTo>
                  <a:lnTo>
                    <a:pt x="1913" y="1806"/>
                  </a:lnTo>
                  <a:lnTo>
                    <a:pt x="1913" y="1806"/>
                  </a:lnTo>
                  <a:lnTo>
                    <a:pt x="1900" y="1807"/>
                  </a:lnTo>
                  <a:lnTo>
                    <a:pt x="1889" y="1807"/>
                  </a:lnTo>
                  <a:lnTo>
                    <a:pt x="1877" y="1810"/>
                  </a:lnTo>
                  <a:lnTo>
                    <a:pt x="1865" y="1812"/>
                  </a:lnTo>
                  <a:lnTo>
                    <a:pt x="1854" y="1816"/>
                  </a:lnTo>
                  <a:lnTo>
                    <a:pt x="1843" y="1819"/>
                  </a:lnTo>
                  <a:lnTo>
                    <a:pt x="1832" y="1824"/>
                  </a:lnTo>
                  <a:lnTo>
                    <a:pt x="1821" y="1830"/>
                  </a:lnTo>
                  <a:lnTo>
                    <a:pt x="1845" y="1872"/>
                  </a:lnTo>
                  <a:lnTo>
                    <a:pt x="1845" y="1872"/>
                  </a:lnTo>
                  <a:close/>
                  <a:moveTo>
                    <a:pt x="1862" y="1976"/>
                  </a:moveTo>
                  <a:lnTo>
                    <a:pt x="1862" y="1976"/>
                  </a:lnTo>
                  <a:lnTo>
                    <a:pt x="1862" y="1968"/>
                  </a:lnTo>
                  <a:lnTo>
                    <a:pt x="1865" y="1961"/>
                  </a:lnTo>
                  <a:lnTo>
                    <a:pt x="1868" y="1955"/>
                  </a:lnTo>
                  <a:lnTo>
                    <a:pt x="1873" y="1950"/>
                  </a:lnTo>
                  <a:lnTo>
                    <a:pt x="1879" y="1946"/>
                  </a:lnTo>
                  <a:lnTo>
                    <a:pt x="1887" y="1944"/>
                  </a:lnTo>
                  <a:lnTo>
                    <a:pt x="1895" y="1941"/>
                  </a:lnTo>
                  <a:lnTo>
                    <a:pt x="1904" y="1941"/>
                  </a:lnTo>
                  <a:lnTo>
                    <a:pt x="1904" y="1941"/>
                  </a:lnTo>
                  <a:lnTo>
                    <a:pt x="1917" y="1941"/>
                  </a:lnTo>
                  <a:lnTo>
                    <a:pt x="1929" y="1944"/>
                  </a:lnTo>
                  <a:lnTo>
                    <a:pt x="1940" y="1948"/>
                  </a:lnTo>
                  <a:lnTo>
                    <a:pt x="1951" y="1954"/>
                  </a:lnTo>
                  <a:lnTo>
                    <a:pt x="1951" y="1987"/>
                  </a:lnTo>
                  <a:lnTo>
                    <a:pt x="1951" y="1987"/>
                  </a:lnTo>
                  <a:lnTo>
                    <a:pt x="1949" y="1992"/>
                  </a:lnTo>
                  <a:lnTo>
                    <a:pt x="1944" y="1996"/>
                  </a:lnTo>
                  <a:lnTo>
                    <a:pt x="1939" y="2001"/>
                  </a:lnTo>
                  <a:lnTo>
                    <a:pt x="1933" y="2005"/>
                  </a:lnTo>
                  <a:lnTo>
                    <a:pt x="1927" y="2009"/>
                  </a:lnTo>
                  <a:lnTo>
                    <a:pt x="1919" y="2011"/>
                  </a:lnTo>
                  <a:lnTo>
                    <a:pt x="1912" y="2012"/>
                  </a:lnTo>
                  <a:lnTo>
                    <a:pt x="1904" y="2013"/>
                  </a:lnTo>
                  <a:lnTo>
                    <a:pt x="1904" y="2013"/>
                  </a:lnTo>
                  <a:lnTo>
                    <a:pt x="1895" y="2012"/>
                  </a:lnTo>
                  <a:lnTo>
                    <a:pt x="1887" y="2010"/>
                  </a:lnTo>
                  <a:lnTo>
                    <a:pt x="1879" y="2007"/>
                  </a:lnTo>
                  <a:lnTo>
                    <a:pt x="1873" y="2002"/>
                  </a:lnTo>
                  <a:lnTo>
                    <a:pt x="1868" y="1998"/>
                  </a:lnTo>
                  <a:lnTo>
                    <a:pt x="1865" y="1992"/>
                  </a:lnTo>
                  <a:lnTo>
                    <a:pt x="1863" y="1984"/>
                  </a:lnTo>
                  <a:lnTo>
                    <a:pt x="1862" y="1976"/>
                  </a:lnTo>
                  <a:lnTo>
                    <a:pt x="1862" y="1976"/>
                  </a:lnTo>
                  <a:lnTo>
                    <a:pt x="1862" y="1976"/>
                  </a:lnTo>
                  <a:close/>
                  <a:moveTo>
                    <a:pt x="2576" y="1987"/>
                  </a:moveTo>
                  <a:lnTo>
                    <a:pt x="2576" y="1987"/>
                  </a:lnTo>
                  <a:lnTo>
                    <a:pt x="2568" y="1994"/>
                  </a:lnTo>
                  <a:lnTo>
                    <a:pt x="2557" y="2000"/>
                  </a:lnTo>
                  <a:lnTo>
                    <a:pt x="2551" y="2002"/>
                  </a:lnTo>
                  <a:lnTo>
                    <a:pt x="2543" y="2005"/>
                  </a:lnTo>
                  <a:lnTo>
                    <a:pt x="2536" y="2006"/>
                  </a:lnTo>
                  <a:lnTo>
                    <a:pt x="2529" y="2007"/>
                  </a:lnTo>
                  <a:lnTo>
                    <a:pt x="2529" y="2007"/>
                  </a:lnTo>
                  <a:lnTo>
                    <a:pt x="2523" y="2006"/>
                  </a:lnTo>
                  <a:lnTo>
                    <a:pt x="2515" y="2006"/>
                  </a:lnTo>
                  <a:lnTo>
                    <a:pt x="2507" y="2004"/>
                  </a:lnTo>
                  <a:lnTo>
                    <a:pt x="2497" y="1999"/>
                  </a:lnTo>
                  <a:lnTo>
                    <a:pt x="2489" y="1993"/>
                  </a:lnTo>
                  <a:lnTo>
                    <a:pt x="2485" y="1988"/>
                  </a:lnTo>
                  <a:lnTo>
                    <a:pt x="2481" y="1983"/>
                  </a:lnTo>
                  <a:lnTo>
                    <a:pt x="2479" y="1977"/>
                  </a:lnTo>
                  <a:lnTo>
                    <a:pt x="2476" y="1970"/>
                  </a:lnTo>
                  <a:lnTo>
                    <a:pt x="2475" y="1962"/>
                  </a:lnTo>
                  <a:lnTo>
                    <a:pt x="2474" y="1954"/>
                  </a:lnTo>
                  <a:lnTo>
                    <a:pt x="2624" y="1954"/>
                  </a:lnTo>
                  <a:lnTo>
                    <a:pt x="2624" y="1954"/>
                  </a:lnTo>
                  <a:lnTo>
                    <a:pt x="2625" y="1935"/>
                  </a:lnTo>
                  <a:lnTo>
                    <a:pt x="2625" y="1935"/>
                  </a:lnTo>
                  <a:lnTo>
                    <a:pt x="2625" y="1921"/>
                  </a:lnTo>
                  <a:lnTo>
                    <a:pt x="2623" y="1907"/>
                  </a:lnTo>
                  <a:lnTo>
                    <a:pt x="2621" y="1894"/>
                  </a:lnTo>
                  <a:lnTo>
                    <a:pt x="2618" y="1882"/>
                  </a:lnTo>
                  <a:lnTo>
                    <a:pt x="2614" y="1871"/>
                  </a:lnTo>
                  <a:lnTo>
                    <a:pt x="2609" y="1860"/>
                  </a:lnTo>
                  <a:lnTo>
                    <a:pt x="2603" y="1850"/>
                  </a:lnTo>
                  <a:lnTo>
                    <a:pt x="2597" y="1841"/>
                  </a:lnTo>
                  <a:lnTo>
                    <a:pt x="2590" y="1833"/>
                  </a:lnTo>
                  <a:lnTo>
                    <a:pt x="2582" y="1827"/>
                  </a:lnTo>
                  <a:lnTo>
                    <a:pt x="2574" y="1821"/>
                  </a:lnTo>
                  <a:lnTo>
                    <a:pt x="2564" y="1816"/>
                  </a:lnTo>
                  <a:lnTo>
                    <a:pt x="2554" y="1812"/>
                  </a:lnTo>
                  <a:lnTo>
                    <a:pt x="2545" y="1808"/>
                  </a:lnTo>
                  <a:lnTo>
                    <a:pt x="2534" y="1807"/>
                  </a:lnTo>
                  <a:lnTo>
                    <a:pt x="2522" y="1806"/>
                  </a:lnTo>
                  <a:lnTo>
                    <a:pt x="2522" y="1806"/>
                  </a:lnTo>
                  <a:lnTo>
                    <a:pt x="2511" y="1807"/>
                  </a:lnTo>
                  <a:lnTo>
                    <a:pt x="2500" y="1808"/>
                  </a:lnTo>
                  <a:lnTo>
                    <a:pt x="2489" y="1812"/>
                  </a:lnTo>
                  <a:lnTo>
                    <a:pt x="2478" y="1816"/>
                  </a:lnTo>
                  <a:lnTo>
                    <a:pt x="2468" y="1821"/>
                  </a:lnTo>
                  <a:lnTo>
                    <a:pt x="2459" y="1828"/>
                  </a:lnTo>
                  <a:lnTo>
                    <a:pt x="2451" y="1834"/>
                  </a:lnTo>
                  <a:lnTo>
                    <a:pt x="2444" y="1843"/>
                  </a:lnTo>
                  <a:lnTo>
                    <a:pt x="2436" y="1851"/>
                  </a:lnTo>
                  <a:lnTo>
                    <a:pt x="2430" y="1861"/>
                  </a:lnTo>
                  <a:lnTo>
                    <a:pt x="2425" y="1872"/>
                  </a:lnTo>
                  <a:lnTo>
                    <a:pt x="2420" y="1883"/>
                  </a:lnTo>
                  <a:lnTo>
                    <a:pt x="2417" y="1895"/>
                  </a:lnTo>
                  <a:lnTo>
                    <a:pt x="2414" y="1909"/>
                  </a:lnTo>
                  <a:lnTo>
                    <a:pt x="2413" y="1921"/>
                  </a:lnTo>
                  <a:lnTo>
                    <a:pt x="2412" y="1935"/>
                  </a:lnTo>
                  <a:lnTo>
                    <a:pt x="2412" y="1935"/>
                  </a:lnTo>
                  <a:lnTo>
                    <a:pt x="2413" y="1949"/>
                  </a:lnTo>
                  <a:lnTo>
                    <a:pt x="2414" y="1962"/>
                  </a:lnTo>
                  <a:lnTo>
                    <a:pt x="2417" y="1976"/>
                  </a:lnTo>
                  <a:lnTo>
                    <a:pt x="2420" y="1988"/>
                  </a:lnTo>
                  <a:lnTo>
                    <a:pt x="2425" y="1999"/>
                  </a:lnTo>
                  <a:lnTo>
                    <a:pt x="2430" y="2010"/>
                  </a:lnTo>
                  <a:lnTo>
                    <a:pt x="2436" y="2020"/>
                  </a:lnTo>
                  <a:lnTo>
                    <a:pt x="2444" y="2028"/>
                  </a:lnTo>
                  <a:lnTo>
                    <a:pt x="2452" y="2035"/>
                  </a:lnTo>
                  <a:lnTo>
                    <a:pt x="2461" y="2043"/>
                  </a:lnTo>
                  <a:lnTo>
                    <a:pt x="2470" y="2049"/>
                  </a:lnTo>
                  <a:lnTo>
                    <a:pt x="2480" y="2054"/>
                  </a:lnTo>
                  <a:lnTo>
                    <a:pt x="2491" y="2057"/>
                  </a:lnTo>
                  <a:lnTo>
                    <a:pt x="2503" y="2061"/>
                  </a:lnTo>
                  <a:lnTo>
                    <a:pt x="2515" y="2062"/>
                  </a:lnTo>
                  <a:lnTo>
                    <a:pt x="2529" y="2064"/>
                  </a:lnTo>
                  <a:lnTo>
                    <a:pt x="2529" y="2064"/>
                  </a:lnTo>
                  <a:lnTo>
                    <a:pt x="2541" y="2062"/>
                  </a:lnTo>
                  <a:lnTo>
                    <a:pt x="2552" y="2061"/>
                  </a:lnTo>
                  <a:lnTo>
                    <a:pt x="2564" y="2057"/>
                  </a:lnTo>
                  <a:lnTo>
                    <a:pt x="2575" y="2054"/>
                  </a:lnTo>
                  <a:lnTo>
                    <a:pt x="2586" y="2048"/>
                  </a:lnTo>
                  <a:lnTo>
                    <a:pt x="2596" y="2042"/>
                  </a:lnTo>
                  <a:lnTo>
                    <a:pt x="2606" y="2033"/>
                  </a:lnTo>
                  <a:lnTo>
                    <a:pt x="2615" y="2024"/>
                  </a:lnTo>
                  <a:lnTo>
                    <a:pt x="2576" y="1987"/>
                  </a:lnTo>
                  <a:lnTo>
                    <a:pt x="2576" y="1987"/>
                  </a:lnTo>
                  <a:close/>
                  <a:moveTo>
                    <a:pt x="2475" y="1909"/>
                  </a:moveTo>
                  <a:lnTo>
                    <a:pt x="2475" y="1909"/>
                  </a:lnTo>
                  <a:lnTo>
                    <a:pt x="2476" y="1898"/>
                  </a:lnTo>
                  <a:lnTo>
                    <a:pt x="2479" y="1888"/>
                  </a:lnTo>
                  <a:lnTo>
                    <a:pt x="2483" y="1879"/>
                  </a:lnTo>
                  <a:lnTo>
                    <a:pt x="2489" y="1872"/>
                  </a:lnTo>
                  <a:lnTo>
                    <a:pt x="2495" y="1866"/>
                  </a:lnTo>
                  <a:lnTo>
                    <a:pt x="2502" y="1862"/>
                  </a:lnTo>
                  <a:lnTo>
                    <a:pt x="2511" y="1859"/>
                  </a:lnTo>
                  <a:lnTo>
                    <a:pt x="2520" y="1859"/>
                  </a:lnTo>
                  <a:lnTo>
                    <a:pt x="2520" y="1859"/>
                  </a:lnTo>
                  <a:lnTo>
                    <a:pt x="2531" y="1860"/>
                  </a:lnTo>
                  <a:lnTo>
                    <a:pt x="2541" y="1862"/>
                  </a:lnTo>
                  <a:lnTo>
                    <a:pt x="2548" y="1867"/>
                  </a:lnTo>
                  <a:lnTo>
                    <a:pt x="2554" y="1874"/>
                  </a:lnTo>
                  <a:lnTo>
                    <a:pt x="2559" y="1882"/>
                  </a:lnTo>
                  <a:lnTo>
                    <a:pt x="2563" y="1890"/>
                  </a:lnTo>
                  <a:lnTo>
                    <a:pt x="2565" y="1900"/>
                  </a:lnTo>
                  <a:lnTo>
                    <a:pt x="2567" y="1909"/>
                  </a:lnTo>
                  <a:lnTo>
                    <a:pt x="2475" y="1909"/>
                  </a:lnTo>
                  <a:lnTo>
                    <a:pt x="2475" y="1909"/>
                  </a:lnTo>
                  <a:close/>
                  <a:moveTo>
                    <a:pt x="3163" y="1987"/>
                  </a:moveTo>
                  <a:lnTo>
                    <a:pt x="3163" y="1987"/>
                  </a:lnTo>
                  <a:lnTo>
                    <a:pt x="3153" y="1994"/>
                  </a:lnTo>
                  <a:lnTo>
                    <a:pt x="3143" y="2000"/>
                  </a:lnTo>
                  <a:lnTo>
                    <a:pt x="3136" y="2002"/>
                  </a:lnTo>
                  <a:lnTo>
                    <a:pt x="3130" y="2005"/>
                  </a:lnTo>
                  <a:lnTo>
                    <a:pt x="3122" y="2006"/>
                  </a:lnTo>
                  <a:lnTo>
                    <a:pt x="3114" y="2007"/>
                  </a:lnTo>
                  <a:lnTo>
                    <a:pt x="3114" y="2007"/>
                  </a:lnTo>
                  <a:lnTo>
                    <a:pt x="3108" y="2006"/>
                  </a:lnTo>
                  <a:lnTo>
                    <a:pt x="3100" y="2006"/>
                  </a:lnTo>
                  <a:lnTo>
                    <a:pt x="3092" y="2004"/>
                  </a:lnTo>
                  <a:lnTo>
                    <a:pt x="3083" y="1999"/>
                  </a:lnTo>
                  <a:lnTo>
                    <a:pt x="3075" y="1993"/>
                  </a:lnTo>
                  <a:lnTo>
                    <a:pt x="3071" y="1988"/>
                  </a:lnTo>
                  <a:lnTo>
                    <a:pt x="3068" y="1983"/>
                  </a:lnTo>
                  <a:lnTo>
                    <a:pt x="3065" y="1977"/>
                  </a:lnTo>
                  <a:lnTo>
                    <a:pt x="3063" y="1970"/>
                  </a:lnTo>
                  <a:lnTo>
                    <a:pt x="3060" y="1962"/>
                  </a:lnTo>
                  <a:lnTo>
                    <a:pt x="3059" y="1954"/>
                  </a:lnTo>
                  <a:lnTo>
                    <a:pt x="3210" y="1954"/>
                  </a:lnTo>
                  <a:lnTo>
                    <a:pt x="3210" y="1954"/>
                  </a:lnTo>
                  <a:lnTo>
                    <a:pt x="3211" y="1935"/>
                  </a:lnTo>
                  <a:lnTo>
                    <a:pt x="3211" y="1935"/>
                  </a:lnTo>
                  <a:lnTo>
                    <a:pt x="3210" y="1921"/>
                  </a:lnTo>
                  <a:lnTo>
                    <a:pt x="3209" y="1907"/>
                  </a:lnTo>
                  <a:lnTo>
                    <a:pt x="3206" y="1894"/>
                  </a:lnTo>
                  <a:lnTo>
                    <a:pt x="3204" y="1882"/>
                  </a:lnTo>
                  <a:lnTo>
                    <a:pt x="3199" y="1871"/>
                  </a:lnTo>
                  <a:lnTo>
                    <a:pt x="3194" y="1860"/>
                  </a:lnTo>
                  <a:lnTo>
                    <a:pt x="3189" y="1850"/>
                  </a:lnTo>
                  <a:lnTo>
                    <a:pt x="3183" y="1841"/>
                  </a:lnTo>
                  <a:lnTo>
                    <a:pt x="3176" y="1833"/>
                  </a:lnTo>
                  <a:lnTo>
                    <a:pt x="3167" y="1827"/>
                  </a:lnTo>
                  <a:lnTo>
                    <a:pt x="3159" y="1821"/>
                  </a:lnTo>
                  <a:lnTo>
                    <a:pt x="3150" y="1816"/>
                  </a:lnTo>
                  <a:lnTo>
                    <a:pt x="3141" y="1812"/>
                  </a:lnTo>
                  <a:lnTo>
                    <a:pt x="3130" y="1808"/>
                  </a:lnTo>
                  <a:lnTo>
                    <a:pt x="3119" y="1807"/>
                  </a:lnTo>
                  <a:lnTo>
                    <a:pt x="3108" y="1806"/>
                  </a:lnTo>
                  <a:lnTo>
                    <a:pt x="3108" y="1806"/>
                  </a:lnTo>
                  <a:lnTo>
                    <a:pt x="3096" y="1807"/>
                  </a:lnTo>
                  <a:lnTo>
                    <a:pt x="3085" y="1808"/>
                  </a:lnTo>
                  <a:lnTo>
                    <a:pt x="3074" y="1812"/>
                  </a:lnTo>
                  <a:lnTo>
                    <a:pt x="3064" y="1816"/>
                  </a:lnTo>
                  <a:lnTo>
                    <a:pt x="3054" y="1821"/>
                  </a:lnTo>
                  <a:lnTo>
                    <a:pt x="3044" y="1828"/>
                  </a:lnTo>
                  <a:lnTo>
                    <a:pt x="3037" y="1834"/>
                  </a:lnTo>
                  <a:lnTo>
                    <a:pt x="3029" y="1843"/>
                  </a:lnTo>
                  <a:lnTo>
                    <a:pt x="3021" y="1851"/>
                  </a:lnTo>
                  <a:lnTo>
                    <a:pt x="3015" y="1861"/>
                  </a:lnTo>
                  <a:lnTo>
                    <a:pt x="3010" y="1872"/>
                  </a:lnTo>
                  <a:lnTo>
                    <a:pt x="3005" y="1883"/>
                  </a:lnTo>
                  <a:lnTo>
                    <a:pt x="3003" y="1895"/>
                  </a:lnTo>
                  <a:lnTo>
                    <a:pt x="2999" y="1909"/>
                  </a:lnTo>
                  <a:lnTo>
                    <a:pt x="2998" y="1921"/>
                  </a:lnTo>
                  <a:lnTo>
                    <a:pt x="2998" y="1935"/>
                  </a:lnTo>
                  <a:lnTo>
                    <a:pt x="2998" y="1935"/>
                  </a:lnTo>
                  <a:lnTo>
                    <a:pt x="2998" y="1949"/>
                  </a:lnTo>
                  <a:lnTo>
                    <a:pt x="2999" y="1962"/>
                  </a:lnTo>
                  <a:lnTo>
                    <a:pt x="3002" y="1976"/>
                  </a:lnTo>
                  <a:lnTo>
                    <a:pt x="3005" y="1988"/>
                  </a:lnTo>
                  <a:lnTo>
                    <a:pt x="3010" y="1999"/>
                  </a:lnTo>
                  <a:lnTo>
                    <a:pt x="3016" y="2010"/>
                  </a:lnTo>
                  <a:lnTo>
                    <a:pt x="3022" y="2020"/>
                  </a:lnTo>
                  <a:lnTo>
                    <a:pt x="3030" y="2028"/>
                  </a:lnTo>
                  <a:lnTo>
                    <a:pt x="3037" y="2035"/>
                  </a:lnTo>
                  <a:lnTo>
                    <a:pt x="3046" y="2043"/>
                  </a:lnTo>
                  <a:lnTo>
                    <a:pt x="3055" y="2049"/>
                  </a:lnTo>
                  <a:lnTo>
                    <a:pt x="3066" y="2054"/>
                  </a:lnTo>
                  <a:lnTo>
                    <a:pt x="3077" y="2057"/>
                  </a:lnTo>
                  <a:lnTo>
                    <a:pt x="3088" y="2061"/>
                  </a:lnTo>
                  <a:lnTo>
                    <a:pt x="3102" y="2062"/>
                  </a:lnTo>
                  <a:lnTo>
                    <a:pt x="3114" y="2064"/>
                  </a:lnTo>
                  <a:lnTo>
                    <a:pt x="3114" y="2064"/>
                  </a:lnTo>
                  <a:lnTo>
                    <a:pt x="3126" y="2062"/>
                  </a:lnTo>
                  <a:lnTo>
                    <a:pt x="3138" y="2061"/>
                  </a:lnTo>
                  <a:lnTo>
                    <a:pt x="3149" y="2057"/>
                  </a:lnTo>
                  <a:lnTo>
                    <a:pt x="3160" y="2054"/>
                  </a:lnTo>
                  <a:lnTo>
                    <a:pt x="3171" y="2048"/>
                  </a:lnTo>
                  <a:lnTo>
                    <a:pt x="3182" y="2042"/>
                  </a:lnTo>
                  <a:lnTo>
                    <a:pt x="3192" y="2033"/>
                  </a:lnTo>
                  <a:lnTo>
                    <a:pt x="3200" y="2024"/>
                  </a:lnTo>
                  <a:lnTo>
                    <a:pt x="3163" y="1987"/>
                  </a:lnTo>
                  <a:lnTo>
                    <a:pt x="3163" y="1987"/>
                  </a:lnTo>
                  <a:close/>
                  <a:moveTo>
                    <a:pt x="3060" y="1909"/>
                  </a:moveTo>
                  <a:lnTo>
                    <a:pt x="3060" y="1909"/>
                  </a:lnTo>
                  <a:lnTo>
                    <a:pt x="3061" y="1898"/>
                  </a:lnTo>
                  <a:lnTo>
                    <a:pt x="3065" y="1888"/>
                  </a:lnTo>
                  <a:lnTo>
                    <a:pt x="3069" y="1879"/>
                  </a:lnTo>
                  <a:lnTo>
                    <a:pt x="3074" y="1872"/>
                  </a:lnTo>
                  <a:lnTo>
                    <a:pt x="3081" y="1866"/>
                  </a:lnTo>
                  <a:lnTo>
                    <a:pt x="3088" y="1862"/>
                  </a:lnTo>
                  <a:lnTo>
                    <a:pt x="3097" y="1859"/>
                  </a:lnTo>
                  <a:lnTo>
                    <a:pt x="3107" y="1859"/>
                  </a:lnTo>
                  <a:lnTo>
                    <a:pt x="3107" y="1859"/>
                  </a:lnTo>
                  <a:lnTo>
                    <a:pt x="3118" y="1860"/>
                  </a:lnTo>
                  <a:lnTo>
                    <a:pt x="3126" y="1862"/>
                  </a:lnTo>
                  <a:lnTo>
                    <a:pt x="3135" y="1867"/>
                  </a:lnTo>
                  <a:lnTo>
                    <a:pt x="3141" y="1874"/>
                  </a:lnTo>
                  <a:lnTo>
                    <a:pt x="3146" y="1882"/>
                  </a:lnTo>
                  <a:lnTo>
                    <a:pt x="3149" y="1890"/>
                  </a:lnTo>
                  <a:lnTo>
                    <a:pt x="3152" y="1900"/>
                  </a:lnTo>
                  <a:lnTo>
                    <a:pt x="3153" y="1909"/>
                  </a:lnTo>
                  <a:lnTo>
                    <a:pt x="3060" y="1909"/>
                  </a:lnTo>
                  <a:lnTo>
                    <a:pt x="3060" y="1909"/>
                  </a:lnTo>
                  <a:close/>
                  <a:moveTo>
                    <a:pt x="2914" y="1972"/>
                  </a:moveTo>
                  <a:lnTo>
                    <a:pt x="2914" y="1972"/>
                  </a:lnTo>
                  <a:lnTo>
                    <a:pt x="2914" y="1981"/>
                  </a:lnTo>
                  <a:lnTo>
                    <a:pt x="2915" y="1987"/>
                  </a:lnTo>
                  <a:lnTo>
                    <a:pt x="2918" y="1993"/>
                  </a:lnTo>
                  <a:lnTo>
                    <a:pt x="2920" y="1998"/>
                  </a:lnTo>
                  <a:lnTo>
                    <a:pt x="2924" y="2001"/>
                  </a:lnTo>
                  <a:lnTo>
                    <a:pt x="2929" y="2004"/>
                  </a:lnTo>
                  <a:lnTo>
                    <a:pt x="2933" y="2005"/>
                  </a:lnTo>
                  <a:lnTo>
                    <a:pt x="2941" y="2005"/>
                  </a:lnTo>
                  <a:lnTo>
                    <a:pt x="2941" y="2005"/>
                  </a:lnTo>
                  <a:lnTo>
                    <a:pt x="2949" y="2005"/>
                  </a:lnTo>
                  <a:lnTo>
                    <a:pt x="2959" y="2002"/>
                  </a:lnTo>
                  <a:lnTo>
                    <a:pt x="2969" y="1999"/>
                  </a:lnTo>
                  <a:lnTo>
                    <a:pt x="2977" y="1994"/>
                  </a:lnTo>
                  <a:lnTo>
                    <a:pt x="2970" y="2051"/>
                  </a:lnTo>
                  <a:lnTo>
                    <a:pt x="2970" y="2051"/>
                  </a:lnTo>
                  <a:lnTo>
                    <a:pt x="2959" y="2056"/>
                  </a:lnTo>
                  <a:lnTo>
                    <a:pt x="2946" y="2060"/>
                  </a:lnTo>
                  <a:lnTo>
                    <a:pt x="2932" y="2062"/>
                  </a:lnTo>
                  <a:lnTo>
                    <a:pt x="2919" y="2064"/>
                  </a:lnTo>
                  <a:lnTo>
                    <a:pt x="2919" y="2064"/>
                  </a:lnTo>
                  <a:lnTo>
                    <a:pt x="2910" y="2062"/>
                  </a:lnTo>
                  <a:lnTo>
                    <a:pt x="2902" y="2061"/>
                  </a:lnTo>
                  <a:lnTo>
                    <a:pt x="2894" y="2059"/>
                  </a:lnTo>
                  <a:lnTo>
                    <a:pt x="2888" y="2056"/>
                  </a:lnTo>
                  <a:lnTo>
                    <a:pt x="2882" y="2053"/>
                  </a:lnTo>
                  <a:lnTo>
                    <a:pt x="2876" y="2049"/>
                  </a:lnTo>
                  <a:lnTo>
                    <a:pt x="2873" y="2044"/>
                  </a:lnTo>
                  <a:lnTo>
                    <a:pt x="2868" y="2038"/>
                  </a:lnTo>
                  <a:lnTo>
                    <a:pt x="2862" y="2027"/>
                  </a:lnTo>
                  <a:lnTo>
                    <a:pt x="2857" y="2013"/>
                  </a:lnTo>
                  <a:lnTo>
                    <a:pt x="2854" y="2001"/>
                  </a:lnTo>
                  <a:lnTo>
                    <a:pt x="2853" y="1988"/>
                  </a:lnTo>
                  <a:lnTo>
                    <a:pt x="2853" y="1868"/>
                  </a:lnTo>
                  <a:lnTo>
                    <a:pt x="2815" y="1868"/>
                  </a:lnTo>
                  <a:lnTo>
                    <a:pt x="2815" y="1812"/>
                  </a:lnTo>
                  <a:lnTo>
                    <a:pt x="2853" y="1812"/>
                  </a:lnTo>
                  <a:lnTo>
                    <a:pt x="2853" y="1749"/>
                  </a:lnTo>
                  <a:lnTo>
                    <a:pt x="2914" y="1718"/>
                  </a:lnTo>
                  <a:lnTo>
                    <a:pt x="2914" y="1812"/>
                  </a:lnTo>
                  <a:lnTo>
                    <a:pt x="2969" y="1812"/>
                  </a:lnTo>
                  <a:lnTo>
                    <a:pt x="2969" y="1868"/>
                  </a:lnTo>
                  <a:lnTo>
                    <a:pt x="2914" y="1868"/>
                  </a:lnTo>
                  <a:lnTo>
                    <a:pt x="2914" y="1972"/>
                  </a:lnTo>
                  <a:lnTo>
                    <a:pt x="2914" y="1972"/>
                  </a:lnTo>
                  <a:close/>
                  <a:moveTo>
                    <a:pt x="2796" y="2051"/>
                  </a:moveTo>
                  <a:lnTo>
                    <a:pt x="2796" y="2051"/>
                  </a:lnTo>
                  <a:lnTo>
                    <a:pt x="2785" y="2056"/>
                  </a:lnTo>
                  <a:lnTo>
                    <a:pt x="2773" y="2060"/>
                  </a:lnTo>
                  <a:lnTo>
                    <a:pt x="2759" y="2062"/>
                  </a:lnTo>
                  <a:lnTo>
                    <a:pt x="2746" y="2064"/>
                  </a:lnTo>
                  <a:lnTo>
                    <a:pt x="2746" y="2064"/>
                  </a:lnTo>
                  <a:lnTo>
                    <a:pt x="2736" y="2062"/>
                  </a:lnTo>
                  <a:lnTo>
                    <a:pt x="2729" y="2061"/>
                  </a:lnTo>
                  <a:lnTo>
                    <a:pt x="2721" y="2059"/>
                  </a:lnTo>
                  <a:lnTo>
                    <a:pt x="2714" y="2056"/>
                  </a:lnTo>
                  <a:lnTo>
                    <a:pt x="2709" y="2053"/>
                  </a:lnTo>
                  <a:lnTo>
                    <a:pt x="2703" y="2049"/>
                  </a:lnTo>
                  <a:lnTo>
                    <a:pt x="2698" y="2044"/>
                  </a:lnTo>
                  <a:lnTo>
                    <a:pt x="2695" y="2038"/>
                  </a:lnTo>
                  <a:lnTo>
                    <a:pt x="2687" y="2027"/>
                  </a:lnTo>
                  <a:lnTo>
                    <a:pt x="2684" y="2013"/>
                  </a:lnTo>
                  <a:lnTo>
                    <a:pt x="2680" y="2001"/>
                  </a:lnTo>
                  <a:lnTo>
                    <a:pt x="2680" y="1988"/>
                  </a:lnTo>
                  <a:lnTo>
                    <a:pt x="2680" y="1868"/>
                  </a:lnTo>
                  <a:lnTo>
                    <a:pt x="2642" y="1868"/>
                  </a:lnTo>
                  <a:lnTo>
                    <a:pt x="2642" y="1812"/>
                  </a:lnTo>
                  <a:lnTo>
                    <a:pt x="2680" y="1812"/>
                  </a:lnTo>
                  <a:lnTo>
                    <a:pt x="2680" y="1749"/>
                  </a:lnTo>
                  <a:lnTo>
                    <a:pt x="2741" y="1718"/>
                  </a:lnTo>
                  <a:lnTo>
                    <a:pt x="2741" y="1812"/>
                  </a:lnTo>
                  <a:lnTo>
                    <a:pt x="2792" y="1812"/>
                  </a:lnTo>
                  <a:lnTo>
                    <a:pt x="2792" y="1868"/>
                  </a:lnTo>
                  <a:lnTo>
                    <a:pt x="2741" y="1868"/>
                  </a:lnTo>
                  <a:lnTo>
                    <a:pt x="2741" y="1972"/>
                  </a:lnTo>
                  <a:lnTo>
                    <a:pt x="2741" y="1972"/>
                  </a:lnTo>
                  <a:lnTo>
                    <a:pt x="2741" y="1981"/>
                  </a:lnTo>
                  <a:lnTo>
                    <a:pt x="2742" y="1987"/>
                  </a:lnTo>
                  <a:lnTo>
                    <a:pt x="2745" y="1993"/>
                  </a:lnTo>
                  <a:lnTo>
                    <a:pt x="2747" y="1998"/>
                  </a:lnTo>
                  <a:lnTo>
                    <a:pt x="2751" y="2001"/>
                  </a:lnTo>
                  <a:lnTo>
                    <a:pt x="2756" y="2004"/>
                  </a:lnTo>
                  <a:lnTo>
                    <a:pt x="2760" y="2005"/>
                  </a:lnTo>
                  <a:lnTo>
                    <a:pt x="2767" y="2005"/>
                  </a:lnTo>
                  <a:lnTo>
                    <a:pt x="2767" y="2005"/>
                  </a:lnTo>
                  <a:lnTo>
                    <a:pt x="2776" y="2005"/>
                  </a:lnTo>
                  <a:lnTo>
                    <a:pt x="2786" y="2002"/>
                  </a:lnTo>
                  <a:lnTo>
                    <a:pt x="2795" y="1999"/>
                  </a:lnTo>
                  <a:lnTo>
                    <a:pt x="2803" y="1994"/>
                  </a:lnTo>
                  <a:lnTo>
                    <a:pt x="2796" y="2051"/>
                  </a:lnTo>
                  <a:lnTo>
                    <a:pt x="2796" y="2051"/>
                  </a:lnTo>
                  <a:close/>
                  <a:moveTo>
                    <a:pt x="3394" y="1880"/>
                  </a:moveTo>
                  <a:lnTo>
                    <a:pt x="3394" y="1880"/>
                  </a:lnTo>
                  <a:lnTo>
                    <a:pt x="3386" y="1874"/>
                  </a:lnTo>
                  <a:lnTo>
                    <a:pt x="3376" y="1871"/>
                  </a:lnTo>
                  <a:lnTo>
                    <a:pt x="3365" y="1868"/>
                  </a:lnTo>
                  <a:lnTo>
                    <a:pt x="3354" y="1867"/>
                  </a:lnTo>
                  <a:lnTo>
                    <a:pt x="3354" y="1867"/>
                  </a:lnTo>
                  <a:lnTo>
                    <a:pt x="3344" y="1868"/>
                  </a:lnTo>
                  <a:lnTo>
                    <a:pt x="3334" y="1871"/>
                  </a:lnTo>
                  <a:lnTo>
                    <a:pt x="3327" y="1876"/>
                  </a:lnTo>
                  <a:lnTo>
                    <a:pt x="3321" y="1882"/>
                  </a:lnTo>
                  <a:lnTo>
                    <a:pt x="3316" y="1889"/>
                  </a:lnTo>
                  <a:lnTo>
                    <a:pt x="3314" y="1899"/>
                  </a:lnTo>
                  <a:lnTo>
                    <a:pt x="3311" y="1911"/>
                  </a:lnTo>
                  <a:lnTo>
                    <a:pt x="3310" y="1924"/>
                  </a:lnTo>
                  <a:lnTo>
                    <a:pt x="3310" y="2057"/>
                  </a:lnTo>
                  <a:lnTo>
                    <a:pt x="3250" y="2057"/>
                  </a:lnTo>
                  <a:lnTo>
                    <a:pt x="3250" y="1812"/>
                  </a:lnTo>
                  <a:lnTo>
                    <a:pt x="3310" y="1812"/>
                  </a:lnTo>
                  <a:lnTo>
                    <a:pt x="3310" y="1833"/>
                  </a:lnTo>
                  <a:lnTo>
                    <a:pt x="3310" y="1833"/>
                  </a:lnTo>
                  <a:lnTo>
                    <a:pt x="3316" y="1827"/>
                  </a:lnTo>
                  <a:lnTo>
                    <a:pt x="3322" y="1821"/>
                  </a:lnTo>
                  <a:lnTo>
                    <a:pt x="3328" y="1817"/>
                  </a:lnTo>
                  <a:lnTo>
                    <a:pt x="3336" y="1813"/>
                  </a:lnTo>
                  <a:lnTo>
                    <a:pt x="3342" y="1810"/>
                  </a:lnTo>
                  <a:lnTo>
                    <a:pt x="3349" y="1808"/>
                  </a:lnTo>
                  <a:lnTo>
                    <a:pt x="3356" y="1807"/>
                  </a:lnTo>
                  <a:lnTo>
                    <a:pt x="3365" y="1806"/>
                  </a:lnTo>
                  <a:lnTo>
                    <a:pt x="3365" y="1806"/>
                  </a:lnTo>
                  <a:lnTo>
                    <a:pt x="3377" y="1807"/>
                  </a:lnTo>
                  <a:lnTo>
                    <a:pt x="3389" y="1811"/>
                  </a:lnTo>
                  <a:lnTo>
                    <a:pt x="3400" y="1815"/>
                  </a:lnTo>
                  <a:lnTo>
                    <a:pt x="3410" y="1821"/>
                  </a:lnTo>
                  <a:lnTo>
                    <a:pt x="3394" y="1880"/>
                  </a:lnTo>
                  <a:lnTo>
                    <a:pt x="3394" y="1880"/>
                  </a:lnTo>
                  <a:close/>
                  <a:moveTo>
                    <a:pt x="654" y="1746"/>
                  </a:moveTo>
                  <a:lnTo>
                    <a:pt x="654" y="1777"/>
                  </a:lnTo>
                  <a:lnTo>
                    <a:pt x="594" y="1777"/>
                  </a:lnTo>
                  <a:lnTo>
                    <a:pt x="594" y="1716"/>
                  </a:lnTo>
                  <a:lnTo>
                    <a:pt x="654" y="1716"/>
                  </a:lnTo>
                  <a:lnTo>
                    <a:pt x="654" y="1746"/>
                  </a:lnTo>
                  <a:lnTo>
                    <a:pt x="654" y="1746"/>
                  </a:lnTo>
                  <a:close/>
                  <a:moveTo>
                    <a:pt x="1076" y="1812"/>
                  </a:moveTo>
                  <a:lnTo>
                    <a:pt x="1137" y="1812"/>
                  </a:lnTo>
                  <a:lnTo>
                    <a:pt x="1137" y="1922"/>
                  </a:lnTo>
                  <a:lnTo>
                    <a:pt x="1137" y="2057"/>
                  </a:lnTo>
                  <a:lnTo>
                    <a:pt x="1076" y="2057"/>
                  </a:lnTo>
                  <a:lnTo>
                    <a:pt x="1076" y="1812"/>
                  </a:lnTo>
                  <a:lnTo>
                    <a:pt x="1076" y="1812"/>
                  </a:lnTo>
                  <a:close/>
                  <a:moveTo>
                    <a:pt x="1137" y="1746"/>
                  </a:moveTo>
                  <a:lnTo>
                    <a:pt x="1137" y="1777"/>
                  </a:lnTo>
                  <a:lnTo>
                    <a:pt x="1076" y="1777"/>
                  </a:lnTo>
                  <a:lnTo>
                    <a:pt x="1076" y="1716"/>
                  </a:lnTo>
                  <a:lnTo>
                    <a:pt x="1137" y="1716"/>
                  </a:lnTo>
                  <a:lnTo>
                    <a:pt x="1137" y="1746"/>
                  </a:lnTo>
                  <a:lnTo>
                    <a:pt x="1137" y="1746"/>
                  </a:lnTo>
                  <a:close/>
                  <a:moveTo>
                    <a:pt x="2804" y="2259"/>
                  </a:moveTo>
                  <a:lnTo>
                    <a:pt x="2804" y="2259"/>
                  </a:lnTo>
                  <a:lnTo>
                    <a:pt x="2798" y="2254"/>
                  </a:lnTo>
                  <a:lnTo>
                    <a:pt x="2792" y="2249"/>
                  </a:lnTo>
                  <a:lnTo>
                    <a:pt x="2786" y="2245"/>
                  </a:lnTo>
                  <a:lnTo>
                    <a:pt x="2779" y="2242"/>
                  </a:lnTo>
                  <a:lnTo>
                    <a:pt x="2773" y="2239"/>
                  </a:lnTo>
                  <a:lnTo>
                    <a:pt x="2765" y="2238"/>
                  </a:lnTo>
                  <a:lnTo>
                    <a:pt x="2749" y="2236"/>
                  </a:lnTo>
                  <a:lnTo>
                    <a:pt x="2749" y="2236"/>
                  </a:lnTo>
                  <a:lnTo>
                    <a:pt x="2738" y="2237"/>
                  </a:lnTo>
                  <a:lnTo>
                    <a:pt x="2729" y="2238"/>
                  </a:lnTo>
                  <a:lnTo>
                    <a:pt x="2719" y="2242"/>
                  </a:lnTo>
                  <a:lnTo>
                    <a:pt x="2709" y="2245"/>
                  </a:lnTo>
                  <a:lnTo>
                    <a:pt x="2701" y="2250"/>
                  </a:lnTo>
                  <a:lnTo>
                    <a:pt x="2693" y="2255"/>
                  </a:lnTo>
                  <a:lnTo>
                    <a:pt x="2686" y="2262"/>
                  </a:lnTo>
                  <a:lnTo>
                    <a:pt x="2679" y="2270"/>
                  </a:lnTo>
                  <a:lnTo>
                    <a:pt x="2674" y="2278"/>
                  </a:lnTo>
                  <a:lnTo>
                    <a:pt x="2668" y="2288"/>
                  </a:lnTo>
                  <a:lnTo>
                    <a:pt x="2664" y="2298"/>
                  </a:lnTo>
                  <a:lnTo>
                    <a:pt x="2660" y="2310"/>
                  </a:lnTo>
                  <a:lnTo>
                    <a:pt x="2657" y="2321"/>
                  </a:lnTo>
                  <a:lnTo>
                    <a:pt x="2656" y="2334"/>
                  </a:lnTo>
                  <a:lnTo>
                    <a:pt x="2654" y="2348"/>
                  </a:lnTo>
                  <a:lnTo>
                    <a:pt x="2653" y="2362"/>
                  </a:lnTo>
                  <a:lnTo>
                    <a:pt x="2653" y="2362"/>
                  </a:lnTo>
                  <a:lnTo>
                    <a:pt x="2654" y="2377"/>
                  </a:lnTo>
                  <a:lnTo>
                    <a:pt x="2656" y="2391"/>
                  </a:lnTo>
                  <a:lnTo>
                    <a:pt x="2657" y="2404"/>
                  </a:lnTo>
                  <a:lnTo>
                    <a:pt x="2660" y="2417"/>
                  </a:lnTo>
                  <a:lnTo>
                    <a:pt x="2663" y="2428"/>
                  </a:lnTo>
                  <a:lnTo>
                    <a:pt x="2668" y="2439"/>
                  </a:lnTo>
                  <a:lnTo>
                    <a:pt x="2673" y="2449"/>
                  </a:lnTo>
                  <a:lnTo>
                    <a:pt x="2679" y="2458"/>
                  </a:lnTo>
                  <a:lnTo>
                    <a:pt x="2685" y="2466"/>
                  </a:lnTo>
                  <a:lnTo>
                    <a:pt x="2692" y="2472"/>
                  </a:lnTo>
                  <a:lnTo>
                    <a:pt x="2699" y="2478"/>
                  </a:lnTo>
                  <a:lnTo>
                    <a:pt x="2708" y="2483"/>
                  </a:lnTo>
                  <a:lnTo>
                    <a:pt x="2718" y="2488"/>
                  </a:lnTo>
                  <a:lnTo>
                    <a:pt x="2728" y="2491"/>
                  </a:lnTo>
                  <a:lnTo>
                    <a:pt x="2737" y="2492"/>
                  </a:lnTo>
                  <a:lnTo>
                    <a:pt x="2748" y="2493"/>
                  </a:lnTo>
                  <a:lnTo>
                    <a:pt x="2748" y="2493"/>
                  </a:lnTo>
                  <a:lnTo>
                    <a:pt x="2756" y="2492"/>
                  </a:lnTo>
                  <a:lnTo>
                    <a:pt x="2764" y="2491"/>
                  </a:lnTo>
                  <a:lnTo>
                    <a:pt x="2771" y="2489"/>
                  </a:lnTo>
                  <a:lnTo>
                    <a:pt x="2777" y="2487"/>
                  </a:lnTo>
                  <a:lnTo>
                    <a:pt x="2785" y="2483"/>
                  </a:lnTo>
                  <a:lnTo>
                    <a:pt x="2792" y="2480"/>
                  </a:lnTo>
                  <a:lnTo>
                    <a:pt x="2798" y="2475"/>
                  </a:lnTo>
                  <a:lnTo>
                    <a:pt x="2804" y="2469"/>
                  </a:lnTo>
                  <a:lnTo>
                    <a:pt x="2804" y="2487"/>
                  </a:lnTo>
                  <a:lnTo>
                    <a:pt x="2865" y="2487"/>
                  </a:lnTo>
                  <a:lnTo>
                    <a:pt x="2865" y="2139"/>
                  </a:lnTo>
                  <a:lnTo>
                    <a:pt x="2804" y="2170"/>
                  </a:lnTo>
                  <a:lnTo>
                    <a:pt x="2804" y="2259"/>
                  </a:lnTo>
                  <a:lnTo>
                    <a:pt x="2804" y="2259"/>
                  </a:lnTo>
                  <a:close/>
                  <a:moveTo>
                    <a:pt x="2762" y="2437"/>
                  </a:moveTo>
                  <a:lnTo>
                    <a:pt x="2762" y="2437"/>
                  </a:lnTo>
                  <a:lnTo>
                    <a:pt x="2753" y="2436"/>
                  </a:lnTo>
                  <a:lnTo>
                    <a:pt x="2746" y="2433"/>
                  </a:lnTo>
                  <a:lnTo>
                    <a:pt x="2737" y="2430"/>
                  </a:lnTo>
                  <a:lnTo>
                    <a:pt x="2730" y="2422"/>
                  </a:lnTo>
                  <a:lnTo>
                    <a:pt x="2724" y="2413"/>
                  </a:lnTo>
                  <a:lnTo>
                    <a:pt x="2719" y="2399"/>
                  </a:lnTo>
                  <a:lnTo>
                    <a:pt x="2717" y="2382"/>
                  </a:lnTo>
                  <a:lnTo>
                    <a:pt x="2715" y="2360"/>
                  </a:lnTo>
                  <a:lnTo>
                    <a:pt x="2715" y="2360"/>
                  </a:lnTo>
                  <a:lnTo>
                    <a:pt x="2717" y="2342"/>
                  </a:lnTo>
                  <a:lnTo>
                    <a:pt x="2719" y="2326"/>
                  </a:lnTo>
                  <a:lnTo>
                    <a:pt x="2724" y="2314"/>
                  </a:lnTo>
                  <a:lnTo>
                    <a:pt x="2730" y="2305"/>
                  </a:lnTo>
                  <a:lnTo>
                    <a:pt x="2737" y="2299"/>
                  </a:lnTo>
                  <a:lnTo>
                    <a:pt x="2745" y="2294"/>
                  </a:lnTo>
                  <a:lnTo>
                    <a:pt x="2753" y="2293"/>
                  </a:lnTo>
                  <a:lnTo>
                    <a:pt x="2760" y="2292"/>
                  </a:lnTo>
                  <a:lnTo>
                    <a:pt x="2760" y="2292"/>
                  </a:lnTo>
                  <a:lnTo>
                    <a:pt x="2769" y="2293"/>
                  </a:lnTo>
                  <a:lnTo>
                    <a:pt x="2776" y="2294"/>
                  </a:lnTo>
                  <a:lnTo>
                    <a:pt x="2782" y="2297"/>
                  </a:lnTo>
                  <a:lnTo>
                    <a:pt x="2788" y="2300"/>
                  </a:lnTo>
                  <a:lnTo>
                    <a:pt x="2793" y="2304"/>
                  </a:lnTo>
                  <a:lnTo>
                    <a:pt x="2798" y="2308"/>
                  </a:lnTo>
                  <a:lnTo>
                    <a:pt x="2804" y="2316"/>
                  </a:lnTo>
                  <a:lnTo>
                    <a:pt x="2804" y="2413"/>
                  </a:lnTo>
                  <a:lnTo>
                    <a:pt x="2804" y="2413"/>
                  </a:lnTo>
                  <a:lnTo>
                    <a:pt x="2797" y="2421"/>
                  </a:lnTo>
                  <a:lnTo>
                    <a:pt x="2788" y="2428"/>
                  </a:lnTo>
                  <a:lnTo>
                    <a:pt x="2782" y="2432"/>
                  </a:lnTo>
                  <a:lnTo>
                    <a:pt x="2776" y="2434"/>
                  </a:lnTo>
                  <a:lnTo>
                    <a:pt x="2769" y="2436"/>
                  </a:lnTo>
                  <a:lnTo>
                    <a:pt x="2762" y="2437"/>
                  </a:lnTo>
                  <a:lnTo>
                    <a:pt x="2762" y="2437"/>
                  </a:lnTo>
                  <a:lnTo>
                    <a:pt x="2762" y="2437"/>
                  </a:lnTo>
                  <a:close/>
                  <a:moveTo>
                    <a:pt x="742" y="2310"/>
                  </a:moveTo>
                  <a:lnTo>
                    <a:pt x="742" y="2310"/>
                  </a:lnTo>
                  <a:lnTo>
                    <a:pt x="734" y="2305"/>
                  </a:lnTo>
                  <a:lnTo>
                    <a:pt x="724" y="2300"/>
                  </a:lnTo>
                  <a:lnTo>
                    <a:pt x="713" y="2298"/>
                  </a:lnTo>
                  <a:lnTo>
                    <a:pt x="702" y="2297"/>
                  </a:lnTo>
                  <a:lnTo>
                    <a:pt x="702" y="2297"/>
                  </a:lnTo>
                  <a:lnTo>
                    <a:pt x="692" y="2298"/>
                  </a:lnTo>
                  <a:lnTo>
                    <a:pt x="682" y="2300"/>
                  </a:lnTo>
                  <a:lnTo>
                    <a:pt x="675" y="2305"/>
                  </a:lnTo>
                  <a:lnTo>
                    <a:pt x="669" y="2311"/>
                  </a:lnTo>
                  <a:lnTo>
                    <a:pt x="664" y="2319"/>
                  </a:lnTo>
                  <a:lnTo>
                    <a:pt x="662" y="2328"/>
                  </a:lnTo>
                  <a:lnTo>
                    <a:pt x="659" y="2341"/>
                  </a:lnTo>
                  <a:lnTo>
                    <a:pt x="658" y="2354"/>
                  </a:lnTo>
                  <a:lnTo>
                    <a:pt x="658" y="2487"/>
                  </a:lnTo>
                  <a:lnTo>
                    <a:pt x="598" y="2487"/>
                  </a:lnTo>
                  <a:lnTo>
                    <a:pt x="598" y="2242"/>
                  </a:lnTo>
                  <a:lnTo>
                    <a:pt x="658" y="2242"/>
                  </a:lnTo>
                  <a:lnTo>
                    <a:pt x="658" y="2262"/>
                  </a:lnTo>
                  <a:lnTo>
                    <a:pt x="658" y="2262"/>
                  </a:lnTo>
                  <a:lnTo>
                    <a:pt x="664" y="2256"/>
                  </a:lnTo>
                  <a:lnTo>
                    <a:pt x="670" y="2250"/>
                  </a:lnTo>
                  <a:lnTo>
                    <a:pt x="676" y="2247"/>
                  </a:lnTo>
                  <a:lnTo>
                    <a:pt x="684" y="2243"/>
                  </a:lnTo>
                  <a:lnTo>
                    <a:pt x="690" y="2239"/>
                  </a:lnTo>
                  <a:lnTo>
                    <a:pt x="697" y="2238"/>
                  </a:lnTo>
                  <a:lnTo>
                    <a:pt x="706" y="2237"/>
                  </a:lnTo>
                  <a:lnTo>
                    <a:pt x="713" y="2236"/>
                  </a:lnTo>
                  <a:lnTo>
                    <a:pt x="713" y="2236"/>
                  </a:lnTo>
                  <a:lnTo>
                    <a:pt x="725" y="2237"/>
                  </a:lnTo>
                  <a:lnTo>
                    <a:pt x="737" y="2240"/>
                  </a:lnTo>
                  <a:lnTo>
                    <a:pt x="750" y="2245"/>
                  </a:lnTo>
                  <a:lnTo>
                    <a:pt x="759" y="2251"/>
                  </a:lnTo>
                  <a:lnTo>
                    <a:pt x="742" y="2310"/>
                  </a:lnTo>
                  <a:lnTo>
                    <a:pt x="742" y="2310"/>
                  </a:lnTo>
                  <a:close/>
                  <a:moveTo>
                    <a:pt x="266" y="2242"/>
                  </a:moveTo>
                  <a:lnTo>
                    <a:pt x="325" y="2242"/>
                  </a:lnTo>
                  <a:lnTo>
                    <a:pt x="256" y="2487"/>
                  </a:lnTo>
                  <a:lnTo>
                    <a:pt x="204" y="2487"/>
                  </a:lnTo>
                  <a:lnTo>
                    <a:pt x="177" y="2386"/>
                  </a:lnTo>
                  <a:lnTo>
                    <a:pt x="177" y="2386"/>
                  </a:lnTo>
                  <a:lnTo>
                    <a:pt x="163" y="2332"/>
                  </a:lnTo>
                  <a:lnTo>
                    <a:pt x="163" y="2332"/>
                  </a:lnTo>
                  <a:lnTo>
                    <a:pt x="157" y="2358"/>
                  </a:lnTo>
                  <a:lnTo>
                    <a:pt x="150" y="2387"/>
                  </a:lnTo>
                  <a:lnTo>
                    <a:pt x="122" y="2487"/>
                  </a:lnTo>
                  <a:lnTo>
                    <a:pt x="69" y="2487"/>
                  </a:lnTo>
                  <a:lnTo>
                    <a:pt x="69" y="2486"/>
                  </a:lnTo>
                  <a:lnTo>
                    <a:pt x="0" y="2242"/>
                  </a:lnTo>
                  <a:lnTo>
                    <a:pt x="63" y="2242"/>
                  </a:lnTo>
                  <a:lnTo>
                    <a:pt x="85" y="2333"/>
                  </a:lnTo>
                  <a:lnTo>
                    <a:pt x="85" y="2333"/>
                  </a:lnTo>
                  <a:lnTo>
                    <a:pt x="91" y="2362"/>
                  </a:lnTo>
                  <a:lnTo>
                    <a:pt x="97" y="2393"/>
                  </a:lnTo>
                  <a:lnTo>
                    <a:pt x="97" y="2393"/>
                  </a:lnTo>
                  <a:lnTo>
                    <a:pt x="105" y="2362"/>
                  </a:lnTo>
                  <a:lnTo>
                    <a:pt x="112" y="2332"/>
                  </a:lnTo>
                  <a:lnTo>
                    <a:pt x="138" y="2242"/>
                  </a:lnTo>
                  <a:lnTo>
                    <a:pt x="190" y="2242"/>
                  </a:lnTo>
                  <a:lnTo>
                    <a:pt x="216" y="2332"/>
                  </a:lnTo>
                  <a:lnTo>
                    <a:pt x="216" y="2332"/>
                  </a:lnTo>
                  <a:lnTo>
                    <a:pt x="223" y="2361"/>
                  </a:lnTo>
                  <a:lnTo>
                    <a:pt x="230" y="2394"/>
                  </a:lnTo>
                  <a:lnTo>
                    <a:pt x="230" y="2394"/>
                  </a:lnTo>
                  <a:lnTo>
                    <a:pt x="235" y="2366"/>
                  </a:lnTo>
                  <a:lnTo>
                    <a:pt x="243" y="2332"/>
                  </a:lnTo>
                  <a:lnTo>
                    <a:pt x="266" y="2242"/>
                  </a:lnTo>
                  <a:lnTo>
                    <a:pt x="266" y="2242"/>
                  </a:lnTo>
                  <a:close/>
                  <a:moveTo>
                    <a:pt x="448" y="2236"/>
                  </a:moveTo>
                  <a:lnTo>
                    <a:pt x="448" y="2236"/>
                  </a:lnTo>
                  <a:lnTo>
                    <a:pt x="438" y="2237"/>
                  </a:lnTo>
                  <a:lnTo>
                    <a:pt x="425" y="2238"/>
                  </a:lnTo>
                  <a:lnTo>
                    <a:pt x="414" y="2242"/>
                  </a:lnTo>
                  <a:lnTo>
                    <a:pt x="405" y="2245"/>
                  </a:lnTo>
                  <a:lnTo>
                    <a:pt x="395" y="2250"/>
                  </a:lnTo>
                  <a:lnTo>
                    <a:pt x="385" y="2256"/>
                  </a:lnTo>
                  <a:lnTo>
                    <a:pt x="377" y="2264"/>
                  </a:lnTo>
                  <a:lnTo>
                    <a:pt x="369" y="2272"/>
                  </a:lnTo>
                  <a:lnTo>
                    <a:pt x="362" y="2281"/>
                  </a:lnTo>
                  <a:lnTo>
                    <a:pt x="356" y="2290"/>
                  </a:lnTo>
                  <a:lnTo>
                    <a:pt x="350" y="2301"/>
                  </a:lnTo>
                  <a:lnTo>
                    <a:pt x="346" y="2312"/>
                  </a:lnTo>
                  <a:lnTo>
                    <a:pt x="342" y="2325"/>
                  </a:lnTo>
                  <a:lnTo>
                    <a:pt x="340" y="2337"/>
                  </a:lnTo>
                  <a:lnTo>
                    <a:pt x="338" y="2350"/>
                  </a:lnTo>
                  <a:lnTo>
                    <a:pt x="338" y="2365"/>
                  </a:lnTo>
                  <a:lnTo>
                    <a:pt x="338" y="2365"/>
                  </a:lnTo>
                  <a:lnTo>
                    <a:pt x="338" y="2378"/>
                  </a:lnTo>
                  <a:lnTo>
                    <a:pt x="340" y="2392"/>
                  </a:lnTo>
                  <a:lnTo>
                    <a:pt x="342" y="2404"/>
                  </a:lnTo>
                  <a:lnTo>
                    <a:pt x="346" y="2416"/>
                  </a:lnTo>
                  <a:lnTo>
                    <a:pt x="350" y="2427"/>
                  </a:lnTo>
                  <a:lnTo>
                    <a:pt x="356" y="2438"/>
                  </a:lnTo>
                  <a:lnTo>
                    <a:pt x="362" y="2448"/>
                  </a:lnTo>
                  <a:lnTo>
                    <a:pt x="369" y="2456"/>
                  </a:lnTo>
                  <a:lnTo>
                    <a:pt x="377" y="2465"/>
                  </a:lnTo>
                  <a:lnTo>
                    <a:pt x="385" y="2472"/>
                  </a:lnTo>
                  <a:lnTo>
                    <a:pt x="395" y="2478"/>
                  </a:lnTo>
                  <a:lnTo>
                    <a:pt x="405" y="2483"/>
                  </a:lnTo>
                  <a:lnTo>
                    <a:pt x="414" y="2487"/>
                  </a:lnTo>
                  <a:lnTo>
                    <a:pt x="425" y="2491"/>
                  </a:lnTo>
                  <a:lnTo>
                    <a:pt x="438" y="2492"/>
                  </a:lnTo>
                  <a:lnTo>
                    <a:pt x="448" y="2493"/>
                  </a:lnTo>
                  <a:lnTo>
                    <a:pt x="448" y="2493"/>
                  </a:lnTo>
                  <a:lnTo>
                    <a:pt x="461" y="2492"/>
                  </a:lnTo>
                  <a:lnTo>
                    <a:pt x="473" y="2491"/>
                  </a:lnTo>
                  <a:lnTo>
                    <a:pt x="484" y="2487"/>
                  </a:lnTo>
                  <a:lnTo>
                    <a:pt x="494" y="2483"/>
                  </a:lnTo>
                  <a:lnTo>
                    <a:pt x="503" y="2478"/>
                  </a:lnTo>
                  <a:lnTo>
                    <a:pt x="513" y="2472"/>
                  </a:lnTo>
                  <a:lnTo>
                    <a:pt x="522" y="2465"/>
                  </a:lnTo>
                  <a:lnTo>
                    <a:pt x="529" y="2456"/>
                  </a:lnTo>
                  <a:lnTo>
                    <a:pt x="536" y="2448"/>
                  </a:lnTo>
                  <a:lnTo>
                    <a:pt x="542" y="2438"/>
                  </a:lnTo>
                  <a:lnTo>
                    <a:pt x="547" y="2427"/>
                  </a:lnTo>
                  <a:lnTo>
                    <a:pt x="552" y="2416"/>
                  </a:lnTo>
                  <a:lnTo>
                    <a:pt x="556" y="2404"/>
                  </a:lnTo>
                  <a:lnTo>
                    <a:pt x="558" y="2392"/>
                  </a:lnTo>
                  <a:lnTo>
                    <a:pt x="561" y="2378"/>
                  </a:lnTo>
                  <a:lnTo>
                    <a:pt x="561" y="2365"/>
                  </a:lnTo>
                  <a:lnTo>
                    <a:pt x="561" y="2365"/>
                  </a:lnTo>
                  <a:lnTo>
                    <a:pt x="561" y="2350"/>
                  </a:lnTo>
                  <a:lnTo>
                    <a:pt x="558" y="2337"/>
                  </a:lnTo>
                  <a:lnTo>
                    <a:pt x="556" y="2325"/>
                  </a:lnTo>
                  <a:lnTo>
                    <a:pt x="552" y="2312"/>
                  </a:lnTo>
                  <a:lnTo>
                    <a:pt x="547" y="2301"/>
                  </a:lnTo>
                  <a:lnTo>
                    <a:pt x="542" y="2290"/>
                  </a:lnTo>
                  <a:lnTo>
                    <a:pt x="536" y="2281"/>
                  </a:lnTo>
                  <a:lnTo>
                    <a:pt x="529" y="2272"/>
                  </a:lnTo>
                  <a:lnTo>
                    <a:pt x="522" y="2264"/>
                  </a:lnTo>
                  <a:lnTo>
                    <a:pt x="513" y="2256"/>
                  </a:lnTo>
                  <a:lnTo>
                    <a:pt x="503" y="2250"/>
                  </a:lnTo>
                  <a:lnTo>
                    <a:pt x="494" y="2245"/>
                  </a:lnTo>
                  <a:lnTo>
                    <a:pt x="484" y="2242"/>
                  </a:lnTo>
                  <a:lnTo>
                    <a:pt x="473" y="2238"/>
                  </a:lnTo>
                  <a:lnTo>
                    <a:pt x="461" y="2237"/>
                  </a:lnTo>
                  <a:lnTo>
                    <a:pt x="448" y="2236"/>
                  </a:lnTo>
                  <a:lnTo>
                    <a:pt x="448" y="2236"/>
                  </a:lnTo>
                  <a:lnTo>
                    <a:pt x="448" y="2236"/>
                  </a:lnTo>
                  <a:close/>
                  <a:moveTo>
                    <a:pt x="448" y="2436"/>
                  </a:moveTo>
                  <a:lnTo>
                    <a:pt x="448" y="2436"/>
                  </a:lnTo>
                  <a:lnTo>
                    <a:pt x="438" y="2434"/>
                  </a:lnTo>
                  <a:lnTo>
                    <a:pt x="428" y="2431"/>
                  </a:lnTo>
                  <a:lnTo>
                    <a:pt x="420" y="2425"/>
                  </a:lnTo>
                  <a:lnTo>
                    <a:pt x="413" y="2416"/>
                  </a:lnTo>
                  <a:lnTo>
                    <a:pt x="407" y="2406"/>
                  </a:lnTo>
                  <a:lnTo>
                    <a:pt x="402" y="2394"/>
                  </a:lnTo>
                  <a:lnTo>
                    <a:pt x="400" y="2380"/>
                  </a:lnTo>
                  <a:lnTo>
                    <a:pt x="400" y="2365"/>
                  </a:lnTo>
                  <a:lnTo>
                    <a:pt x="400" y="2365"/>
                  </a:lnTo>
                  <a:lnTo>
                    <a:pt x="400" y="2349"/>
                  </a:lnTo>
                  <a:lnTo>
                    <a:pt x="402" y="2334"/>
                  </a:lnTo>
                  <a:lnTo>
                    <a:pt x="407" y="2323"/>
                  </a:lnTo>
                  <a:lnTo>
                    <a:pt x="413" y="2312"/>
                  </a:lnTo>
                  <a:lnTo>
                    <a:pt x="420" y="2304"/>
                  </a:lnTo>
                  <a:lnTo>
                    <a:pt x="428" y="2298"/>
                  </a:lnTo>
                  <a:lnTo>
                    <a:pt x="438" y="2294"/>
                  </a:lnTo>
                  <a:lnTo>
                    <a:pt x="448" y="2293"/>
                  </a:lnTo>
                  <a:lnTo>
                    <a:pt x="448" y="2293"/>
                  </a:lnTo>
                  <a:lnTo>
                    <a:pt x="459" y="2294"/>
                  </a:lnTo>
                  <a:lnTo>
                    <a:pt x="469" y="2298"/>
                  </a:lnTo>
                  <a:lnTo>
                    <a:pt x="478" y="2304"/>
                  </a:lnTo>
                  <a:lnTo>
                    <a:pt x="485" y="2312"/>
                  </a:lnTo>
                  <a:lnTo>
                    <a:pt x="491" y="2323"/>
                  </a:lnTo>
                  <a:lnTo>
                    <a:pt x="495" y="2334"/>
                  </a:lnTo>
                  <a:lnTo>
                    <a:pt x="497" y="2349"/>
                  </a:lnTo>
                  <a:lnTo>
                    <a:pt x="498" y="2365"/>
                  </a:lnTo>
                  <a:lnTo>
                    <a:pt x="498" y="2365"/>
                  </a:lnTo>
                  <a:lnTo>
                    <a:pt x="497" y="2380"/>
                  </a:lnTo>
                  <a:lnTo>
                    <a:pt x="495" y="2394"/>
                  </a:lnTo>
                  <a:lnTo>
                    <a:pt x="491" y="2406"/>
                  </a:lnTo>
                  <a:lnTo>
                    <a:pt x="485" y="2416"/>
                  </a:lnTo>
                  <a:lnTo>
                    <a:pt x="478" y="2425"/>
                  </a:lnTo>
                  <a:lnTo>
                    <a:pt x="469" y="2431"/>
                  </a:lnTo>
                  <a:lnTo>
                    <a:pt x="459" y="2434"/>
                  </a:lnTo>
                  <a:lnTo>
                    <a:pt x="448" y="2436"/>
                  </a:lnTo>
                  <a:lnTo>
                    <a:pt x="448" y="2436"/>
                  </a:lnTo>
                  <a:lnTo>
                    <a:pt x="448" y="2436"/>
                  </a:lnTo>
                  <a:close/>
                  <a:moveTo>
                    <a:pt x="2506" y="2310"/>
                  </a:moveTo>
                  <a:lnTo>
                    <a:pt x="2506" y="2310"/>
                  </a:lnTo>
                  <a:lnTo>
                    <a:pt x="2496" y="2305"/>
                  </a:lnTo>
                  <a:lnTo>
                    <a:pt x="2486" y="2300"/>
                  </a:lnTo>
                  <a:lnTo>
                    <a:pt x="2475" y="2298"/>
                  </a:lnTo>
                  <a:lnTo>
                    <a:pt x="2465" y="2297"/>
                  </a:lnTo>
                  <a:lnTo>
                    <a:pt x="2465" y="2297"/>
                  </a:lnTo>
                  <a:lnTo>
                    <a:pt x="2455" y="2298"/>
                  </a:lnTo>
                  <a:lnTo>
                    <a:pt x="2446" y="2300"/>
                  </a:lnTo>
                  <a:lnTo>
                    <a:pt x="2439" y="2305"/>
                  </a:lnTo>
                  <a:lnTo>
                    <a:pt x="2433" y="2311"/>
                  </a:lnTo>
                  <a:lnTo>
                    <a:pt x="2428" y="2319"/>
                  </a:lnTo>
                  <a:lnTo>
                    <a:pt x="2424" y="2328"/>
                  </a:lnTo>
                  <a:lnTo>
                    <a:pt x="2422" y="2341"/>
                  </a:lnTo>
                  <a:lnTo>
                    <a:pt x="2422" y="2354"/>
                  </a:lnTo>
                  <a:lnTo>
                    <a:pt x="2422" y="2487"/>
                  </a:lnTo>
                  <a:lnTo>
                    <a:pt x="2361" y="2487"/>
                  </a:lnTo>
                  <a:lnTo>
                    <a:pt x="2361" y="2242"/>
                  </a:lnTo>
                  <a:lnTo>
                    <a:pt x="2422" y="2242"/>
                  </a:lnTo>
                  <a:lnTo>
                    <a:pt x="2422" y="2262"/>
                  </a:lnTo>
                  <a:lnTo>
                    <a:pt x="2422" y="2262"/>
                  </a:lnTo>
                  <a:lnTo>
                    <a:pt x="2426" y="2256"/>
                  </a:lnTo>
                  <a:lnTo>
                    <a:pt x="2433" y="2250"/>
                  </a:lnTo>
                  <a:lnTo>
                    <a:pt x="2439" y="2247"/>
                  </a:lnTo>
                  <a:lnTo>
                    <a:pt x="2446" y="2243"/>
                  </a:lnTo>
                  <a:lnTo>
                    <a:pt x="2453" y="2239"/>
                  </a:lnTo>
                  <a:lnTo>
                    <a:pt x="2461" y="2238"/>
                  </a:lnTo>
                  <a:lnTo>
                    <a:pt x="2468" y="2237"/>
                  </a:lnTo>
                  <a:lnTo>
                    <a:pt x="2475" y="2236"/>
                  </a:lnTo>
                  <a:lnTo>
                    <a:pt x="2475" y="2236"/>
                  </a:lnTo>
                  <a:lnTo>
                    <a:pt x="2487" y="2237"/>
                  </a:lnTo>
                  <a:lnTo>
                    <a:pt x="2500" y="2240"/>
                  </a:lnTo>
                  <a:lnTo>
                    <a:pt x="2512" y="2245"/>
                  </a:lnTo>
                  <a:lnTo>
                    <a:pt x="2522" y="2251"/>
                  </a:lnTo>
                  <a:lnTo>
                    <a:pt x="2506" y="2310"/>
                  </a:lnTo>
                  <a:lnTo>
                    <a:pt x="2506" y="2310"/>
                  </a:lnTo>
                  <a:close/>
                  <a:moveTo>
                    <a:pt x="2028" y="2242"/>
                  </a:moveTo>
                  <a:lnTo>
                    <a:pt x="2088" y="2242"/>
                  </a:lnTo>
                  <a:lnTo>
                    <a:pt x="2018" y="2487"/>
                  </a:lnTo>
                  <a:lnTo>
                    <a:pt x="1966" y="2487"/>
                  </a:lnTo>
                  <a:lnTo>
                    <a:pt x="1939" y="2386"/>
                  </a:lnTo>
                  <a:lnTo>
                    <a:pt x="1939" y="2386"/>
                  </a:lnTo>
                  <a:lnTo>
                    <a:pt x="1926" y="2332"/>
                  </a:lnTo>
                  <a:lnTo>
                    <a:pt x="1926" y="2332"/>
                  </a:lnTo>
                  <a:lnTo>
                    <a:pt x="1919" y="2358"/>
                  </a:lnTo>
                  <a:lnTo>
                    <a:pt x="1912" y="2387"/>
                  </a:lnTo>
                  <a:lnTo>
                    <a:pt x="1885" y="2487"/>
                  </a:lnTo>
                  <a:lnTo>
                    <a:pt x="1833" y="2487"/>
                  </a:lnTo>
                  <a:lnTo>
                    <a:pt x="1832" y="2486"/>
                  </a:lnTo>
                  <a:lnTo>
                    <a:pt x="1763" y="2242"/>
                  </a:lnTo>
                  <a:lnTo>
                    <a:pt x="1826" y="2242"/>
                  </a:lnTo>
                  <a:lnTo>
                    <a:pt x="1849" y="2333"/>
                  </a:lnTo>
                  <a:lnTo>
                    <a:pt x="1849" y="2333"/>
                  </a:lnTo>
                  <a:lnTo>
                    <a:pt x="1855" y="2362"/>
                  </a:lnTo>
                  <a:lnTo>
                    <a:pt x="1861" y="2393"/>
                  </a:lnTo>
                  <a:lnTo>
                    <a:pt x="1861" y="2393"/>
                  </a:lnTo>
                  <a:lnTo>
                    <a:pt x="1867" y="2362"/>
                  </a:lnTo>
                  <a:lnTo>
                    <a:pt x="1876" y="2332"/>
                  </a:lnTo>
                  <a:lnTo>
                    <a:pt x="1901" y="2242"/>
                  </a:lnTo>
                  <a:lnTo>
                    <a:pt x="1952" y="2242"/>
                  </a:lnTo>
                  <a:lnTo>
                    <a:pt x="1978" y="2332"/>
                  </a:lnTo>
                  <a:lnTo>
                    <a:pt x="1978" y="2332"/>
                  </a:lnTo>
                  <a:lnTo>
                    <a:pt x="1985" y="2361"/>
                  </a:lnTo>
                  <a:lnTo>
                    <a:pt x="1993" y="2394"/>
                  </a:lnTo>
                  <a:lnTo>
                    <a:pt x="1993" y="2394"/>
                  </a:lnTo>
                  <a:lnTo>
                    <a:pt x="1999" y="2366"/>
                  </a:lnTo>
                  <a:lnTo>
                    <a:pt x="2006" y="2332"/>
                  </a:lnTo>
                  <a:lnTo>
                    <a:pt x="2028" y="2242"/>
                  </a:lnTo>
                  <a:lnTo>
                    <a:pt x="2028" y="2242"/>
                  </a:lnTo>
                  <a:close/>
                  <a:moveTo>
                    <a:pt x="2211" y="2236"/>
                  </a:moveTo>
                  <a:lnTo>
                    <a:pt x="2211" y="2236"/>
                  </a:lnTo>
                  <a:lnTo>
                    <a:pt x="2200" y="2237"/>
                  </a:lnTo>
                  <a:lnTo>
                    <a:pt x="2188" y="2238"/>
                  </a:lnTo>
                  <a:lnTo>
                    <a:pt x="2177" y="2242"/>
                  </a:lnTo>
                  <a:lnTo>
                    <a:pt x="2167" y="2245"/>
                  </a:lnTo>
                  <a:lnTo>
                    <a:pt x="2157" y="2250"/>
                  </a:lnTo>
                  <a:lnTo>
                    <a:pt x="2147" y="2258"/>
                  </a:lnTo>
                  <a:lnTo>
                    <a:pt x="2139" y="2264"/>
                  </a:lnTo>
                  <a:lnTo>
                    <a:pt x="2132" y="2272"/>
                  </a:lnTo>
                  <a:lnTo>
                    <a:pt x="2124" y="2281"/>
                  </a:lnTo>
                  <a:lnTo>
                    <a:pt x="2118" y="2290"/>
                  </a:lnTo>
                  <a:lnTo>
                    <a:pt x="2112" y="2301"/>
                  </a:lnTo>
                  <a:lnTo>
                    <a:pt x="2108" y="2312"/>
                  </a:lnTo>
                  <a:lnTo>
                    <a:pt x="2105" y="2325"/>
                  </a:lnTo>
                  <a:lnTo>
                    <a:pt x="2101" y="2338"/>
                  </a:lnTo>
                  <a:lnTo>
                    <a:pt x="2100" y="2350"/>
                  </a:lnTo>
                  <a:lnTo>
                    <a:pt x="2100" y="2365"/>
                  </a:lnTo>
                  <a:lnTo>
                    <a:pt x="2100" y="2365"/>
                  </a:lnTo>
                  <a:lnTo>
                    <a:pt x="2100" y="2378"/>
                  </a:lnTo>
                  <a:lnTo>
                    <a:pt x="2101" y="2392"/>
                  </a:lnTo>
                  <a:lnTo>
                    <a:pt x="2105" y="2404"/>
                  </a:lnTo>
                  <a:lnTo>
                    <a:pt x="2108" y="2416"/>
                  </a:lnTo>
                  <a:lnTo>
                    <a:pt x="2112" y="2427"/>
                  </a:lnTo>
                  <a:lnTo>
                    <a:pt x="2118" y="2438"/>
                  </a:lnTo>
                  <a:lnTo>
                    <a:pt x="2124" y="2448"/>
                  </a:lnTo>
                  <a:lnTo>
                    <a:pt x="2132" y="2456"/>
                  </a:lnTo>
                  <a:lnTo>
                    <a:pt x="2139" y="2465"/>
                  </a:lnTo>
                  <a:lnTo>
                    <a:pt x="2147" y="2472"/>
                  </a:lnTo>
                  <a:lnTo>
                    <a:pt x="2157" y="2478"/>
                  </a:lnTo>
                  <a:lnTo>
                    <a:pt x="2167" y="2483"/>
                  </a:lnTo>
                  <a:lnTo>
                    <a:pt x="2177" y="2487"/>
                  </a:lnTo>
                  <a:lnTo>
                    <a:pt x="2188" y="2491"/>
                  </a:lnTo>
                  <a:lnTo>
                    <a:pt x="2200" y="2492"/>
                  </a:lnTo>
                  <a:lnTo>
                    <a:pt x="2211" y="2493"/>
                  </a:lnTo>
                  <a:lnTo>
                    <a:pt x="2211" y="2493"/>
                  </a:lnTo>
                  <a:lnTo>
                    <a:pt x="2223" y="2492"/>
                  </a:lnTo>
                  <a:lnTo>
                    <a:pt x="2235" y="2491"/>
                  </a:lnTo>
                  <a:lnTo>
                    <a:pt x="2246" y="2487"/>
                  </a:lnTo>
                  <a:lnTo>
                    <a:pt x="2256" y="2483"/>
                  </a:lnTo>
                  <a:lnTo>
                    <a:pt x="2266" y="2478"/>
                  </a:lnTo>
                  <a:lnTo>
                    <a:pt x="2275" y="2472"/>
                  </a:lnTo>
                  <a:lnTo>
                    <a:pt x="2284" y="2465"/>
                  </a:lnTo>
                  <a:lnTo>
                    <a:pt x="2291" y="2456"/>
                  </a:lnTo>
                  <a:lnTo>
                    <a:pt x="2299" y="2448"/>
                  </a:lnTo>
                  <a:lnTo>
                    <a:pt x="2305" y="2438"/>
                  </a:lnTo>
                  <a:lnTo>
                    <a:pt x="2309" y="2427"/>
                  </a:lnTo>
                  <a:lnTo>
                    <a:pt x="2314" y="2416"/>
                  </a:lnTo>
                  <a:lnTo>
                    <a:pt x="2318" y="2404"/>
                  </a:lnTo>
                  <a:lnTo>
                    <a:pt x="2320" y="2392"/>
                  </a:lnTo>
                  <a:lnTo>
                    <a:pt x="2323" y="2378"/>
                  </a:lnTo>
                  <a:lnTo>
                    <a:pt x="2323" y="2365"/>
                  </a:lnTo>
                  <a:lnTo>
                    <a:pt x="2323" y="2365"/>
                  </a:lnTo>
                  <a:lnTo>
                    <a:pt x="2323" y="2350"/>
                  </a:lnTo>
                  <a:lnTo>
                    <a:pt x="2320" y="2338"/>
                  </a:lnTo>
                  <a:lnTo>
                    <a:pt x="2318" y="2325"/>
                  </a:lnTo>
                  <a:lnTo>
                    <a:pt x="2314" y="2312"/>
                  </a:lnTo>
                  <a:lnTo>
                    <a:pt x="2309" y="2301"/>
                  </a:lnTo>
                  <a:lnTo>
                    <a:pt x="2305" y="2290"/>
                  </a:lnTo>
                  <a:lnTo>
                    <a:pt x="2299" y="2281"/>
                  </a:lnTo>
                  <a:lnTo>
                    <a:pt x="2291" y="2272"/>
                  </a:lnTo>
                  <a:lnTo>
                    <a:pt x="2284" y="2264"/>
                  </a:lnTo>
                  <a:lnTo>
                    <a:pt x="2275" y="2258"/>
                  </a:lnTo>
                  <a:lnTo>
                    <a:pt x="2266" y="2250"/>
                  </a:lnTo>
                  <a:lnTo>
                    <a:pt x="2256" y="2245"/>
                  </a:lnTo>
                  <a:lnTo>
                    <a:pt x="2246" y="2242"/>
                  </a:lnTo>
                  <a:lnTo>
                    <a:pt x="2235" y="2238"/>
                  </a:lnTo>
                  <a:lnTo>
                    <a:pt x="2223" y="2237"/>
                  </a:lnTo>
                  <a:lnTo>
                    <a:pt x="2211" y="2236"/>
                  </a:lnTo>
                  <a:lnTo>
                    <a:pt x="2211" y="2236"/>
                  </a:lnTo>
                  <a:lnTo>
                    <a:pt x="2211" y="2236"/>
                  </a:lnTo>
                  <a:close/>
                  <a:moveTo>
                    <a:pt x="2211" y="2436"/>
                  </a:moveTo>
                  <a:lnTo>
                    <a:pt x="2211" y="2436"/>
                  </a:lnTo>
                  <a:lnTo>
                    <a:pt x="2200" y="2434"/>
                  </a:lnTo>
                  <a:lnTo>
                    <a:pt x="2191" y="2431"/>
                  </a:lnTo>
                  <a:lnTo>
                    <a:pt x="2183" y="2425"/>
                  </a:lnTo>
                  <a:lnTo>
                    <a:pt x="2175" y="2416"/>
                  </a:lnTo>
                  <a:lnTo>
                    <a:pt x="2169" y="2406"/>
                  </a:lnTo>
                  <a:lnTo>
                    <a:pt x="2164" y="2394"/>
                  </a:lnTo>
                  <a:lnTo>
                    <a:pt x="2162" y="2380"/>
                  </a:lnTo>
                  <a:lnTo>
                    <a:pt x="2162" y="2365"/>
                  </a:lnTo>
                  <a:lnTo>
                    <a:pt x="2162" y="2365"/>
                  </a:lnTo>
                  <a:lnTo>
                    <a:pt x="2162" y="2349"/>
                  </a:lnTo>
                  <a:lnTo>
                    <a:pt x="2164" y="2336"/>
                  </a:lnTo>
                  <a:lnTo>
                    <a:pt x="2169" y="2323"/>
                  </a:lnTo>
                  <a:lnTo>
                    <a:pt x="2175" y="2312"/>
                  </a:lnTo>
                  <a:lnTo>
                    <a:pt x="2183" y="2304"/>
                  </a:lnTo>
                  <a:lnTo>
                    <a:pt x="2191" y="2298"/>
                  </a:lnTo>
                  <a:lnTo>
                    <a:pt x="2200" y="2294"/>
                  </a:lnTo>
                  <a:lnTo>
                    <a:pt x="2211" y="2293"/>
                  </a:lnTo>
                  <a:lnTo>
                    <a:pt x="2211" y="2293"/>
                  </a:lnTo>
                  <a:lnTo>
                    <a:pt x="2222" y="2294"/>
                  </a:lnTo>
                  <a:lnTo>
                    <a:pt x="2231" y="2298"/>
                  </a:lnTo>
                  <a:lnTo>
                    <a:pt x="2240" y="2304"/>
                  </a:lnTo>
                  <a:lnTo>
                    <a:pt x="2247" y="2312"/>
                  </a:lnTo>
                  <a:lnTo>
                    <a:pt x="2253" y="2323"/>
                  </a:lnTo>
                  <a:lnTo>
                    <a:pt x="2257" y="2336"/>
                  </a:lnTo>
                  <a:lnTo>
                    <a:pt x="2260" y="2349"/>
                  </a:lnTo>
                  <a:lnTo>
                    <a:pt x="2261" y="2365"/>
                  </a:lnTo>
                  <a:lnTo>
                    <a:pt x="2261" y="2365"/>
                  </a:lnTo>
                  <a:lnTo>
                    <a:pt x="2260" y="2380"/>
                  </a:lnTo>
                  <a:lnTo>
                    <a:pt x="2257" y="2394"/>
                  </a:lnTo>
                  <a:lnTo>
                    <a:pt x="2253" y="2406"/>
                  </a:lnTo>
                  <a:lnTo>
                    <a:pt x="2247" y="2416"/>
                  </a:lnTo>
                  <a:lnTo>
                    <a:pt x="2240" y="2425"/>
                  </a:lnTo>
                  <a:lnTo>
                    <a:pt x="2231" y="2431"/>
                  </a:lnTo>
                  <a:lnTo>
                    <a:pt x="2222" y="2434"/>
                  </a:lnTo>
                  <a:lnTo>
                    <a:pt x="2211" y="2436"/>
                  </a:lnTo>
                  <a:lnTo>
                    <a:pt x="2211" y="2436"/>
                  </a:lnTo>
                  <a:lnTo>
                    <a:pt x="2211" y="2436"/>
                  </a:lnTo>
                  <a:close/>
                  <a:moveTo>
                    <a:pt x="924" y="2322"/>
                  </a:moveTo>
                  <a:lnTo>
                    <a:pt x="998" y="2487"/>
                  </a:lnTo>
                  <a:lnTo>
                    <a:pt x="931" y="2487"/>
                  </a:lnTo>
                  <a:lnTo>
                    <a:pt x="880" y="2373"/>
                  </a:lnTo>
                  <a:lnTo>
                    <a:pt x="847" y="2414"/>
                  </a:lnTo>
                  <a:lnTo>
                    <a:pt x="847" y="2487"/>
                  </a:lnTo>
                  <a:lnTo>
                    <a:pt x="787" y="2487"/>
                  </a:lnTo>
                  <a:lnTo>
                    <a:pt x="787" y="2170"/>
                  </a:lnTo>
                  <a:lnTo>
                    <a:pt x="847" y="2139"/>
                  </a:lnTo>
                  <a:lnTo>
                    <a:pt x="847" y="2336"/>
                  </a:lnTo>
                  <a:lnTo>
                    <a:pt x="847" y="2336"/>
                  </a:lnTo>
                  <a:lnTo>
                    <a:pt x="870" y="2304"/>
                  </a:lnTo>
                  <a:lnTo>
                    <a:pt x="919" y="2242"/>
                  </a:lnTo>
                  <a:lnTo>
                    <a:pt x="990" y="2242"/>
                  </a:lnTo>
                  <a:lnTo>
                    <a:pt x="924" y="2322"/>
                  </a:lnTo>
                  <a:lnTo>
                    <a:pt x="924" y="2322"/>
                  </a:lnTo>
                  <a:close/>
                  <a:moveTo>
                    <a:pt x="1211" y="2487"/>
                  </a:moveTo>
                  <a:lnTo>
                    <a:pt x="1150" y="2487"/>
                  </a:lnTo>
                  <a:lnTo>
                    <a:pt x="1150" y="2242"/>
                  </a:lnTo>
                  <a:lnTo>
                    <a:pt x="1211" y="2242"/>
                  </a:lnTo>
                  <a:lnTo>
                    <a:pt x="1211" y="2262"/>
                  </a:lnTo>
                  <a:lnTo>
                    <a:pt x="1211" y="2262"/>
                  </a:lnTo>
                  <a:lnTo>
                    <a:pt x="1218" y="2256"/>
                  </a:lnTo>
                  <a:lnTo>
                    <a:pt x="1224" y="2251"/>
                  </a:lnTo>
                  <a:lnTo>
                    <a:pt x="1231" y="2247"/>
                  </a:lnTo>
                  <a:lnTo>
                    <a:pt x="1238" y="2243"/>
                  </a:lnTo>
                  <a:lnTo>
                    <a:pt x="1247" y="2240"/>
                  </a:lnTo>
                  <a:lnTo>
                    <a:pt x="1255" y="2238"/>
                  </a:lnTo>
                  <a:lnTo>
                    <a:pt x="1264" y="2237"/>
                  </a:lnTo>
                  <a:lnTo>
                    <a:pt x="1274" y="2236"/>
                  </a:lnTo>
                  <a:lnTo>
                    <a:pt x="1274" y="2236"/>
                  </a:lnTo>
                  <a:lnTo>
                    <a:pt x="1285" y="2237"/>
                  </a:lnTo>
                  <a:lnTo>
                    <a:pt x="1294" y="2238"/>
                  </a:lnTo>
                  <a:lnTo>
                    <a:pt x="1303" y="2240"/>
                  </a:lnTo>
                  <a:lnTo>
                    <a:pt x="1313" y="2243"/>
                  </a:lnTo>
                  <a:lnTo>
                    <a:pt x="1320" y="2248"/>
                  </a:lnTo>
                  <a:lnTo>
                    <a:pt x="1327" y="2253"/>
                  </a:lnTo>
                  <a:lnTo>
                    <a:pt x="1335" y="2258"/>
                  </a:lnTo>
                  <a:lnTo>
                    <a:pt x="1341" y="2265"/>
                  </a:lnTo>
                  <a:lnTo>
                    <a:pt x="1345" y="2272"/>
                  </a:lnTo>
                  <a:lnTo>
                    <a:pt x="1350" y="2281"/>
                  </a:lnTo>
                  <a:lnTo>
                    <a:pt x="1354" y="2289"/>
                  </a:lnTo>
                  <a:lnTo>
                    <a:pt x="1358" y="2300"/>
                  </a:lnTo>
                  <a:lnTo>
                    <a:pt x="1360" y="2311"/>
                  </a:lnTo>
                  <a:lnTo>
                    <a:pt x="1361" y="2322"/>
                  </a:lnTo>
                  <a:lnTo>
                    <a:pt x="1363" y="2334"/>
                  </a:lnTo>
                  <a:lnTo>
                    <a:pt x="1364" y="2348"/>
                  </a:lnTo>
                  <a:lnTo>
                    <a:pt x="1364" y="2487"/>
                  </a:lnTo>
                  <a:lnTo>
                    <a:pt x="1303" y="2487"/>
                  </a:lnTo>
                  <a:lnTo>
                    <a:pt x="1303" y="2351"/>
                  </a:lnTo>
                  <a:lnTo>
                    <a:pt x="1303" y="2351"/>
                  </a:lnTo>
                  <a:lnTo>
                    <a:pt x="1302" y="2338"/>
                  </a:lnTo>
                  <a:lnTo>
                    <a:pt x="1300" y="2325"/>
                  </a:lnTo>
                  <a:lnTo>
                    <a:pt x="1297" y="2315"/>
                  </a:lnTo>
                  <a:lnTo>
                    <a:pt x="1292" y="2306"/>
                  </a:lnTo>
                  <a:lnTo>
                    <a:pt x="1286" y="2300"/>
                  </a:lnTo>
                  <a:lnTo>
                    <a:pt x="1278" y="2295"/>
                  </a:lnTo>
                  <a:lnTo>
                    <a:pt x="1269" y="2293"/>
                  </a:lnTo>
                  <a:lnTo>
                    <a:pt x="1258" y="2292"/>
                  </a:lnTo>
                  <a:lnTo>
                    <a:pt x="1258" y="2292"/>
                  </a:lnTo>
                  <a:lnTo>
                    <a:pt x="1248" y="2293"/>
                  </a:lnTo>
                  <a:lnTo>
                    <a:pt x="1238" y="2295"/>
                  </a:lnTo>
                  <a:lnTo>
                    <a:pt x="1230" y="2300"/>
                  </a:lnTo>
                  <a:lnTo>
                    <a:pt x="1224" y="2308"/>
                  </a:lnTo>
                  <a:lnTo>
                    <a:pt x="1219" y="2315"/>
                  </a:lnTo>
                  <a:lnTo>
                    <a:pt x="1215" y="2326"/>
                  </a:lnTo>
                  <a:lnTo>
                    <a:pt x="1213" y="2338"/>
                  </a:lnTo>
                  <a:lnTo>
                    <a:pt x="1211" y="2351"/>
                  </a:lnTo>
                  <a:lnTo>
                    <a:pt x="1211" y="2487"/>
                  </a:lnTo>
                  <a:lnTo>
                    <a:pt x="1211" y="2487"/>
                  </a:lnTo>
                  <a:close/>
                  <a:moveTo>
                    <a:pt x="1555" y="2259"/>
                  </a:moveTo>
                  <a:lnTo>
                    <a:pt x="1555" y="2259"/>
                  </a:lnTo>
                  <a:lnTo>
                    <a:pt x="1549" y="2254"/>
                  </a:lnTo>
                  <a:lnTo>
                    <a:pt x="1543" y="2249"/>
                  </a:lnTo>
                  <a:lnTo>
                    <a:pt x="1537" y="2245"/>
                  </a:lnTo>
                  <a:lnTo>
                    <a:pt x="1530" y="2242"/>
                  </a:lnTo>
                  <a:lnTo>
                    <a:pt x="1522" y="2239"/>
                  </a:lnTo>
                  <a:lnTo>
                    <a:pt x="1515" y="2238"/>
                  </a:lnTo>
                  <a:lnTo>
                    <a:pt x="1508" y="2237"/>
                  </a:lnTo>
                  <a:lnTo>
                    <a:pt x="1500" y="2236"/>
                  </a:lnTo>
                  <a:lnTo>
                    <a:pt x="1500" y="2236"/>
                  </a:lnTo>
                  <a:lnTo>
                    <a:pt x="1489" y="2237"/>
                  </a:lnTo>
                  <a:lnTo>
                    <a:pt x="1480" y="2238"/>
                  </a:lnTo>
                  <a:lnTo>
                    <a:pt x="1470" y="2240"/>
                  </a:lnTo>
                  <a:lnTo>
                    <a:pt x="1460" y="2245"/>
                  </a:lnTo>
                  <a:lnTo>
                    <a:pt x="1452" y="2249"/>
                  </a:lnTo>
                  <a:lnTo>
                    <a:pt x="1444" y="2255"/>
                  </a:lnTo>
                  <a:lnTo>
                    <a:pt x="1437" y="2262"/>
                  </a:lnTo>
                  <a:lnTo>
                    <a:pt x="1430" y="2270"/>
                  </a:lnTo>
                  <a:lnTo>
                    <a:pt x="1423" y="2278"/>
                  </a:lnTo>
                  <a:lnTo>
                    <a:pt x="1419" y="2288"/>
                  </a:lnTo>
                  <a:lnTo>
                    <a:pt x="1414" y="2298"/>
                  </a:lnTo>
                  <a:lnTo>
                    <a:pt x="1410" y="2310"/>
                  </a:lnTo>
                  <a:lnTo>
                    <a:pt x="1408" y="2321"/>
                  </a:lnTo>
                  <a:lnTo>
                    <a:pt x="1405" y="2334"/>
                  </a:lnTo>
                  <a:lnTo>
                    <a:pt x="1404" y="2348"/>
                  </a:lnTo>
                  <a:lnTo>
                    <a:pt x="1404" y="2361"/>
                  </a:lnTo>
                  <a:lnTo>
                    <a:pt x="1404" y="2361"/>
                  </a:lnTo>
                  <a:lnTo>
                    <a:pt x="1404" y="2377"/>
                  </a:lnTo>
                  <a:lnTo>
                    <a:pt x="1405" y="2391"/>
                  </a:lnTo>
                  <a:lnTo>
                    <a:pt x="1408" y="2404"/>
                  </a:lnTo>
                  <a:lnTo>
                    <a:pt x="1410" y="2417"/>
                  </a:lnTo>
                  <a:lnTo>
                    <a:pt x="1414" y="2428"/>
                  </a:lnTo>
                  <a:lnTo>
                    <a:pt x="1419" y="2439"/>
                  </a:lnTo>
                  <a:lnTo>
                    <a:pt x="1423" y="2449"/>
                  </a:lnTo>
                  <a:lnTo>
                    <a:pt x="1430" y="2458"/>
                  </a:lnTo>
                  <a:lnTo>
                    <a:pt x="1436" y="2466"/>
                  </a:lnTo>
                  <a:lnTo>
                    <a:pt x="1443" y="2472"/>
                  </a:lnTo>
                  <a:lnTo>
                    <a:pt x="1450" y="2478"/>
                  </a:lnTo>
                  <a:lnTo>
                    <a:pt x="1459" y="2483"/>
                  </a:lnTo>
                  <a:lnTo>
                    <a:pt x="1469" y="2487"/>
                  </a:lnTo>
                  <a:lnTo>
                    <a:pt x="1478" y="2491"/>
                  </a:lnTo>
                  <a:lnTo>
                    <a:pt x="1488" y="2492"/>
                  </a:lnTo>
                  <a:lnTo>
                    <a:pt x="1499" y="2493"/>
                  </a:lnTo>
                  <a:lnTo>
                    <a:pt x="1499" y="2493"/>
                  </a:lnTo>
                  <a:lnTo>
                    <a:pt x="1506" y="2492"/>
                  </a:lnTo>
                  <a:lnTo>
                    <a:pt x="1515" y="2491"/>
                  </a:lnTo>
                  <a:lnTo>
                    <a:pt x="1522" y="2489"/>
                  </a:lnTo>
                  <a:lnTo>
                    <a:pt x="1530" y="2487"/>
                  </a:lnTo>
                  <a:lnTo>
                    <a:pt x="1536" y="2483"/>
                  </a:lnTo>
                  <a:lnTo>
                    <a:pt x="1543" y="2480"/>
                  </a:lnTo>
                  <a:lnTo>
                    <a:pt x="1549" y="2475"/>
                  </a:lnTo>
                  <a:lnTo>
                    <a:pt x="1555" y="2469"/>
                  </a:lnTo>
                  <a:lnTo>
                    <a:pt x="1555" y="2475"/>
                  </a:lnTo>
                  <a:lnTo>
                    <a:pt x="1555" y="2475"/>
                  </a:lnTo>
                  <a:lnTo>
                    <a:pt x="1555" y="2484"/>
                  </a:lnTo>
                  <a:lnTo>
                    <a:pt x="1554" y="2495"/>
                  </a:lnTo>
                  <a:lnTo>
                    <a:pt x="1550" y="2506"/>
                  </a:lnTo>
                  <a:lnTo>
                    <a:pt x="1548" y="2511"/>
                  </a:lnTo>
                  <a:lnTo>
                    <a:pt x="1545" y="2516"/>
                  </a:lnTo>
                  <a:lnTo>
                    <a:pt x="1540" y="2521"/>
                  </a:lnTo>
                  <a:lnTo>
                    <a:pt x="1536" y="2526"/>
                  </a:lnTo>
                  <a:lnTo>
                    <a:pt x="1530" y="2530"/>
                  </a:lnTo>
                  <a:lnTo>
                    <a:pt x="1522" y="2533"/>
                  </a:lnTo>
                  <a:lnTo>
                    <a:pt x="1512" y="2536"/>
                  </a:lnTo>
                  <a:lnTo>
                    <a:pt x="1503" y="2538"/>
                  </a:lnTo>
                  <a:lnTo>
                    <a:pt x="1491" y="2539"/>
                  </a:lnTo>
                  <a:lnTo>
                    <a:pt x="1476" y="2539"/>
                  </a:lnTo>
                  <a:lnTo>
                    <a:pt x="1473" y="2539"/>
                  </a:lnTo>
                  <a:lnTo>
                    <a:pt x="1495" y="2587"/>
                  </a:lnTo>
                  <a:lnTo>
                    <a:pt x="1497" y="2587"/>
                  </a:lnTo>
                  <a:lnTo>
                    <a:pt x="1497" y="2587"/>
                  </a:lnTo>
                  <a:lnTo>
                    <a:pt x="1511" y="2587"/>
                  </a:lnTo>
                  <a:lnTo>
                    <a:pt x="1525" y="2586"/>
                  </a:lnTo>
                  <a:lnTo>
                    <a:pt x="1537" y="2582"/>
                  </a:lnTo>
                  <a:lnTo>
                    <a:pt x="1549" y="2580"/>
                  </a:lnTo>
                  <a:lnTo>
                    <a:pt x="1560" y="2575"/>
                  </a:lnTo>
                  <a:lnTo>
                    <a:pt x="1570" y="2570"/>
                  </a:lnTo>
                  <a:lnTo>
                    <a:pt x="1578" y="2564"/>
                  </a:lnTo>
                  <a:lnTo>
                    <a:pt x="1586" y="2556"/>
                  </a:lnTo>
                  <a:lnTo>
                    <a:pt x="1593" y="2548"/>
                  </a:lnTo>
                  <a:lnTo>
                    <a:pt x="1599" y="2539"/>
                  </a:lnTo>
                  <a:lnTo>
                    <a:pt x="1604" y="2528"/>
                  </a:lnTo>
                  <a:lnTo>
                    <a:pt x="1608" y="2517"/>
                  </a:lnTo>
                  <a:lnTo>
                    <a:pt x="1611" y="2506"/>
                  </a:lnTo>
                  <a:lnTo>
                    <a:pt x="1614" y="2493"/>
                  </a:lnTo>
                  <a:lnTo>
                    <a:pt x="1615" y="2480"/>
                  </a:lnTo>
                  <a:lnTo>
                    <a:pt x="1615" y="2465"/>
                  </a:lnTo>
                  <a:lnTo>
                    <a:pt x="1615" y="2242"/>
                  </a:lnTo>
                  <a:lnTo>
                    <a:pt x="1555" y="2242"/>
                  </a:lnTo>
                  <a:lnTo>
                    <a:pt x="1555" y="2259"/>
                  </a:lnTo>
                  <a:lnTo>
                    <a:pt x="1555" y="2259"/>
                  </a:lnTo>
                  <a:close/>
                  <a:moveTo>
                    <a:pt x="1555" y="2316"/>
                  </a:moveTo>
                  <a:lnTo>
                    <a:pt x="1555" y="2413"/>
                  </a:lnTo>
                  <a:lnTo>
                    <a:pt x="1555" y="2413"/>
                  </a:lnTo>
                  <a:lnTo>
                    <a:pt x="1547" y="2421"/>
                  </a:lnTo>
                  <a:lnTo>
                    <a:pt x="1538" y="2430"/>
                  </a:lnTo>
                  <a:lnTo>
                    <a:pt x="1532" y="2432"/>
                  </a:lnTo>
                  <a:lnTo>
                    <a:pt x="1526" y="2434"/>
                  </a:lnTo>
                  <a:lnTo>
                    <a:pt x="1520" y="2436"/>
                  </a:lnTo>
                  <a:lnTo>
                    <a:pt x="1511" y="2437"/>
                  </a:lnTo>
                  <a:lnTo>
                    <a:pt x="1511" y="2437"/>
                  </a:lnTo>
                  <a:lnTo>
                    <a:pt x="1504" y="2436"/>
                  </a:lnTo>
                  <a:lnTo>
                    <a:pt x="1495" y="2433"/>
                  </a:lnTo>
                  <a:lnTo>
                    <a:pt x="1488" y="2430"/>
                  </a:lnTo>
                  <a:lnTo>
                    <a:pt x="1481" y="2422"/>
                  </a:lnTo>
                  <a:lnTo>
                    <a:pt x="1475" y="2413"/>
                  </a:lnTo>
                  <a:lnTo>
                    <a:pt x="1470" y="2399"/>
                  </a:lnTo>
                  <a:lnTo>
                    <a:pt x="1467" y="2382"/>
                  </a:lnTo>
                  <a:lnTo>
                    <a:pt x="1466" y="2360"/>
                  </a:lnTo>
                  <a:lnTo>
                    <a:pt x="1466" y="2360"/>
                  </a:lnTo>
                  <a:lnTo>
                    <a:pt x="1467" y="2342"/>
                  </a:lnTo>
                  <a:lnTo>
                    <a:pt x="1470" y="2326"/>
                  </a:lnTo>
                  <a:lnTo>
                    <a:pt x="1475" y="2314"/>
                  </a:lnTo>
                  <a:lnTo>
                    <a:pt x="1481" y="2305"/>
                  </a:lnTo>
                  <a:lnTo>
                    <a:pt x="1488" y="2299"/>
                  </a:lnTo>
                  <a:lnTo>
                    <a:pt x="1495" y="2294"/>
                  </a:lnTo>
                  <a:lnTo>
                    <a:pt x="1504" y="2293"/>
                  </a:lnTo>
                  <a:lnTo>
                    <a:pt x="1511" y="2292"/>
                  </a:lnTo>
                  <a:lnTo>
                    <a:pt x="1511" y="2292"/>
                  </a:lnTo>
                  <a:lnTo>
                    <a:pt x="1520" y="2293"/>
                  </a:lnTo>
                  <a:lnTo>
                    <a:pt x="1527" y="2294"/>
                  </a:lnTo>
                  <a:lnTo>
                    <a:pt x="1533" y="2297"/>
                  </a:lnTo>
                  <a:lnTo>
                    <a:pt x="1539" y="2300"/>
                  </a:lnTo>
                  <a:lnTo>
                    <a:pt x="1544" y="2304"/>
                  </a:lnTo>
                  <a:lnTo>
                    <a:pt x="1548" y="2308"/>
                  </a:lnTo>
                  <a:lnTo>
                    <a:pt x="1555" y="2316"/>
                  </a:lnTo>
                  <a:lnTo>
                    <a:pt x="1555" y="2316"/>
                  </a:lnTo>
                  <a:lnTo>
                    <a:pt x="1555" y="2316"/>
                  </a:lnTo>
                  <a:close/>
                  <a:moveTo>
                    <a:pt x="1036" y="2242"/>
                  </a:moveTo>
                  <a:lnTo>
                    <a:pt x="1097" y="2242"/>
                  </a:lnTo>
                  <a:lnTo>
                    <a:pt x="1097" y="2348"/>
                  </a:lnTo>
                  <a:lnTo>
                    <a:pt x="1097" y="2487"/>
                  </a:lnTo>
                  <a:lnTo>
                    <a:pt x="1036" y="2487"/>
                  </a:lnTo>
                  <a:lnTo>
                    <a:pt x="1036" y="2242"/>
                  </a:lnTo>
                  <a:lnTo>
                    <a:pt x="1036" y="2242"/>
                  </a:lnTo>
                  <a:close/>
                  <a:moveTo>
                    <a:pt x="1097" y="2176"/>
                  </a:moveTo>
                  <a:lnTo>
                    <a:pt x="1097" y="2206"/>
                  </a:lnTo>
                  <a:lnTo>
                    <a:pt x="1036" y="2206"/>
                  </a:lnTo>
                  <a:lnTo>
                    <a:pt x="1036" y="2145"/>
                  </a:lnTo>
                  <a:lnTo>
                    <a:pt x="1097" y="2145"/>
                  </a:lnTo>
                  <a:lnTo>
                    <a:pt x="1097" y="2176"/>
                  </a:lnTo>
                  <a:lnTo>
                    <a:pt x="1097" y="2176"/>
                  </a:lnTo>
                  <a:close/>
                  <a:moveTo>
                    <a:pt x="2550" y="2170"/>
                  </a:moveTo>
                  <a:lnTo>
                    <a:pt x="2611" y="2139"/>
                  </a:lnTo>
                  <a:lnTo>
                    <a:pt x="2611" y="2353"/>
                  </a:lnTo>
                  <a:lnTo>
                    <a:pt x="2611" y="2487"/>
                  </a:lnTo>
                  <a:lnTo>
                    <a:pt x="2550" y="2487"/>
                  </a:lnTo>
                  <a:lnTo>
                    <a:pt x="2550" y="2170"/>
                  </a:lnTo>
                  <a:lnTo>
                    <a:pt x="2550" y="2170"/>
                  </a:lnTo>
                  <a:close/>
                  <a:moveTo>
                    <a:pt x="439" y="837"/>
                  </a:moveTo>
                  <a:lnTo>
                    <a:pt x="938" y="837"/>
                  </a:lnTo>
                  <a:lnTo>
                    <a:pt x="938" y="547"/>
                  </a:lnTo>
                  <a:lnTo>
                    <a:pt x="439" y="547"/>
                  </a:lnTo>
                  <a:lnTo>
                    <a:pt x="439" y="319"/>
                  </a:lnTo>
                  <a:lnTo>
                    <a:pt x="992" y="319"/>
                  </a:lnTo>
                  <a:lnTo>
                    <a:pt x="808" y="0"/>
                  </a:lnTo>
                  <a:lnTo>
                    <a:pt x="24" y="0"/>
                  </a:lnTo>
                  <a:lnTo>
                    <a:pt x="24" y="1384"/>
                  </a:lnTo>
                  <a:lnTo>
                    <a:pt x="1130" y="1384"/>
                  </a:lnTo>
                  <a:lnTo>
                    <a:pt x="1130" y="1065"/>
                  </a:lnTo>
                  <a:lnTo>
                    <a:pt x="439" y="1065"/>
                  </a:lnTo>
                  <a:lnTo>
                    <a:pt x="439" y="837"/>
                  </a:lnTo>
                  <a:lnTo>
                    <a:pt x="439" y="837"/>
                  </a:lnTo>
                  <a:close/>
                  <a:moveTo>
                    <a:pt x="1866" y="0"/>
                  </a:moveTo>
                  <a:lnTo>
                    <a:pt x="1631" y="452"/>
                  </a:lnTo>
                  <a:lnTo>
                    <a:pt x="1397" y="0"/>
                  </a:lnTo>
                  <a:lnTo>
                    <a:pt x="938" y="0"/>
                  </a:lnTo>
                  <a:lnTo>
                    <a:pt x="1421" y="837"/>
                  </a:lnTo>
                  <a:lnTo>
                    <a:pt x="1421" y="1384"/>
                  </a:lnTo>
                  <a:lnTo>
                    <a:pt x="1834" y="1384"/>
                  </a:lnTo>
                  <a:lnTo>
                    <a:pt x="1834" y="837"/>
                  </a:lnTo>
                  <a:lnTo>
                    <a:pt x="2318" y="0"/>
                  </a:lnTo>
                  <a:lnTo>
                    <a:pt x="1866" y="0"/>
                  </a:lnTo>
                  <a:lnTo>
                    <a:pt x="186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6501" tIns="43250" rIns="86501" bIns="43250" numCol="1" anchor="t" anchorCtr="0" compatLnSpc="1">
              <a:prstTxWarp prst="textNoShape">
                <a:avLst/>
              </a:prstTxWarp>
            </a:bodyPr>
            <a:lstStyle/>
            <a:p>
              <a:pPr marL="0" marR="0" lvl="0" indent="0" defTabSz="1095508" eaLnBrk="1" fontAlgn="auto" latinLnBrk="0" hangingPunct="1">
                <a:lnSpc>
                  <a:spcPct val="100000"/>
                </a:lnSpc>
                <a:spcBef>
                  <a:spcPts val="0"/>
                </a:spcBef>
                <a:spcAft>
                  <a:spcPts val="0"/>
                </a:spcAft>
                <a:buClrTx/>
                <a:buSzTx/>
                <a:buFontTx/>
                <a:buNone/>
                <a:tabLst/>
                <a:defRPr/>
              </a:pPr>
              <a:endParaRPr kumimoji="0" lang="en-US" sz="1877" b="0" i="0" u="none" strike="noStrike" kern="0" cap="none" spc="0" normalizeH="0" baseline="0" noProof="0">
                <a:ln>
                  <a:noFill/>
                </a:ln>
                <a:solidFill>
                  <a:srgbClr val="FFFFFF"/>
                </a:solidFill>
                <a:effectLst/>
                <a:uLnTx/>
                <a:uFillTx/>
                <a:latin typeface="Arial"/>
              </a:endParaRPr>
            </a:p>
          </p:txBody>
        </p:sp>
      </p:grpSp>
    </p:spTree>
    <p:extLst>
      <p:ext uri="{BB962C8B-B14F-4D97-AF65-F5344CB8AC3E}">
        <p14:creationId xmlns:p14="http://schemas.microsoft.com/office/powerpoint/2010/main" val="3623641683"/>
      </p:ext>
    </p:extLst>
  </p:cSld>
  <p:clrMapOvr>
    <a:masterClrMapping/>
  </p:clrMapOvr>
  <p:extLst>
    <p:ext uri="{DCECCB84-F9BA-43D5-87BE-67443E8EF086}">
      <p15:sldGuideLst xmlns:p15="http://schemas.microsoft.com/office/powerpoint/2012/main">
        <p15:guide id="1" orient="horz" pos="2160">
          <p15:clr>
            <a:srgbClr val="FBAE40"/>
          </p15:clr>
        </p15:guide>
        <p15:guide id="2" pos="3842">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2_Key statement">
    <p:bg>
      <p:bgRef idx="1001">
        <a:schemeClr val="bg2"/>
      </p:bgRef>
    </p:bg>
    <p:spTree>
      <p:nvGrpSpPr>
        <p:cNvPr id="1" name=""/>
        <p:cNvGrpSpPr/>
        <p:nvPr/>
      </p:nvGrpSpPr>
      <p:grpSpPr>
        <a:xfrm>
          <a:off x="0" y="0"/>
          <a:ext cx="0" cy="0"/>
          <a:chOff x="0" y="0"/>
          <a:chExt cx="0" cy="0"/>
        </a:xfrm>
      </p:grpSpPr>
      <p:sp>
        <p:nvSpPr>
          <p:cNvPr id="4" name="Rectangle 3"/>
          <p:cNvSpPr/>
          <p:nvPr userDrawn="1"/>
        </p:nvSpPr>
        <p:spPr>
          <a:xfrm>
            <a:off x="164158" y="158604"/>
            <a:ext cx="13120182" cy="7113293"/>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321">
              <a:solidFill>
                <a:srgbClr val="000000"/>
              </a:solidFill>
              <a:latin typeface="Arial"/>
            </a:endParaRPr>
          </a:p>
        </p:txBody>
      </p:sp>
      <p:sp>
        <p:nvSpPr>
          <p:cNvPr id="3" name="Text Placeholder 2"/>
          <p:cNvSpPr>
            <a:spLocks noGrp="1"/>
          </p:cNvSpPr>
          <p:nvPr>
            <p:ph type="body" sz="quarter" idx="11"/>
          </p:nvPr>
        </p:nvSpPr>
        <p:spPr>
          <a:xfrm>
            <a:off x="669817" y="831989"/>
            <a:ext cx="12098655" cy="1811553"/>
          </a:xfrm>
        </p:spPr>
        <p:txBody>
          <a:bodyPr/>
          <a:lstStyle>
            <a:lvl1pPr marL="0" indent="0" algn="l">
              <a:lnSpc>
                <a:spcPct val="85000"/>
              </a:lnSpc>
              <a:spcBef>
                <a:spcPts val="0"/>
              </a:spcBef>
              <a:buNone/>
              <a:defRPr sz="5508" b="1">
                <a:solidFill>
                  <a:schemeClr val="tx2"/>
                </a:solidFill>
                <a:latin typeface="EYInterstate Light" panose="02000506000000020004" pitchFamily="2" charset="0"/>
              </a:defRPr>
            </a:lvl1pPr>
            <a:lvl2pPr marL="0" indent="0">
              <a:buNone/>
              <a:defRPr/>
            </a:lvl2pPr>
            <a:lvl3pPr marL="0" indent="0">
              <a:buNone/>
              <a:defRPr/>
            </a:lvl3pPr>
            <a:lvl4pPr marL="0" indent="0">
              <a:buNone/>
              <a:defRPr/>
            </a:lvl4pPr>
            <a:lvl5pPr marL="0" indent="0">
              <a:buNone/>
              <a:defRPr/>
            </a:lvl5pPr>
          </a:lstStyle>
          <a:p>
            <a:pPr lvl="0"/>
            <a:r>
              <a:rPr lang="en-US"/>
              <a:t>Click to edit Master text styles</a:t>
            </a:r>
          </a:p>
        </p:txBody>
      </p:sp>
      <p:pic>
        <p:nvPicPr>
          <p:cNvPr id="8" name="Picture 7" descr="ey_grey.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2567221" y="362569"/>
            <a:ext cx="477163" cy="488090"/>
          </a:xfrm>
          <a:prstGeom prst="rect">
            <a:avLst/>
          </a:prstGeom>
        </p:spPr>
      </p:pic>
    </p:spTree>
    <p:extLst>
      <p:ext uri="{BB962C8B-B14F-4D97-AF65-F5344CB8AC3E}">
        <p14:creationId xmlns:p14="http://schemas.microsoft.com/office/powerpoint/2010/main" val="3821232585"/>
      </p:ext>
    </p:extLst>
  </p:cSld>
  <p:clrMapOvr>
    <a:overrideClrMapping bg1="dk1" tx1="lt1" bg2="dk2" tx2="lt2" accent1="accent1" accent2="accent2" accent3="accent3" accent4="accent4" accent5="accent5" accent6="accent6" hlink="hlink" folHlink="folHlink"/>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3_Key statement">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a:xfrm>
            <a:off x="1" y="0"/>
            <a:ext cx="13442950" cy="7561263"/>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321">
              <a:solidFill>
                <a:srgbClr val="000000"/>
              </a:solidFill>
              <a:latin typeface="Arial"/>
            </a:endParaRPr>
          </a:p>
        </p:txBody>
      </p:sp>
      <p:pic>
        <p:nvPicPr>
          <p:cNvPr id="8" name="Picture 7" descr="ey_grey.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2567221" y="362569"/>
            <a:ext cx="477163" cy="488090"/>
          </a:xfrm>
          <a:prstGeom prst="rect">
            <a:avLst/>
          </a:prstGeom>
        </p:spPr>
      </p:pic>
    </p:spTree>
    <p:extLst>
      <p:ext uri="{BB962C8B-B14F-4D97-AF65-F5344CB8AC3E}">
        <p14:creationId xmlns:p14="http://schemas.microsoft.com/office/powerpoint/2010/main" val="2922904133"/>
      </p:ext>
    </p:extLst>
  </p:cSld>
  <p:clrMapOvr>
    <a:overrideClrMapping bg1="dk1" tx1="lt1" bg2="dk2" tx2="lt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Custom Layout">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A8BBA6AB-52DA-1F4F-A9F2-32A0449550D3}"/>
              </a:ext>
            </a:extLst>
          </p:cNvPr>
          <p:cNvSpPr/>
          <p:nvPr userDrawn="1"/>
        </p:nvSpPr>
        <p:spPr>
          <a:xfrm>
            <a:off x="943904" y="428151"/>
            <a:ext cx="1260000" cy="10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itle 4">
            <a:extLst>
              <a:ext uri="{FF2B5EF4-FFF2-40B4-BE49-F238E27FC236}">
                <a16:creationId xmlns:a16="http://schemas.microsoft.com/office/drawing/2014/main" id="{CEA215F3-869A-0348-BB46-F05B965212F4}"/>
              </a:ext>
            </a:extLst>
          </p:cNvPr>
          <p:cNvSpPr>
            <a:spLocks noGrp="1"/>
          </p:cNvSpPr>
          <p:nvPr>
            <p:ph type="title"/>
          </p:nvPr>
        </p:nvSpPr>
        <p:spPr>
          <a:xfrm>
            <a:off x="943904" y="608400"/>
            <a:ext cx="12098656" cy="811646"/>
          </a:xfrm>
          <a:prstGeom prst="rect">
            <a:avLst/>
          </a:prstGeom>
        </p:spPr>
        <p:txBody>
          <a:bodyPr lIns="0"/>
          <a:lstStyle>
            <a:lvl1pPr>
              <a:defRPr sz="2400"/>
            </a:lvl1pPr>
          </a:lstStyle>
          <a:p>
            <a:r>
              <a:rPr lang="en-US"/>
              <a:t>Click to edit Master title style</a:t>
            </a:r>
            <a:endParaRPr lang="en-GB"/>
          </a:p>
        </p:txBody>
      </p:sp>
    </p:spTree>
    <p:extLst>
      <p:ext uri="{BB962C8B-B14F-4D97-AF65-F5344CB8AC3E}">
        <p14:creationId xmlns:p14="http://schemas.microsoft.com/office/powerpoint/2010/main" val="2980928220"/>
      </p:ext>
    </p:extLst>
  </p:cSld>
  <p:clrMapOvr>
    <a:overrideClrMapping bg1="dk1" tx1="lt1" bg2="dk2" tx2="lt2" accent1="accent1" accent2="accent2" accent3="accent3" accent4="accent4" accent5="accent5" accent6="accent6" hlink="hlink" folHlink="folHlink"/>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2_Blank 1">
    <p:bg>
      <p:bgPr>
        <a:solidFill>
          <a:schemeClr val="tx1"/>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1751" y="1752"/>
          <a:ext cx="1750" cy="1750"/>
        </p:xfrm>
        <a:graphic>
          <a:graphicData uri="http://schemas.openxmlformats.org/presentationml/2006/ole">
            <mc:AlternateContent xmlns:mc="http://schemas.openxmlformats.org/markup-compatibility/2006">
              <mc:Choice xmlns:v="urn:schemas-microsoft-com:vml" Requires="v">
                <p:oleObj spid="_x0000_s26626" name="think-cell Slide" r:id="rId4" imgW="482" imgH="481" progId="TCLayout.ActiveDocument.1">
                  <p:embed/>
                </p:oleObj>
              </mc:Choice>
              <mc:Fallback>
                <p:oleObj name="think-cell Slide" r:id="rId4" imgW="482" imgH="481" progId="TCLayout.ActiveDocument.1">
                  <p:embed/>
                  <p:pic>
                    <p:nvPicPr>
                      <p:cNvPr id="5" name="Object 4" hidden="1"/>
                      <p:cNvPicPr/>
                      <p:nvPr/>
                    </p:nvPicPr>
                    <p:blipFill>
                      <a:blip r:embed="rId5"/>
                      <a:stretch>
                        <a:fillRect/>
                      </a:stretch>
                    </p:blipFill>
                    <p:spPr>
                      <a:xfrm>
                        <a:off x="1751" y="1752"/>
                        <a:ext cx="1750" cy="1750"/>
                      </a:xfrm>
                      <a:prstGeom prst="rect">
                        <a:avLst/>
                      </a:prstGeom>
                    </p:spPr>
                  </p:pic>
                </p:oleObj>
              </mc:Fallback>
            </mc:AlternateContent>
          </a:graphicData>
        </a:graphic>
      </p:graphicFrame>
      <p:sp>
        <p:nvSpPr>
          <p:cNvPr id="8" name="Slide Number Placeholder 4">
            <a:extLst>
              <a:ext uri="{FF2B5EF4-FFF2-40B4-BE49-F238E27FC236}">
                <a16:creationId xmlns:a16="http://schemas.microsoft.com/office/drawing/2014/main" id="{AAEDB040-AD45-4F20-AE62-914772F8B9FA}"/>
              </a:ext>
            </a:extLst>
          </p:cNvPr>
          <p:cNvSpPr>
            <a:spLocks noGrp="1"/>
          </p:cNvSpPr>
          <p:nvPr>
            <p:ph type="sldNum" sz="quarter" idx="12"/>
          </p:nvPr>
        </p:nvSpPr>
        <p:spPr>
          <a:xfrm>
            <a:off x="680196" y="7134847"/>
            <a:ext cx="730719" cy="198458"/>
          </a:xfrm>
          <a:prstGeom prst="rect">
            <a:avLst/>
          </a:prstGeom>
        </p:spPr>
        <p:txBody>
          <a:bodyPr/>
          <a:lstStyle>
            <a:lvl1pPr>
              <a:defRPr>
                <a:latin typeface="+mj-lt"/>
              </a:defRPr>
            </a:lvl1pPr>
          </a:lstStyle>
          <a:p>
            <a:r>
              <a:rPr lang="en-IN"/>
              <a:t>Page </a:t>
            </a:r>
            <a:fld id="{F1BC30E3-FFE5-4B91-AA19-87A149EBB9EE}" type="slidenum">
              <a:rPr smtClean="0"/>
              <a:pPr/>
              <a:t>‹#›</a:t>
            </a:fld>
            <a:endParaRPr/>
          </a:p>
        </p:txBody>
      </p:sp>
      <p:pic>
        <p:nvPicPr>
          <p:cNvPr id="4" name="Picture 3">
            <a:extLst>
              <a:ext uri="{FF2B5EF4-FFF2-40B4-BE49-F238E27FC236}">
                <a16:creationId xmlns:a16="http://schemas.microsoft.com/office/drawing/2014/main" id="{4C27B735-E891-4646-828D-48A84AC9DD50}"/>
              </a:ext>
            </a:extLst>
          </p:cNvPr>
          <p:cNvPicPr>
            <a:picLocks noChangeAspect="1"/>
          </p:cNvPicPr>
          <p:nvPr userDrawn="1"/>
        </p:nvPicPr>
        <p:blipFill rotWithShape="1">
          <a:blip r:embed="rId6" cstate="email">
            <a:extLst>
              <a:ext uri="{28A0092B-C50C-407E-A947-70E740481C1C}">
                <a14:useLocalDpi xmlns:a14="http://schemas.microsoft.com/office/drawing/2010/main"/>
              </a:ext>
            </a:extLst>
          </a:blip>
          <a:srcRect/>
          <a:stretch/>
        </p:blipFill>
        <p:spPr>
          <a:xfrm>
            <a:off x="0" y="199"/>
            <a:ext cx="13435952" cy="7560867"/>
          </a:xfrm>
          <a:prstGeom prst="rect">
            <a:avLst/>
          </a:prstGeom>
        </p:spPr>
      </p:pic>
    </p:spTree>
    <p:extLst>
      <p:ext uri="{BB962C8B-B14F-4D97-AF65-F5344CB8AC3E}">
        <p14:creationId xmlns:p14="http://schemas.microsoft.com/office/powerpoint/2010/main" val="138522122"/>
      </p:ext>
    </p:extLst>
  </p:cSld>
  <p:clrMapOvr>
    <a:overrideClrMapping bg1="lt1" tx1="dk1" bg2="lt2" tx2="dk2" accent1="accent1" accent2="accent2" accent3="accent3" accent4="accent4" accent5="accent5" accent6="accent6" hlink="hlink" folHlink="folHlink"/>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3_Standard slide">
    <p:spTree>
      <p:nvGrpSpPr>
        <p:cNvPr id="1" name=""/>
        <p:cNvGrpSpPr/>
        <p:nvPr/>
      </p:nvGrpSpPr>
      <p:grpSpPr>
        <a:xfrm>
          <a:off x="0" y="0"/>
          <a:ext cx="0" cy="0"/>
          <a:chOff x="0" y="0"/>
          <a:chExt cx="0" cy="0"/>
        </a:xfrm>
      </p:grpSpPr>
      <p:sp>
        <p:nvSpPr>
          <p:cNvPr id="2" name="Title 1"/>
          <p:cNvSpPr>
            <a:spLocks noGrp="1"/>
          </p:cNvSpPr>
          <p:nvPr>
            <p:ph type="title"/>
          </p:nvPr>
        </p:nvSpPr>
        <p:spPr>
          <a:xfrm>
            <a:off x="624897" y="507865"/>
            <a:ext cx="12098655" cy="650943"/>
          </a:xfrm>
          <a:prstGeom prst="rect">
            <a:avLst/>
          </a:prstGeom>
        </p:spPr>
        <p:txBody>
          <a:bodyPr/>
          <a:lstStyle>
            <a:lvl1pPr>
              <a:defRPr lang="en-GB" sz="2203" b="1" kern="1200" spc="-54" dirty="0">
                <a:solidFill>
                  <a:schemeClr val="bg2"/>
                </a:solidFill>
                <a:latin typeface="EYInterstate Light" panose="02000506000000020004" pitchFamily="2" charset="0"/>
                <a:ea typeface="+mn-ea"/>
                <a:cs typeface="Arial" pitchFamily="34" charset="0"/>
              </a:defRPr>
            </a:lvl1pPr>
          </a:lstStyle>
          <a:p>
            <a:endParaRPr lang="en-GB"/>
          </a:p>
        </p:txBody>
      </p:sp>
      <p:grpSp>
        <p:nvGrpSpPr>
          <p:cNvPr id="6" name="Group 5">
            <a:extLst>
              <a:ext uri="{FF2B5EF4-FFF2-40B4-BE49-F238E27FC236}">
                <a16:creationId xmlns:a16="http://schemas.microsoft.com/office/drawing/2014/main" id="{C996CDEE-AE51-49F1-A4FA-63BFFC2302E3}"/>
              </a:ext>
            </a:extLst>
          </p:cNvPr>
          <p:cNvGrpSpPr/>
          <p:nvPr userDrawn="1"/>
        </p:nvGrpSpPr>
        <p:grpSpPr>
          <a:xfrm>
            <a:off x="625816" y="323622"/>
            <a:ext cx="422188" cy="98857"/>
            <a:chOff x="567876" y="293523"/>
            <a:chExt cx="573024" cy="134112"/>
          </a:xfrm>
          <a:solidFill>
            <a:schemeClr val="tx2"/>
          </a:solidFill>
        </p:grpSpPr>
        <p:sp>
          <p:nvSpPr>
            <p:cNvPr id="7" name="Oval 6">
              <a:extLst>
                <a:ext uri="{FF2B5EF4-FFF2-40B4-BE49-F238E27FC236}">
                  <a16:creationId xmlns:a16="http://schemas.microsoft.com/office/drawing/2014/main" id="{692448B8-1534-4002-84A5-C4BBB153244F}"/>
                </a:ext>
              </a:extLst>
            </p:cNvPr>
            <p:cNvSpPr/>
            <p:nvPr userDrawn="1"/>
          </p:nvSpPr>
          <p:spPr>
            <a:xfrm>
              <a:off x="567876" y="293523"/>
              <a:ext cx="134112" cy="134112"/>
            </a:xfrm>
            <a:prstGeom prst="ellipse">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321">
                <a:solidFill>
                  <a:schemeClr val="tx1"/>
                </a:solidFill>
                <a:latin typeface="Arial" panose="020B0604020202020204" pitchFamily="34" charset="0"/>
              </a:endParaRPr>
            </a:p>
          </p:txBody>
        </p:sp>
        <p:sp>
          <p:nvSpPr>
            <p:cNvPr id="8" name="Oval 7">
              <a:extLst>
                <a:ext uri="{FF2B5EF4-FFF2-40B4-BE49-F238E27FC236}">
                  <a16:creationId xmlns:a16="http://schemas.microsoft.com/office/drawing/2014/main" id="{E0FF5770-DB33-462D-9AE7-C86245D21155}"/>
                </a:ext>
              </a:extLst>
            </p:cNvPr>
            <p:cNvSpPr/>
            <p:nvPr userDrawn="1"/>
          </p:nvSpPr>
          <p:spPr>
            <a:xfrm>
              <a:off x="787332" y="293523"/>
              <a:ext cx="134112" cy="134112"/>
            </a:xfrm>
            <a:prstGeom prst="ellipse">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321">
                <a:solidFill>
                  <a:schemeClr val="tx1"/>
                </a:solidFill>
                <a:latin typeface="Arial" panose="020B0604020202020204" pitchFamily="34" charset="0"/>
              </a:endParaRPr>
            </a:p>
          </p:txBody>
        </p:sp>
        <p:sp>
          <p:nvSpPr>
            <p:cNvPr id="9" name="Oval 8">
              <a:extLst>
                <a:ext uri="{FF2B5EF4-FFF2-40B4-BE49-F238E27FC236}">
                  <a16:creationId xmlns:a16="http://schemas.microsoft.com/office/drawing/2014/main" id="{D61FA468-781A-4EA6-AEEA-38565A990D3F}"/>
                </a:ext>
              </a:extLst>
            </p:cNvPr>
            <p:cNvSpPr/>
            <p:nvPr userDrawn="1"/>
          </p:nvSpPr>
          <p:spPr>
            <a:xfrm>
              <a:off x="1006788" y="293523"/>
              <a:ext cx="134112" cy="134112"/>
            </a:xfrm>
            <a:prstGeom prst="ellipse">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321">
                <a:solidFill>
                  <a:schemeClr val="tx1"/>
                </a:solidFill>
                <a:latin typeface="Arial" panose="020B0604020202020204" pitchFamily="34" charset="0"/>
              </a:endParaRPr>
            </a:p>
          </p:txBody>
        </p:sp>
      </p:grpSp>
      <p:cxnSp>
        <p:nvCxnSpPr>
          <p:cNvPr id="10" name="Straight Connector 9">
            <a:extLst>
              <a:ext uri="{FF2B5EF4-FFF2-40B4-BE49-F238E27FC236}">
                <a16:creationId xmlns:a16="http://schemas.microsoft.com/office/drawing/2014/main" id="{A3C9CC9A-B6F7-4C7D-AC6F-685174F69D54}"/>
              </a:ext>
            </a:extLst>
          </p:cNvPr>
          <p:cNvCxnSpPr/>
          <p:nvPr userDrawn="1"/>
        </p:nvCxnSpPr>
        <p:spPr>
          <a:xfrm>
            <a:off x="1163170" y="373051"/>
            <a:ext cx="12293896" cy="0"/>
          </a:xfrm>
          <a:prstGeom prst="line">
            <a:avLst/>
          </a:prstGeom>
          <a:ln w="19050">
            <a:solidFill>
              <a:schemeClr val="bg2">
                <a:lumMod val="50000"/>
                <a:lumOff val="50000"/>
              </a:schemeClr>
            </a:solidFill>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24505367"/>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5_Custom Layout">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stretch>
            <a:fillRect/>
          </a:stretch>
        </p:blipFill>
        <p:spPr>
          <a:xfrm>
            <a:off x="1" y="0"/>
            <a:ext cx="13442950" cy="7561263"/>
          </a:xfrm>
          <a:prstGeom prst="rect">
            <a:avLst/>
          </a:prstGeom>
        </p:spPr>
      </p:pic>
      <p:sp>
        <p:nvSpPr>
          <p:cNvPr id="5" name="Flowchart: Manual Input 4"/>
          <p:cNvSpPr/>
          <p:nvPr userDrawn="1"/>
        </p:nvSpPr>
        <p:spPr>
          <a:xfrm rot="5400000" flipH="1">
            <a:off x="1145988" y="-1145983"/>
            <a:ext cx="7561263" cy="9853252"/>
          </a:xfrm>
          <a:prstGeom prst="flowChartManualInput">
            <a:avLst/>
          </a:prstGeom>
          <a:solidFill>
            <a:srgbClr val="525252"/>
          </a:solidFill>
          <a:ln w="9525" cmpd="sng">
            <a:noFill/>
          </a:ln>
        </p:spPr>
        <p:style>
          <a:lnRef idx="2">
            <a:schemeClr val="accent1">
              <a:shade val="50000"/>
            </a:schemeClr>
          </a:lnRef>
          <a:fillRef idx="1">
            <a:schemeClr val="accent1"/>
          </a:fillRef>
          <a:effectRef idx="0">
            <a:schemeClr val="accent1"/>
          </a:effectRef>
          <a:fontRef idx="minor">
            <a:schemeClr val="lt1"/>
          </a:fontRef>
        </p:style>
        <p:txBody>
          <a:bodyPr lIns="79284" tIns="79284" rIns="79284" bIns="79284" rtlCol="0" anchor="ctr"/>
          <a:lstStyle/>
          <a:p>
            <a:pPr algn="ctr" fontAlgn="base">
              <a:spcBef>
                <a:spcPct val="0"/>
              </a:spcBef>
              <a:spcAft>
                <a:spcPct val="0"/>
              </a:spcAft>
            </a:pPr>
            <a:endParaRPr lang="en-US" sz="1102" b="1">
              <a:solidFill>
                <a:srgbClr val="FFFFFF"/>
              </a:solidFill>
            </a:endParaRPr>
          </a:p>
        </p:txBody>
      </p:sp>
    </p:spTree>
    <p:extLst>
      <p:ext uri="{BB962C8B-B14F-4D97-AF65-F5344CB8AC3E}">
        <p14:creationId xmlns:p14="http://schemas.microsoft.com/office/powerpoint/2010/main" val="1547635122"/>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Standard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594052773"/>
              </p:ext>
            </p:extLst>
          </p:nvPr>
        </p:nvGraphicFramePr>
        <p:xfrm>
          <a:off x="1588" y="1589"/>
          <a:ext cx="1588" cy="1587"/>
        </p:xfrm>
        <a:graphic>
          <a:graphicData uri="http://schemas.openxmlformats.org/presentationml/2006/ole">
            <mc:AlternateContent xmlns:mc="http://schemas.openxmlformats.org/markup-compatibility/2006">
              <mc:Choice xmlns:v="urn:schemas-microsoft-com:vml" Requires="v">
                <p:oleObj spid="_x0000_s28674" name="think-cell Slide" r:id="rId4" imgW="360" imgH="360" progId="TCLayout.ActiveDocument.1">
                  <p:embed/>
                </p:oleObj>
              </mc:Choice>
              <mc:Fallback>
                <p:oleObj name="think-cell Slide" r:id="rId4" imgW="360" imgH="360" progId="TCLayout.ActiveDocument.1">
                  <p:embed/>
                  <p:pic>
                    <p:nvPicPr>
                      <p:cNvPr id="4" name="Object 3" hidden="1"/>
                      <p:cNvPicPr/>
                      <p:nvPr/>
                    </p:nvPicPr>
                    <p:blipFill>
                      <a:blip r:embed="rId5"/>
                      <a:stretch>
                        <a:fillRect/>
                      </a:stretch>
                    </p:blipFill>
                    <p:spPr>
                      <a:xfrm>
                        <a:off x="1588" y="1589"/>
                        <a:ext cx="1588" cy="1587"/>
                      </a:xfrm>
                      <a:prstGeom prst="rect">
                        <a:avLst/>
                      </a:prstGeom>
                    </p:spPr>
                  </p:pic>
                </p:oleObj>
              </mc:Fallback>
            </mc:AlternateContent>
          </a:graphicData>
        </a:graphic>
      </p:graphicFrame>
      <p:pic>
        <p:nvPicPr>
          <p:cNvPr id="6" name="Picture 5">
            <a:extLst>
              <a:ext uri="{FF2B5EF4-FFF2-40B4-BE49-F238E27FC236}">
                <a16:creationId xmlns:a16="http://schemas.microsoft.com/office/drawing/2014/main" id="{CBA8B177-D175-4D5D-8912-2C8BA53F5CE4}"/>
              </a:ext>
            </a:extLst>
          </p:cNvPr>
          <p:cNvPicPr>
            <a:picLocks noChangeAspect="1"/>
          </p:cNvPicPr>
          <p:nvPr userDrawn="1"/>
        </p:nvPicPr>
        <p:blipFill rotWithShape="1">
          <a:blip r:embed="rId6" cstate="email">
            <a:extLst>
              <a:ext uri="{28A0092B-C50C-407E-A947-70E740481C1C}">
                <a14:useLocalDpi xmlns:a14="http://schemas.microsoft.com/office/drawing/2010/main"/>
              </a:ext>
            </a:extLst>
          </a:blip>
          <a:srcRect/>
          <a:stretch/>
        </p:blipFill>
        <p:spPr>
          <a:xfrm>
            <a:off x="0" y="0"/>
            <a:ext cx="13442950" cy="7561263"/>
          </a:xfrm>
          <a:prstGeom prst="rect">
            <a:avLst/>
          </a:prstGeom>
        </p:spPr>
      </p:pic>
    </p:spTree>
    <p:extLst>
      <p:ext uri="{BB962C8B-B14F-4D97-AF65-F5344CB8AC3E}">
        <p14:creationId xmlns:p14="http://schemas.microsoft.com/office/powerpoint/2010/main" val="2210938861"/>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Standard slide_no bullets_no headers">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4047619388"/>
              </p:ext>
            </p:extLst>
          </p:nvPr>
        </p:nvGraphicFramePr>
        <p:xfrm>
          <a:off x="1588" y="1589"/>
          <a:ext cx="1588" cy="1587"/>
        </p:xfrm>
        <a:graphic>
          <a:graphicData uri="http://schemas.openxmlformats.org/presentationml/2006/ole">
            <mc:AlternateContent xmlns:mc="http://schemas.openxmlformats.org/markup-compatibility/2006">
              <mc:Choice xmlns:v="urn:schemas-microsoft-com:vml" Requires="v">
                <p:oleObj spid="_x0000_s29698" name="think-cell Slide" r:id="rId4" imgW="493" imgH="493" progId="TCLayout.ActiveDocument.1">
                  <p:embed/>
                </p:oleObj>
              </mc:Choice>
              <mc:Fallback>
                <p:oleObj name="think-cell Slide" r:id="rId4" imgW="493" imgH="493" progId="TCLayout.ActiveDocument.1">
                  <p:embed/>
                  <p:pic>
                    <p:nvPicPr>
                      <p:cNvPr id="4" name="Object 3" hidden="1"/>
                      <p:cNvPicPr/>
                      <p:nvPr/>
                    </p:nvPicPr>
                    <p:blipFill>
                      <a:blip r:embed="rId5"/>
                      <a:stretch>
                        <a:fillRect/>
                      </a:stretch>
                    </p:blipFill>
                    <p:spPr>
                      <a:xfrm>
                        <a:off x="1588" y="1589"/>
                        <a:ext cx="1588" cy="1587"/>
                      </a:xfrm>
                      <a:prstGeom prst="rect">
                        <a:avLst/>
                      </a:prstGeom>
                    </p:spPr>
                  </p:pic>
                </p:oleObj>
              </mc:Fallback>
            </mc:AlternateContent>
          </a:graphicData>
        </a:graphic>
      </p:graphicFrame>
      <p:sp>
        <p:nvSpPr>
          <p:cNvPr id="2" name="Title 1"/>
          <p:cNvSpPr>
            <a:spLocks noGrp="1"/>
          </p:cNvSpPr>
          <p:nvPr>
            <p:ph type="title" hasCustomPrompt="1"/>
          </p:nvPr>
        </p:nvSpPr>
        <p:spPr>
          <a:xfrm>
            <a:off x="943200" y="608400"/>
            <a:ext cx="11700000" cy="741600"/>
          </a:xfrm>
          <a:prstGeom prst="rect">
            <a:avLst/>
          </a:prstGeom>
        </p:spPr>
        <p:txBody>
          <a:bodyPr/>
          <a:lstStyle>
            <a:lvl1pPr>
              <a:defRPr sz="2400"/>
            </a:lvl1pPr>
          </a:lstStyle>
          <a:p>
            <a:r>
              <a:rPr lang="en-US"/>
              <a:t>CLICK TO EDIT MASTER TITLE STYLE</a:t>
            </a:r>
            <a:endParaRPr lang="en-GB"/>
          </a:p>
        </p:txBody>
      </p:sp>
    </p:spTree>
    <p:extLst>
      <p:ext uri="{BB962C8B-B14F-4D97-AF65-F5344CB8AC3E}">
        <p14:creationId xmlns:p14="http://schemas.microsoft.com/office/powerpoint/2010/main" val="2565434056"/>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Custom Layout">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A8BBA6AB-52DA-1F4F-A9F2-32A0449550D3}"/>
              </a:ext>
            </a:extLst>
          </p:cNvPr>
          <p:cNvSpPr/>
          <p:nvPr userDrawn="1"/>
        </p:nvSpPr>
        <p:spPr>
          <a:xfrm>
            <a:off x="943904" y="428151"/>
            <a:ext cx="1260000" cy="10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itle 4">
            <a:extLst>
              <a:ext uri="{FF2B5EF4-FFF2-40B4-BE49-F238E27FC236}">
                <a16:creationId xmlns:a16="http://schemas.microsoft.com/office/drawing/2014/main" id="{CEA215F3-869A-0348-BB46-F05B965212F4}"/>
              </a:ext>
            </a:extLst>
          </p:cNvPr>
          <p:cNvSpPr>
            <a:spLocks noGrp="1"/>
          </p:cNvSpPr>
          <p:nvPr>
            <p:ph type="title"/>
          </p:nvPr>
        </p:nvSpPr>
        <p:spPr>
          <a:xfrm>
            <a:off x="943904" y="608400"/>
            <a:ext cx="12098656" cy="811646"/>
          </a:xfrm>
          <a:prstGeom prst="rect">
            <a:avLst/>
          </a:prstGeom>
        </p:spPr>
        <p:txBody>
          <a:bodyPr lIns="0"/>
          <a:lstStyle>
            <a:lvl1pPr>
              <a:defRPr sz="2400"/>
            </a:lvl1pPr>
          </a:lstStyle>
          <a:p>
            <a:r>
              <a:rPr lang="en-US"/>
              <a:t>Click to edit Master title style</a:t>
            </a:r>
            <a:endParaRPr lang="en-GB"/>
          </a:p>
        </p:txBody>
      </p:sp>
    </p:spTree>
    <p:extLst>
      <p:ext uri="{BB962C8B-B14F-4D97-AF65-F5344CB8AC3E}">
        <p14:creationId xmlns:p14="http://schemas.microsoft.com/office/powerpoint/2010/main" val="2904416352"/>
      </p:ext>
    </p:extLst>
  </p:cSld>
  <p:clrMapOvr>
    <a:overrideClrMapping bg1="dk1" tx1="lt1" bg2="dk2" tx2="lt2" accent1="accent1" accent2="accent2" accent3="accent3" accent4="accent4" accent5="accent5" accent6="accent6" hlink="hlink" folHlink="folHlink"/>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1_Custom Layout">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51500652"/>
      </p:ext>
    </p:extLst>
  </p:cSld>
  <p:clrMapOvr>
    <a:overrideClrMapping bg1="dk1" tx1="lt1" bg2="dk2" tx2="lt2" accent1="accent1" accent2="accent2" accent3="accent3" accent4="accent4" accent5="accent5" accent6="accent6" hlink="hlink" folHlink="folHlink"/>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5_Blank">
    <p:bg>
      <p:bgPr>
        <a:solidFill>
          <a:schemeClr val="tx1"/>
        </a:solidFill>
        <a:effectLst/>
      </p:bgPr>
    </p:bg>
    <p:spTree>
      <p:nvGrpSpPr>
        <p:cNvPr id="1" name=""/>
        <p:cNvGrpSpPr/>
        <p:nvPr/>
      </p:nvGrpSpPr>
      <p:grpSpPr>
        <a:xfrm>
          <a:off x="0" y="0"/>
          <a:ext cx="0" cy="0"/>
          <a:chOff x="0" y="0"/>
          <a:chExt cx="0" cy="0"/>
        </a:xfrm>
      </p:grpSpPr>
      <p:sp>
        <p:nvSpPr>
          <p:cNvPr id="15" name="object 7">
            <a:extLst>
              <a:ext uri="{FF2B5EF4-FFF2-40B4-BE49-F238E27FC236}">
                <a16:creationId xmlns:a16="http://schemas.microsoft.com/office/drawing/2014/main" id="{A9E07F53-5493-D745-9EB3-56AA82429EB9}"/>
              </a:ext>
            </a:extLst>
          </p:cNvPr>
          <p:cNvSpPr/>
          <p:nvPr userDrawn="1"/>
        </p:nvSpPr>
        <p:spPr>
          <a:xfrm>
            <a:off x="714208" y="396917"/>
            <a:ext cx="3967825" cy="0"/>
          </a:xfrm>
          <a:custGeom>
            <a:avLst/>
            <a:gdLst/>
            <a:ahLst/>
            <a:cxnLst/>
            <a:rect l="l" t="t" r="r" b="b"/>
            <a:pathLst>
              <a:path w="7721600">
                <a:moveTo>
                  <a:pt x="0" y="0"/>
                </a:moveTo>
                <a:lnTo>
                  <a:pt x="7721600" y="0"/>
                </a:lnTo>
              </a:path>
            </a:pathLst>
          </a:custGeom>
          <a:ln w="19050">
            <a:solidFill>
              <a:schemeClr val="accent3"/>
            </a:solidFill>
          </a:ln>
        </p:spPr>
        <p:txBody>
          <a:bodyPr wrap="square" lIns="0" tIns="0" rIns="0" bIns="0" rtlCol="0"/>
          <a:lstStyle/>
          <a:p>
            <a:endParaRPr sz="1622"/>
          </a:p>
        </p:txBody>
      </p:sp>
      <p:sp>
        <p:nvSpPr>
          <p:cNvPr id="24" name="Title 23">
            <a:extLst>
              <a:ext uri="{FF2B5EF4-FFF2-40B4-BE49-F238E27FC236}">
                <a16:creationId xmlns:a16="http://schemas.microsoft.com/office/drawing/2014/main" id="{74582B84-AFBF-C14B-A4DA-884520648B28}"/>
              </a:ext>
            </a:extLst>
          </p:cNvPr>
          <p:cNvSpPr>
            <a:spLocks noGrp="1"/>
          </p:cNvSpPr>
          <p:nvPr>
            <p:ph type="title" hasCustomPrompt="1"/>
          </p:nvPr>
        </p:nvSpPr>
        <p:spPr>
          <a:xfrm>
            <a:off x="714210" y="476303"/>
            <a:ext cx="11903474" cy="555682"/>
          </a:xfrm>
          <a:prstGeom prst="rect">
            <a:avLst/>
          </a:prstGeom>
        </p:spPr>
        <p:txBody>
          <a:bodyPr vert="horz" wrap="square" lIns="0" tIns="0" rIns="0" bIns="0" rtlCol="0">
            <a:noAutofit/>
          </a:bodyPr>
          <a:lstStyle>
            <a:lvl1pPr>
              <a:defRPr lang="en-US" sz="2205" spc="-54" dirty="0">
                <a:solidFill>
                  <a:srgbClr val="575756"/>
                </a:solidFill>
                <a:latin typeface="EYInterstate Light" panose="02000506000000020004" pitchFamily="2" charset="0"/>
                <a:ea typeface="+mn-ea"/>
                <a:cs typeface="EYInterstate Light" panose="02000506000000020004" pitchFamily="2" charset="0"/>
              </a:defRPr>
            </a:lvl1pPr>
          </a:lstStyle>
          <a:p>
            <a:pPr marL="12355" lvl="0" defTabSz="889571">
              <a:lnSpc>
                <a:spcPct val="100000"/>
              </a:lnSpc>
            </a:pPr>
            <a:r>
              <a:rPr lang="en-US"/>
              <a:t>CLICK TO EDIT MASTER TITLE STYLE</a:t>
            </a:r>
          </a:p>
        </p:txBody>
      </p:sp>
    </p:spTree>
    <p:extLst>
      <p:ext uri="{BB962C8B-B14F-4D97-AF65-F5344CB8AC3E}">
        <p14:creationId xmlns:p14="http://schemas.microsoft.com/office/powerpoint/2010/main" val="1153057481"/>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userDrawn="1">
  <p:cSld name="1_Final legal text">
    <p:spTree>
      <p:nvGrpSpPr>
        <p:cNvPr id="1" name=""/>
        <p:cNvGrpSpPr/>
        <p:nvPr/>
      </p:nvGrpSpPr>
      <p:grpSpPr>
        <a:xfrm>
          <a:off x="0" y="0"/>
          <a:ext cx="0" cy="0"/>
          <a:chOff x="0" y="0"/>
          <a:chExt cx="0" cy="0"/>
        </a:xfrm>
      </p:grpSpPr>
      <p:pic>
        <p:nvPicPr>
          <p:cNvPr id="5" name="Content Placeholder 3">
            <a:extLst>
              <a:ext uri="{FF2B5EF4-FFF2-40B4-BE49-F238E27FC236}">
                <a16:creationId xmlns:a16="http://schemas.microsoft.com/office/drawing/2014/main" id="{501A2F11-32A0-4526-A5F7-F4382DA5B47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530" y="0"/>
            <a:ext cx="13435952" cy="7561263"/>
          </a:xfrm>
          <a:prstGeom prst="rect">
            <a:avLst/>
          </a:prstGeom>
        </p:spPr>
      </p:pic>
      <p:sp>
        <p:nvSpPr>
          <p:cNvPr id="8" name="Content Placeholder 2"/>
          <p:cNvSpPr>
            <a:spLocks noGrp="1"/>
          </p:cNvSpPr>
          <p:nvPr>
            <p:ph idx="1"/>
          </p:nvPr>
        </p:nvSpPr>
        <p:spPr>
          <a:xfrm>
            <a:off x="669813" y="792884"/>
            <a:ext cx="5154895" cy="5744335"/>
          </a:xfrm>
        </p:spPr>
        <p:txBody>
          <a:bodyPr/>
          <a:lstStyle>
            <a:lvl1pPr marL="0" indent="0" algn="l" defTabSz="1096890" rtl="0" fontAlgn="base">
              <a:lnSpc>
                <a:spcPct val="100000"/>
              </a:lnSpc>
              <a:spcBef>
                <a:spcPct val="70000"/>
              </a:spcBef>
              <a:spcAft>
                <a:spcPct val="0"/>
              </a:spcAft>
              <a:buSzPct val="100000"/>
              <a:buNone/>
              <a:defRPr lang="en-US" sz="1322" kern="1200" noProof="0" dirty="0" smtClean="0">
                <a:solidFill>
                  <a:schemeClr val="bg1"/>
                </a:solidFill>
                <a:latin typeface="EYInterstate Light" panose="02000506000000020004" pitchFamily="2" charset="0"/>
                <a:ea typeface="+mn-ea"/>
                <a:cs typeface="Arial" pitchFamily="34" charset="0"/>
              </a:defRPr>
            </a:lvl1pPr>
            <a:lvl2pPr marL="0" indent="0" algn="l" defTabSz="1096890" rtl="0" fontAlgn="base">
              <a:lnSpc>
                <a:spcPct val="100000"/>
              </a:lnSpc>
              <a:spcBef>
                <a:spcPct val="0"/>
              </a:spcBef>
              <a:spcAft>
                <a:spcPct val="0"/>
              </a:spcAft>
              <a:buSzPct val="100000"/>
              <a:buNone/>
              <a:defRPr lang="en-US" sz="992" b="1" kern="1200" noProof="0" dirty="0" smtClean="0">
                <a:solidFill>
                  <a:schemeClr val="bg1"/>
                </a:solidFill>
                <a:latin typeface="EYInterstate Light" panose="02000506000000020004" pitchFamily="2" charset="0"/>
                <a:ea typeface="+mn-ea"/>
                <a:cs typeface="Arial" pitchFamily="34" charset="0"/>
              </a:defRPr>
            </a:lvl2pPr>
            <a:lvl3pPr marL="194187" indent="-194187" algn="l" defTabSz="1096890" rtl="0" fontAlgn="base">
              <a:lnSpc>
                <a:spcPct val="100000"/>
              </a:lnSpc>
              <a:spcBef>
                <a:spcPct val="0"/>
              </a:spcBef>
              <a:spcAft>
                <a:spcPct val="0"/>
              </a:spcAft>
              <a:buClr>
                <a:schemeClr val="tx2"/>
              </a:buClr>
              <a:buSzPct val="70000"/>
              <a:buFont typeface="Arial" pitchFamily="34" charset="0"/>
              <a:buChar char="►"/>
              <a:defRPr lang="en-US" sz="992" b="1" kern="1200" noProof="0" dirty="0" smtClean="0">
                <a:solidFill>
                  <a:schemeClr val="bg1"/>
                </a:solidFill>
                <a:latin typeface="EYInterstate Light" panose="02000506000000020004" pitchFamily="2" charset="0"/>
                <a:ea typeface="+mn-ea"/>
                <a:cs typeface="Arial" pitchFamily="34" charset="0"/>
              </a:defRPr>
            </a:lvl3pPr>
            <a:lvl4pPr marL="0" indent="0" algn="l" defTabSz="1096890" rtl="0" fontAlgn="base">
              <a:lnSpc>
                <a:spcPct val="100000"/>
              </a:lnSpc>
              <a:spcBef>
                <a:spcPct val="0"/>
              </a:spcBef>
              <a:spcAft>
                <a:spcPct val="0"/>
              </a:spcAft>
              <a:buSzPct val="100000"/>
              <a:buNone/>
              <a:defRPr lang="en-US" sz="882" kern="1200" noProof="0" dirty="0" smtClean="0">
                <a:solidFill>
                  <a:schemeClr val="bg1"/>
                </a:solidFill>
                <a:latin typeface="EYInterstate Light" panose="02000506000000020004" pitchFamily="2" charset="0"/>
                <a:ea typeface="+mn-ea"/>
                <a:cs typeface="Arial" pitchFamily="34" charset="0"/>
              </a:defRPr>
            </a:lvl4pPr>
            <a:lvl5pPr marL="208182" indent="-208182" algn="l" defTabSz="1096890" rtl="0" fontAlgn="base">
              <a:lnSpc>
                <a:spcPct val="100000"/>
              </a:lnSpc>
              <a:spcBef>
                <a:spcPct val="0"/>
              </a:spcBef>
              <a:spcAft>
                <a:spcPct val="0"/>
              </a:spcAft>
              <a:buClr>
                <a:schemeClr val="tx2"/>
              </a:buClr>
              <a:buSzPct val="70000"/>
              <a:buFont typeface="Arial" pitchFamily="34" charset="0"/>
              <a:buChar char="►"/>
              <a:defRPr lang="en-US" sz="882" kern="1200" noProof="0" dirty="0">
                <a:solidFill>
                  <a:schemeClr val="bg1"/>
                </a:solidFill>
                <a:latin typeface="EYInterstate Light" panose="02000506000000020004" pitchFamily="2" charset="0"/>
                <a:ea typeface="+mn-ea"/>
                <a:cs typeface="Arial"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465710656"/>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Standard slide_no bullets">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9"/>
          <a:ext cx="1588" cy="1587"/>
        </p:xfrm>
        <a:graphic>
          <a:graphicData uri="http://schemas.openxmlformats.org/presentationml/2006/ole">
            <mc:AlternateContent xmlns:mc="http://schemas.openxmlformats.org/markup-compatibility/2006">
              <mc:Choice xmlns:v="urn:schemas-microsoft-com:vml" Requires="v">
                <p:oleObj spid="_x0000_s30722" name="think-cell Slide" r:id="rId5" imgW="493" imgH="493" progId="TCLayout.ActiveDocument.1">
                  <p:embed/>
                </p:oleObj>
              </mc:Choice>
              <mc:Fallback>
                <p:oleObj name="think-cell Slide" r:id="rId5" imgW="493" imgH="493" progId="TCLayout.ActiveDocument.1">
                  <p:embed/>
                  <p:pic>
                    <p:nvPicPr>
                      <p:cNvPr id="4" name="Object 3" hidden="1"/>
                      <p:cNvPicPr/>
                      <p:nvPr/>
                    </p:nvPicPr>
                    <p:blipFill>
                      <a:blip r:embed="rId6"/>
                      <a:stretch>
                        <a:fillRect/>
                      </a:stretch>
                    </p:blipFill>
                    <p:spPr>
                      <a:xfrm>
                        <a:off x="1588" y="1589"/>
                        <a:ext cx="1588" cy="158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0BB8C480-31F7-4AF2-94A8-D031DC713528}"/>
              </a:ext>
            </a:extLst>
          </p:cNvPr>
          <p:cNvSpPr/>
          <p:nvPr userDrawn="1">
            <p:custDataLst>
              <p:tags r:id="rId3"/>
            </p:custDataLst>
          </p:nvPr>
        </p:nvSpPr>
        <p:spPr>
          <a:xfrm>
            <a:off x="0" y="0"/>
            <a:ext cx="158750" cy="1587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5000"/>
              </a:lnSpc>
              <a:spcBef>
                <a:spcPct val="0"/>
              </a:spcBef>
              <a:spcAft>
                <a:spcPct val="0"/>
              </a:spcAft>
            </a:pPr>
            <a:endParaRPr lang="en-US" sz="2800" b="1" i="0" baseline="0">
              <a:solidFill>
                <a:schemeClr val="tx1"/>
              </a:solidFill>
              <a:latin typeface="EYInterstate" panose="02000503020000020004" pitchFamily="2" charset="0"/>
              <a:ea typeface="+mj-ea"/>
              <a:cs typeface="Arial" panose="020B0604020202020204" pitchFamily="34" charset="0"/>
              <a:sym typeface="EYInterstate" panose="02000503020000020004" pitchFamily="2" charset="0"/>
            </a:endParaRPr>
          </a:p>
        </p:txBody>
      </p:sp>
      <p:sp>
        <p:nvSpPr>
          <p:cNvPr id="2" name="Title 1"/>
          <p:cNvSpPr>
            <a:spLocks noGrp="1"/>
          </p:cNvSpPr>
          <p:nvPr>
            <p:ph type="title" hasCustomPrompt="1"/>
          </p:nvPr>
        </p:nvSpPr>
        <p:spPr/>
        <p:txBody>
          <a:bodyPr/>
          <a:lstStyle/>
          <a:p>
            <a:r>
              <a:rPr lang="en-US"/>
              <a:t>CLICK TO EDIT MASTER TITLE STYLE</a:t>
            </a:r>
          </a:p>
        </p:txBody>
      </p:sp>
      <p:sp>
        <p:nvSpPr>
          <p:cNvPr id="5" name="Text Placeholder 2"/>
          <p:cNvSpPr>
            <a:spLocks noGrp="1"/>
          </p:cNvSpPr>
          <p:nvPr>
            <p:ph type="body" sz="quarter" idx="10" hasCustomPrompt="1"/>
          </p:nvPr>
        </p:nvSpPr>
        <p:spPr>
          <a:xfrm>
            <a:off x="672148" y="6521829"/>
            <a:ext cx="12100810" cy="357326"/>
          </a:xfrm>
        </p:spPr>
        <p:txBody>
          <a:bodyPr anchor="b"/>
          <a:lstStyle>
            <a:lvl1pPr marL="0" marR="0" indent="0" algn="l" defTabSz="862048" rtl="0" eaLnBrk="1" fontAlgn="auto" latinLnBrk="0" hangingPunct="1">
              <a:lnSpc>
                <a:spcPct val="100000"/>
              </a:lnSpc>
              <a:spcBef>
                <a:spcPts val="0"/>
              </a:spcBef>
              <a:spcAft>
                <a:spcPts val="0"/>
              </a:spcAft>
              <a:buClr>
                <a:schemeClr val="accent2"/>
              </a:buClr>
              <a:buSzPct val="70000"/>
              <a:buFont typeface="Arial" pitchFamily="34" charset="0"/>
              <a:buNone/>
              <a:tabLst/>
              <a:defRPr sz="754" baseline="0">
                <a:solidFill>
                  <a:schemeClr val="bg1"/>
                </a:solidFill>
                <a:latin typeface="EYInterstate" panose="02000503020000020004" pitchFamily="2" charset="0"/>
                <a:cs typeface="Arial" panose="020B0604020202020204" pitchFamily="34" charset="0"/>
                <a:sym typeface="EYInterstate"/>
              </a:defRPr>
            </a:lvl1pPr>
          </a:lstStyle>
          <a:p>
            <a:pPr marL="0" marR="0" lvl="0" indent="0" algn="l" defTabSz="862048" rtl="0" eaLnBrk="1" fontAlgn="auto" latinLnBrk="0" hangingPunct="1">
              <a:lnSpc>
                <a:spcPct val="100000"/>
              </a:lnSpc>
              <a:spcBef>
                <a:spcPct val="20000"/>
              </a:spcBef>
              <a:spcAft>
                <a:spcPts val="0"/>
              </a:spcAft>
              <a:buClr>
                <a:schemeClr val="accent2"/>
              </a:buClr>
              <a:buSzPct val="70000"/>
              <a:buFont typeface="Arial" pitchFamily="34" charset="0"/>
              <a:buNone/>
              <a:tabLst/>
              <a:defRPr/>
            </a:pPr>
            <a:r>
              <a:rPr lang="en-US"/>
              <a:t>Notes and sources:</a:t>
            </a:r>
          </a:p>
        </p:txBody>
      </p:sp>
    </p:spTree>
    <p:extLst>
      <p:ext uri="{BB962C8B-B14F-4D97-AF65-F5344CB8AC3E}">
        <p14:creationId xmlns:p14="http://schemas.microsoft.com/office/powerpoint/2010/main" val="296963934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1_Custom Layout">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27207590"/>
      </p:ext>
    </p:extLst>
  </p:cSld>
  <p:clrMapOvr>
    <a:overrideClrMapping bg1="dk1" tx1="lt1" bg2="dk2" tx2="lt2" accent1="accent1" accent2="accent2" accent3="accent3" accent4="accent4" accent5="accent5" accent6="accent6" hlink="hlink" folHlink="folHlink"/>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Standard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589258225"/>
              </p:ext>
            </p:extLst>
          </p:nvPr>
        </p:nvGraphicFramePr>
        <p:xfrm>
          <a:off x="1588" y="1589"/>
          <a:ext cx="1588" cy="1587"/>
        </p:xfrm>
        <a:graphic>
          <a:graphicData uri="http://schemas.openxmlformats.org/presentationml/2006/ole">
            <mc:AlternateContent xmlns:mc="http://schemas.openxmlformats.org/markup-compatibility/2006">
              <mc:Choice xmlns:v="urn:schemas-microsoft-com:vml" Requires="v">
                <p:oleObj spid="_x0000_s32770" name="think-cell Slide" r:id="rId4" imgW="360" imgH="360" progId="TCLayout.ActiveDocument.1">
                  <p:embed/>
                </p:oleObj>
              </mc:Choice>
              <mc:Fallback>
                <p:oleObj name="think-cell Slide" r:id="rId4" imgW="360" imgH="360" progId="TCLayout.ActiveDocument.1">
                  <p:embed/>
                  <p:pic>
                    <p:nvPicPr>
                      <p:cNvPr id="4" name="Object 3" hidden="1"/>
                      <p:cNvPicPr/>
                      <p:nvPr/>
                    </p:nvPicPr>
                    <p:blipFill>
                      <a:blip r:embed="rId5"/>
                      <a:stretch>
                        <a:fillRect/>
                      </a:stretch>
                    </p:blipFill>
                    <p:spPr>
                      <a:xfrm>
                        <a:off x="1588" y="1589"/>
                        <a:ext cx="1588" cy="1587"/>
                      </a:xfrm>
                      <a:prstGeom prst="rect">
                        <a:avLst/>
                      </a:prstGeom>
                    </p:spPr>
                  </p:pic>
                </p:oleObj>
              </mc:Fallback>
            </mc:AlternateContent>
          </a:graphicData>
        </a:graphic>
      </p:graphicFrame>
      <p:pic>
        <p:nvPicPr>
          <p:cNvPr id="6" name="Picture 5">
            <a:extLst>
              <a:ext uri="{FF2B5EF4-FFF2-40B4-BE49-F238E27FC236}">
                <a16:creationId xmlns:a16="http://schemas.microsoft.com/office/drawing/2014/main" id="{CBA8B177-D175-4D5D-8912-2C8BA53F5CE4}"/>
              </a:ext>
            </a:extLst>
          </p:cNvPr>
          <p:cNvPicPr>
            <a:picLocks noChangeAspect="1"/>
          </p:cNvPicPr>
          <p:nvPr userDrawn="1"/>
        </p:nvPicPr>
        <p:blipFill rotWithShape="1">
          <a:blip r:embed="rId6" cstate="email">
            <a:extLst>
              <a:ext uri="{28A0092B-C50C-407E-A947-70E740481C1C}">
                <a14:useLocalDpi xmlns:a14="http://schemas.microsoft.com/office/drawing/2010/main"/>
              </a:ext>
            </a:extLst>
          </a:blip>
          <a:srcRect/>
          <a:stretch/>
        </p:blipFill>
        <p:spPr>
          <a:xfrm>
            <a:off x="0" y="0"/>
            <a:ext cx="13442950" cy="7561263"/>
          </a:xfrm>
          <a:prstGeom prst="rect">
            <a:avLst/>
          </a:prstGeom>
        </p:spPr>
      </p:pic>
    </p:spTree>
    <p:extLst>
      <p:ext uri="{BB962C8B-B14F-4D97-AF65-F5344CB8AC3E}">
        <p14:creationId xmlns:p14="http://schemas.microsoft.com/office/powerpoint/2010/main" val="4191568909"/>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Standard slide_no bullets_no headers">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675092652"/>
              </p:ext>
            </p:extLst>
          </p:nvPr>
        </p:nvGraphicFramePr>
        <p:xfrm>
          <a:off x="1588" y="1589"/>
          <a:ext cx="1588" cy="1587"/>
        </p:xfrm>
        <a:graphic>
          <a:graphicData uri="http://schemas.openxmlformats.org/presentationml/2006/ole">
            <mc:AlternateContent xmlns:mc="http://schemas.openxmlformats.org/markup-compatibility/2006">
              <mc:Choice xmlns:v="urn:schemas-microsoft-com:vml" Requires="v">
                <p:oleObj spid="_x0000_s33794" name="think-cell Slide" r:id="rId4" imgW="493" imgH="493" progId="TCLayout.ActiveDocument.1">
                  <p:embed/>
                </p:oleObj>
              </mc:Choice>
              <mc:Fallback>
                <p:oleObj name="think-cell Slide" r:id="rId4" imgW="493" imgH="493" progId="TCLayout.ActiveDocument.1">
                  <p:embed/>
                  <p:pic>
                    <p:nvPicPr>
                      <p:cNvPr id="4" name="Object 3" hidden="1"/>
                      <p:cNvPicPr/>
                      <p:nvPr/>
                    </p:nvPicPr>
                    <p:blipFill>
                      <a:blip r:embed="rId5"/>
                      <a:stretch>
                        <a:fillRect/>
                      </a:stretch>
                    </p:blipFill>
                    <p:spPr>
                      <a:xfrm>
                        <a:off x="1588" y="1589"/>
                        <a:ext cx="1588" cy="1587"/>
                      </a:xfrm>
                      <a:prstGeom prst="rect">
                        <a:avLst/>
                      </a:prstGeom>
                    </p:spPr>
                  </p:pic>
                </p:oleObj>
              </mc:Fallback>
            </mc:AlternateContent>
          </a:graphicData>
        </a:graphic>
      </p:graphicFrame>
      <p:sp>
        <p:nvSpPr>
          <p:cNvPr id="2" name="Title 1"/>
          <p:cNvSpPr>
            <a:spLocks noGrp="1"/>
          </p:cNvSpPr>
          <p:nvPr>
            <p:ph type="title" hasCustomPrompt="1"/>
          </p:nvPr>
        </p:nvSpPr>
        <p:spPr>
          <a:xfrm>
            <a:off x="943200" y="608400"/>
            <a:ext cx="11700000" cy="741600"/>
          </a:xfrm>
          <a:prstGeom prst="rect">
            <a:avLst/>
          </a:prstGeom>
        </p:spPr>
        <p:txBody>
          <a:bodyPr/>
          <a:lstStyle>
            <a:lvl1pPr>
              <a:defRPr sz="2400"/>
            </a:lvl1pPr>
          </a:lstStyle>
          <a:p>
            <a:r>
              <a:rPr lang="en-US"/>
              <a:t>CLICK TO EDIT MASTER TITLE STYLE</a:t>
            </a:r>
            <a:endParaRPr lang="en-GB"/>
          </a:p>
        </p:txBody>
      </p:sp>
    </p:spTree>
    <p:extLst>
      <p:ext uri="{BB962C8B-B14F-4D97-AF65-F5344CB8AC3E}">
        <p14:creationId xmlns:p14="http://schemas.microsoft.com/office/powerpoint/2010/main" val="2698410435"/>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Custom Layout">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A8BBA6AB-52DA-1F4F-A9F2-32A0449550D3}"/>
              </a:ext>
            </a:extLst>
          </p:cNvPr>
          <p:cNvSpPr/>
          <p:nvPr userDrawn="1"/>
        </p:nvSpPr>
        <p:spPr>
          <a:xfrm>
            <a:off x="943904" y="428151"/>
            <a:ext cx="1260000" cy="10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itle 4">
            <a:extLst>
              <a:ext uri="{FF2B5EF4-FFF2-40B4-BE49-F238E27FC236}">
                <a16:creationId xmlns:a16="http://schemas.microsoft.com/office/drawing/2014/main" id="{CEA215F3-869A-0348-BB46-F05B965212F4}"/>
              </a:ext>
            </a:extLst>
          </p:cNvPr>
          <p:cNvSpPr>
            <a:spLocks noGrp="1"/>
          </p:cNvSpPr>
          <p:nvPr>
            <p:ph type="title"/>
          </p:nvPr>
        </p:nvSpPr>
        <p:spPr>
          <a:xfrm>
            <a:off x="943904" y="608400"/>
            <a:ext cx="12098656" cy="811646"/>
          </a:xfrm>
          <a:prstGeom prst="rect">
            <a:avLst/>
          </a:prstGeom>
        </p:spPr>
        <p:txBody>
          <a:bodyPr lIns="0"/>
          <a:lstStyle>
            <a:lvl1pPr>
              <a:defRPr sz="2400"/>
            </a:lvl1pPr>
          </a:lstStyle>
          <a:p>
            <a:r>
              <a:rPr lang="en-US"/>
              <a:t>Click to edit Master title style</a:t>
            </a:r>
            <a:endParaRPr lang="en-GB"/>
          </a:p>
        </p:txBody>
      </p:sp>
    </p:spTree>
    <p:extLst>
      <p:ext uri="{BB962C8B-B14F-4D97-AF65-F5344CB8AC3E}">
        <p14:creationId xmlns:p14="http://schemas.microsoft.com/office/powerpoint/2010/main" val="1404083957"/>
      </p:ext>
    </p:extLst>
  </p:cSld>
  <p:clrMapOvr>
    <a:overrideClrMapping bg1="dk1" tx1="lt1" bg2="dk2" tx2="lt2" accent1="accent1" accent2="accent2" accent3="accent3" accent4="accent4" accent5="accent5" accent6="accent6" hlink="hlink" folHlink="folHlink"/>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1_Custom Layout">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60024926"/>
      </p:ext>
    </p:extLst>
  </p:cSld>
  <p:clrMapOvr>
    <a:overrideClrMapping bg1="dk1" tx1="lt1" bg2="dk2" tx2="lt2" accent1="accent1" accent2="accent2" accent3="accent3" accent4="accent4" accent5="accent5" accent6="accent6" hlink="hlink" folHlink="folHlink"/>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5_Blank">
    <p:bg>
      <p:bgPr>
        <a:solidFill>
          <a:schemeClr val="tx1"/>
        </a:solidFill>
        <a:effectLst/>
      </p:bgPr>
    </p:bg>
    <p:spTree>
      <p:nvGrpSpPr>
        <p:cNvPr id="1" name=""/>
        <p:cNvGrpSpPr/>
        <p:nvPr/>
      </p:nvGrpSpPr>
      <p:grpSpPr>
        <a:xfrm>
          <a:off x="0" y="0"/>
          <a:ext cx="0" cy="0"/>
          <a:chOff x="0" y="0"/>
          <a:chExt cx="0" cy="0"/>
        </a:xfrm>
      </p:grpSpPr>
      <p:sp>
        <p:nvSpPr>
          <p:cNvPr id="15" name="object 7">
            <a:extLst>
              <a:ext uri="{FF2B5EF4-FFF2-40B4-BE49-F238E27FC236}">
                <a16:creationId xmlns:a16="http://schemas.microsoft.com/office/drawing/2014/main" id="{A9E07F53-5493-D745-9EB3-56AA82429EB9}"/>
              </a:ext>
            </a:extLst>
          </p:cNvPr>
          <p:cNvSpPr/>
          <p:nvPr userDrawn="1"/>
        </p:nvSpPr>
        <p:spPr>
          <a:xfrm>
            <a:off x="714208" y="396917"/>
            <a:ext cx="3967825" cy="0"/>
          </a:xfrm>
          <a:custGeom>
            <a:avLst/>
            <a:gdLst/>
            <a:ahLst/>
            <a:cxnLst/>
            <a:rect l="l" t="t" r="r" b="b"/>
            <a:pathLst>
              <a:path w="7721600">
                <a:moveTo>
                  <a:pt x="0" y="0"/>
                </a:moveTo>
                <a:lnTo>
                  <a:pt x="7721600" y="0"/>
                </a:lnTo>
              </a:path>
            </a:pathLst>
          </a:custGeom>
          <a:ln w="19050">
            <a:solidFill>
              <a:schemeClr val="accent3"/>
            </a:solidFill>
          </a:ln>
        </p:spPr>
        <p:txBody>
          <a:bodyPr wrap="square" lIns="0" tIns="0" rIns="0" bIns="0" rtlCol="0"/>
          <a:lstStyle/>
          <a:p>
            <a:endParaRPr sz="1622"/>
          </a:p>
        </p:txBody>
      </p:sp>
      <p:sp>
        <p:nvSpPr>
          <p:cNvPr id="24" name="Title 23">
            <a:extLst>
              <a:ext uri="{FF2B5EF4-FFF2-40B4-BE49-F238E27FC236}">
                <a16:creationId xmlns:a16="http://schemas.microsoft.com/office/drawing/2014/main" id="{74582B84-AFBF-C14B-A4DA-884520648B28}"/>
              </a:ext>
            </a:extLst>
          </p:cNvPr>
          <p:cNvSpPr>
            <a:spLocks noGrp="1"/>
          </p:cNvSpPr>
          <p:nvPr>
            <p:ph type="title" hasCustomPrompt="1"/>
          </p:nvPr>
        </p:nvSpPr>
        <p:spPr>
          <a:xfrm>
            <a:off x="714210" y="476303"/>
            <a:ext cx="11903474" cy="555682"/>
          </a:xfrm>
          <a:prstGeom prst="rect">
            <a:avLst/>
          </a:prstGeom>
        </p:spPr>
        <p:txBody>
          <a:bodyPr vert="horz" wrap="square" lIns="0" tIns="0" rIns="0" bIns="0" rtlCol="0">
            <a:noAutofit/>
          </a:bodyPr>
          <a:lstStyle>
            <a:lvl1pPr>
              <a:defRPr lang="en-US" sz="2205" spc="-54" dirty="0">
                <a:solidFill>
                  <a:srgbClr val="575756"/>
                </a:solidFill>
                <a:latin typeface="EYInterstate Light" panose="02000506000000020004" pitchFamily="2" charset="0"/>
                <a:ea typeface="+mn-ea"/>
                <a:cs typeface="EYInterstate Light" panose="02000506000000020004" pitchFamily="2" charset="0"/>
              </a:defRPr>
            </a:lvl1pPr>
          </a:lstStyle>
          <a:p>
            <a:pPr marL="12355" lvl="0" defTabSz="889571">
              <a:lnSpc>
                <a:spcPct val="100000"/>
              </a:lnSpc>
            </a:pPr>
            <a:r>
              <a:rPr lang="en-US"/>
              <a:t>CLICK TO EDIT MASTER TITLE STYLE</a:t>
            </a:r>
          </a:p>
        </p:txBody>
      </p:sp>
    </p:spTree>
    <p:extLst>
      <p:ext uri="{BB962C8B-B14F-4D97-AF65-F5344CB8AC3E}">
        <p14:creationId xmlns:p14="http://schemas.microsoft.com/office/powerpoint/2010/main" val="4195755520"/>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userDrawn="1">
  <p:cSld name="1_Final legal text">
    <p:spTree>
      <p:nvGrpSpPr>
        <p:cNvPr id="1" name=""/>
        <p:cNvGrpSpPr/>
        <p:nvPr/>
      </p:nvGrpSpPr>
      <p:grpSpPr>
        <a:xfrm>
          <a:off x="0" y="0"/>
          <a:ext cx="0" cy="0"/>
          <a:chOff x="0" y="0"/>
          <a:chExt cx="0" cy="0"/>
        </a:xfrm>
      </p:grpSpPr>
      <p:pic>
        <p:nvPicPr>
          <p:cNvPr id="5" name="Content Placeholder 3">
            <a:extLst>
              <a:ext uri="{FF2B5EF4-FFF2-40B4-BE49-F238E27FC236}">
                <a16:creationId xmlns:a16="http://schemas.microsoft.com/office/drawing/2014/main" id="{501A2F11-32A0-4526-A5F7-F4382DA5B47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530" y="0"/>
            <a:ext cx="13435952" cy="7561263"/>
          </a:xfrm>
          <a:prstGeom prst="rect">
            <a:avLst/>
          </a:prstGeom>
        </p:spPr>
      </p:pic>
      <p:sp>
        <p:nvSpPr>
          <p:cNvPr id="8" name="Content Placeholder 2"/>
          <p:cNvSpPr>
            <a:spLocks noGrp="1"/>
          </p:cNvSpPr>
          <p:nvPr>
            <p:ph idx="1"/>
          </p:nvPr>
        </p:nvSpPr>
        <p:spPr>
          <a:xfrm>
            <a:off x="669813" y="792884"/>
            <a:ext cx="5154895" cy="5744335"/>
          </a:xfrm>
        </p:spPr>
        <p:txBody>
          <a:bodyPr/>
          <a:lstStyle>
            <a:lvl1pPr marL="0" indent="0" algn="l" defTabSz="1096890" rtl="0" fontAlgn="base">
              <a:lnSpc>
                <a:spcPct val="100000"/>
              </a:lnSpc>
              <a:spcBef>
                <a:spcPct val="70000"/>
              </a:spcBef>
              <a:spcAft>
                <a:spcPct val="0"/>
              </a:spcAft>
              <a:buSzPct val="100000"/>
              <a:buNone/>
              <a:defRPr lang="en-US" sz="1322" kern="1200" noProof="0" dirty="0" smtClean="0">
                <a:solidFill>
                  <a:schemeClr val="bg1"/>
                </a:solidFill>
                <a:latin typeface="EYInterstate Light" panose="02000506000000020004" pitchFamily="2" charset="0"/>
                <a:ea typeface="+mn-ea"/>
                <a:cs typeface="Arial" pitchFamily="34" charset="0"/>
              </a:defRPr>
            </a:lvl1pPr>
            <a:lvl2pPr marL="0" indent="0" algn="l" defTabSz="1096890" rtl="0" fontAlgn="base">
              <a:lnSpc>
                <a:spcPct val="100000"/>
              </a:lnSpc>
              <a:spcBef>
                <a:spcPct val="0"/>
              </a:spcBef>
              <a:spcAft>
                <a:spcPct val="0"/>
              </a:spcAft>
              <a:buSzPct val="100000"/>
              <a:buNone/>
              <a:defRPr lang="en-US" sz="992" b="1" kern="1200" noProof="0" dirty="0" smtClean="0">
                <a:solidFill>
                  <a:schemeClr val="bg1"/>
                </a:solidFill>
                <a:latin typeface="EYInterstate Light" panose="02000506000000020004" pitchFamily="2" charset="0"/>
                <a:ea typeface="+mn-ea"/>
                <a:cs typeface="Arial" pitchFamily="34" charset="0"/>
              </a:defRPr>
            </a:lvl2pPr>
            <a:lvl3pPr marL="194187" indent="-194187" algn="l" defTabSz="1096890" rtl="0" fontAlgn="base">
              <a:lnSpc>
                <a:spcPct val="100000"/>
              </a:lnSpc>
              <a:spcBef>
                <a:spcPct val="0"/>
              </a:spcBef>
              <a:spcAft>
                <a:spcPct val="0"/>
              </a:spcAft>
              <a:buClr>
                <a:schemeClr val="tx2"/>
              </a:buClr>
              <a:buSzPct val="70000"/>
              <a:buFont typeface="Arial" pitchFamily="34" charset="0"/>
              <a:buChar char="►"/>
              <a:defRPr lang="en-US" sz="992" b="1" kern="1200" noProof="0" dirty="0" smtClean="0">
                <a:solidFill>
                  <a:schemeClr val="bg1"/>
                </a:solidFill>
                <a:latin typeface="EYInterstate Light" panose="02000506000000020004" pitchFamily="2" charset="0"/>
                <a:ea typeface="+mn-ea"/>
                <a:cs typeface="Arial" pitchFamily="34" charset="0"/>
              </a:defRPr>
            </a:lvl3pPr>
            <a:lvl4pPr marL="0" indent="0" algn="l" defTabSz="1096890" rtl="0" fontAlgn="base">
              <a:lnSpc>
                <a:spcPct val="100000"/>
              </a:lnSpc>
              <a:spcBef>
                <a:spcPct val="0"/>
              </a:spcBef>
              <a:spcAft>
                <a:spcPct val="0"/>
              </a:spcAft>
              <a:buSzPct val="100000"/>
              <a:buNone/>
              <a:defRPr lang="en-US" sz="882" kern="1200" noProof="0" dirty="0" smtClean="0">
                <a:solidFill>
                  <a:schemeClr val="bg1"/>
                </a:solidFill>
                <a:latin typeface="EYInterstate Light" panose="02000506000000020004" pitchFamily="2" charset="0"/>
                <a:ea typeface="+mn-ea"/>
                <a:cs typeface="Arial" pitchFamily="34" charset="0"/>
              </a:defRPr>
            </a:lvl4pPr>
            <a:lvl5pPr marL="208182" indent="-208182" algn="l" defTabSz="1096890" rtl="0" fontAlgn="base">
              <a:lnSpc>
                <a:spcPct val="100000"/>
              </a:lnSpc>
              <a:spcBef>
                <a:spcPct val="0"/>
              </a:spcBef>
              <a:spcAft>
                <a:spcPct val="0"/>
              </a:spcAft>
              <a:buClr>
                <a:schemeClr val="tx2"/>
              </a:buClr>
              <a:buSzPct val="70000"/>
              <a:buFont typeface="Arial" pitchFamily="34" charset="0"/>
              <a:buChar char="►"/>
              <a:defRPr lang="en-US" sz="882" kern="1200" noProof="0" dirty="0">
                <a:solidFill>
                  <a:schemeClr val="bg1"/>
                </a:solidFill>
                <a:latin typeface="EYInterstate Light" panose="02000506000000020004" pitchFamily="2" charset="0"/>
                <a:ea typeface="+mn-ea"/>
                <a:cs typeface="Arial"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816032676"/>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userDrawn="1">
  <p:cSld name="Standard slide_no bullets">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9"/>
          <a:ext cx="1588" cy="1587"/>
        </p:xfrm>
        <a:graphic>
          <a:graphicData uri="http://schemas.openxmlformats.org/presentationml/2006/ole">
            <mc:AlternateContent xmlns:mc="http://schemas.openxmlformats.org/markup-compatibility/2006">
              <mc:Choice xmlns:v="urn:schemas-microsoft-com:vml" Requires="v">
                <p:oleObj spid="_x0000_s34818" name="think-cell Slide" r:id="rId5" imgW="493" imgH="493" progId="TCLayout.ActiveDocument.1">
                  <p:embed/>
                </p:oleObj>
              </mc:Choice>
              <mc:Fallback>
                <p:oleObj name="think-cell Slide" r:id="rId5" imgW="493" imgH="493" progId="TCLayout.ActiveDocument.1">
                  <p:embed/>
                  <p:pic>
                    <p:nvPicPr>
                      <p:cNvPr id="4" name="Object 3" hidden="1"/>
                      <p:cNvPicPr/>
                      <p:nvPr/>
                    </p:nvPicPr>
                    <p:blipFill>
                      <a:blip r:embed="rId6"/>
                      <a:stretch>
                        <a:fillRect/>
                      </a:stretch>
                    </p:blipFill>
                    <p:spPr>
                      <a:xfrm>
                        <a:off x="1588" y="1589"/>
                        <a:ext cx="1588" cy="158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0BB8C480-31F7-4AF2-94A8-D031DC713528}"/>
              </a:ext>
            </a:extLst>
          </p:cNvPr>
          <p:cNvSpPr/>
          <p:nvPr userDrawn="1">
            <p:custDataLst>
              <p:tags r:id="rId3"/>
            </p:custDataLst>
          </p:nvPr>
        </p:nvSpPr>
        <p:spPr>
          <a:xfrm>
            <a:off x="0" y="0"/>
            <a:ext cx="158750" cy="1587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5000"/>
              </a:lnSpc>
              <a:spcBef>
                <a:spcPct val="0"/>
              </a:spcBef>
              <a:spcAft>
                <a:spcPct val="0"/>
              </a:spcAft>
            </a:pPr>
            <a:endParaRPr lang="en-US" sz="2800" b="1" i="0" baseline="0">
              <a:solidFill>
                <a:schemeClr val="tx1"/>
              </a:solidFill>
              <a:latin typeface="EYInterstate" panose="02000503020000020004" pitchFamily="2" charset="0"/>
              <a:ea typeface="+mj-ea"/>
              <a:cs typeface="Arial" panose="020B0604020202020204" pitchFamily="34" charset="0"/>
              <a:sym typeface="EYInterstate" panose="02000503020000020004" pitchFamily="2" charset="0"/>
            </a:endParaRPr>
          </a:p>
        </p:txBody>
      </p:sp>
      <p:sp>
        <p:nvSpPr>
          <p:cNvPr id="2" name="Title 1"/>
          <p:cNvSpPr>
            <a:spLocks noGrp="1"/>
          </p:cNvSpPr>
          <p:nvPr>
            <p:ph type="title" hasCustomPrompt="1"/>
          </p:nvPr>
        </p:nvSpPr>
        <p:spPr/>
        <p:txBody>
          <a:bodyPr/>
          <a:lstStyle/>
          <a:p>
            <a:r>
              <a:rPr lang="en-US"/>
              <a:t>CLICK TO EDIT MASTER TITLE STYLE</a:t>
            </a:r>
          </a:p>
        </p:txBody>
      </p:sp>
      <p:sp>
        <p:nvSpPr>
          <p:cNvPr id="5" name="Text Placeholder 2"/>
          <p:cNvSpPr>
            <a:spLocks noGrp="1"/>
          </p:cNvSpPr>
          <p:nvPr>
            <p:ph type="body" sz="quarter" idx="10" hasCustomPrompt="1"/>
          </p:nvPr>
        </p:nvSpPr>
        <p:spPr>
          <a:xfrm>
            <a:off x="672148" y="6521829"/>
            <a:ext cx="12100810" cy="357326"/>
          </a:xfrm>
        </p:spPr>
        <p:txBody>
          <a:bodyPr anchor="b"/>
          <a:lstStyle>
            <a:lvl1pPr marL="0" marR="0" indent="0" algn="l" defTabSz="862048" rtl="0" eaLnBrk="1" fontAlgn="auto" latinLnBrk="0" hangingPunct="1">
              <a:lnSpc>
                <a:spcPct val="100000"/>
              </a:lnSpc>
              <a:spcBef>
                <a:spcPts val="0"/>
              </a:spcBef>
              <a:spcAft>
                <a:spcPts val="0"/>
              </a:spcAft>
              <a:buClr>
                <a:schemeClr val="accent2"/>
              </a:buClr>
              <a:buSzPct val="70000"/>
              <a:buFont typeface="Arial" pitchFamily="34" charset="0"/>
              <a:buNone/>
              <a:tabLst/>
              <a:defRPr sz="754" baseline="0">
                <a:solidFill>
                  <a:schemeClr val="bg1"/>
                </a:solidFill>
                <a:latin typeface="EYInterstate" panose="02000503020000020004" pitchFamily="2" charset="0"/>
                <a:cs typeface="Arial" panose="020B0604020202020204" pitchFamily="34" charset="0"/>
                <a:sym typeface="EYInterstate"/>
              </a:defRPr>
            </a:lvl1pPr>
          </a:lstStyle>
          <a:p>
            <a:pPr marL="0" marR="0" lvl="0" indent="0" algn="l" defTabSz="862048" rtl="0" eaLnBrk="1" fontAlgn="auto" latinLnBrk="0" hangingPunct="1">
              <a:lnSpc>
                <a:spcPct val="100000"/>
              </a:lnSpc>
              <a:spcBef>
                <a:spcPct val="20000"/>
              </a:spcBef>
              <a:spcAft>
                <a:spcPts val="0"/>
              </a:spcAft>
              <a:buClr>
                <a:schemeClr val="accent2"/>
              </a:buClr>
              <a:buSzPct val="70000"/>
              <a:buFont typeface="Arial" pitchFamily="34" charset="0"/>
              <a:buNone/>
              <a:tabLst/>
              <a:defRPr/>
            </a:pPr>
            <a:r>
              <a:rPr lang="en-US"/>
              <a:t>Notes and sources:</a:t>
            </a:r>
          </a:p>
        </p:txBody>
      </p:sp>
    </p:spTree>
    <p:extLst>
      <p:ext uri="{BB962C8B-B14F-4D97-AF65-F5344CB8AC3E}">
        <p14:creationId xmlns:p14="http://schemas.microsoft.com/office/powerpoint/2010/main" val="3326635738"/>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Standard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396228957"/>
              </p:ext>
            </p:extLst>
          </p:nvPr>
        </p:nvGraphicFramePr>
        <p:xfrm>
          <a:off x="1588" y="1589"/>
          <a:ext cx="1588" cy="1587"/>
        </p:xfrm>
        <a:graphic>
          <a:graphicData uri="http://schemas.openxmlformats.org/presentationml/2006/ole">
            <mc:AlternateContent xmlns:mc="http://schemas.openxmlformats.org/markup-compatibility/2006">
              <mc:Choice xmlns:v="urn:schemas-microsoft-com:vml" Requires="v">
                <p:oleObj spid="_x0000_s36866" name="think-cell Slide" r:id="rId4" imgW="360" imgH="360" progId="TCLayout.ActiveDocument.1">
                  <p:embed/>
                </p:oleObj>
              </mc:Choice>
              <mc:Fallback>
                <p:oleObj name="think-cell Slide" r:id="rId4" imgW="360" imgH="360" progId="TCLayout.ActiveDocument.1">
                  <p:embed/>
                  <p:pic>
                    <p:nvPicPr>
                      <p:cNvPr id="4" name="Object 3" hidden="1"/>
                      <p:cNvPicPr/>
                      <p:nvPr/>
                    </p:nvPicPr>
                    <p:blipFill>
                      <a:blip r:embed="rId5"/>
                      <a:stretch>
                        <a:fillRect/>
                      </a:stretch>
                    </p:blipFill>
                    <p:spPr>
                      <a:xfrm>
                        <a:off x="1588" y="1589"/>
                        <a:ext cx="1588" cy="1587"/>
                      </a:xfrm>
                      <a:prstGeom prst="rect">
                        <a:avLst/>
                      </a:prstGeom>
                    </p:spPr>
                  </p:pic>
                </p:oleObj>
              </mc:Fallback>
            </mc:AlternateContent>
          </a:graphicData>
        </a:graphic>
      </p:graphicFrame>
      <p:pic>
        <p:nvPicPr>
          <p:cNvPr id="6" name="Picture 5">
            <a:extLst>
              <a:ext uri="{FF2B5EF4-FFF2-40B4-BE49-F238E27FC236}">
                <a16:creationId xmlns:a16="http://schemas.microsoft.com/office/drawing/2014/main" id="{CBA8B177-D175-4D5D-8912-2C8BA53F5CE4}"/>
              </a:ext>
            </a:extLst>
          </p:cNvPr>
          <p:cNvPicPr>
            <a:picLocks noChangeAspect="1"/>
          </p:cNvPicPr>
          <p:nvPr userDrawn="1"/>
        </p:nvPicPr>
        <p:blipFill rotWithShape="1">
          <a:blip r:embed="rId6" cstate="email">
            <a:extLst>
              <a:ext uri="{28A0092B-C50C-407E-A947-70E740481C1C}">
                <a14:useLocalDpi xmlns:a14="http://schemas.microsoft.com/office/drawing/2010/main"/>
              </a:ext>
            </a:extLst>
          </a:blip>
          <a:srcRect/>
          <a:stretch/>
        </p:blipFill>
        <p:spPr>
          <a:xfrm>
            <a:off x="0" y="0"/>
            <a:ext cx="13442950" cy="7561263"/>
          </a:xfrm>
          <a:prstGeom prst="rect">
            <a:avLst/>
          </a:prstGeom>
        </p:spPr>
      </p:pic>
    </p:spTree>
    <p:extLst>
      <p:ext uri="{BB962C8B-B14F-4D97-AF65-F5344CB8AC3E}">
        <p14:creationId xmlns:p14="http://schemas.microsoft.com/office/powerpoint/2010/main" val="2819791053"/>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Standard slide_no bullets_no headers">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103069096"/>
              </p:ext>
            </p:extLst>
          </p:nvPr>
        </p:nvGraphicFramePr>
        <p:xfrm>
          <a:off x="1588" y="1589"/>
          <a:ext cx="1588" cy="1587"/>
        </p:xfrm>
        <a:graphic>
          <a:graphicData uri="http://schemas.openxmlformats.org/presentationml/2006/ole">
            <mc:AlternateContent xmlns:mc="http://schemas.openxmlformats.org/markup-compatibility/2006">
              <mc:Choice xmlns:v="urn:schemas-microsoft-com:vml" Requires="v">
                <p:oleObj spid="_x0000_s37890" name="think-cell Slide" r:id="rId4" imgW="493" imgH="493" progId="TCLayout.ActiveDocument.1">
                  <p:embed/>
                </p:oleObj>
              </mc:Choice>
              <mc:Fallback>
                <p:oleObj name="think-cell Slide" r:id="rId4" imgW="493" imgH="493" progId="TCLayout.ActiveDocument.1">
                  <p:embed/>
                  <p:pic>
                    <p:nvPicPr>
                      <p:cNvPr id="4" name="Object 3" hidden="1"/>
                      <p:cNvPicPr/>
                      <p:nvPr/>
                    </p:nvPicPr>
                    <p:blipFill>
                      <a:blip r:embed="rId5"/>
                      <a:stretch>
                        <a:fillRect/>
                      </a:stretch>
                    </p:blipFill>
                    <p:spPr>
                      <a:xfrm>
                        <a:off x="1588" y="1589"/>
                        <a:ext cx="1588" cy="1587"/>
                      </a:xfrm>
                      <a:prstGeom prst="rect">
                        <a:avLst/>
                      </a:prstGeom>
                    </p:spPr>
                  </p:pic>
                </p:oleObj>
              </mc:Fallback>
            </mc:AlternateContent>
          </a:graphicData>
        </a:graphic>
      </p:graphicFrame>
      <p:sp>
        <p:nvSpPr>
          <p:cNvPr id="2" name="Title 1"/>
          <p:cNvSpPr>
            <a:spLocks noGrp="1"/>
          </p:cNvSpPr>
          <p:nvPr>
            <p:ph type="title" hasCustomPrompt="1"/>
          </p:nvPr>
        </p:nvSpPr>
        <p:spPr>
          <a:xfrm>
            <a:off x="943200" y="608400"/>
            <a:ext cx="11700000" cy="741600"/>
          </a:xfrm>
          <a:prstGeom prst="rect">
            <a:avLst/>
          </a:prstGeom>
        </p:spPr>
        <p:txBody>
          <a:bodyPr/>
          <a:lstStyle>
            <a:lvl1pPr>
              <a:defRPr sz="2400"/>
            </a:lvl1pPr>
          </a:lstStyle>
          <a:p>
            <a:r>
              <a:rPr lang="en-US"/>
              <a:t>CLICK TO EDIT MASTER TITLE STYLE</a:t>
            </a:r>
            <a:endParaRPr lang="en-GB"/>
          </a:p>
        </p:txBody>
      </p:sp>
    </p:spTree>
    <p:extLst>
      <p:ext uri="{BB962C8B-B14F-4D97-AF65-F5344CB8AC3E}">
        <p14:creationId xmlns:p14="http://schemas.microsoft.com/office/powerpoint/2010/main" val="1806325498"/>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Custom Layout">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A8BBA6AB-52DA-1F4F-A9F2-32A0449550D3}"/>
              </a:ext>
            </a:extLst>
          </p:cNvPr>
          <p:cNvSpPr/>
          <p:nvPr userDrawn="1"/>
        </p:nvSpPr>
        <p:spPr>
          <a:xfrm>
            <a:off x="943904" y="428151"/>
            <a:ext cx="1260000" cy="10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itle 4">
            <a:extLst>
              <a:ext uri="{FF2B5EF4-FFF2-40B4-BE49-F238E27FC236}">
                <a16:creationId xmlns:a16="http://schemas.microsoft.com/office/drawing/2014/main" id="{CEA215F3-869A-0348-BB46-F05B965212F4}"/>
              </a:ext>
            </a:extLst>
          </p:cNvPr>
          <p:cNvSpPr>
            <a:spLocks noGrp="1"/>
          </p:cNvSpPr>
          <p:nvPr>
            <p:ph type="title"/>
          </p:nvPr>
        </p:nvSpPr>
        <p:spPr>
          <a:xfrm>
            <a:off x="943904" y="608400"/>
            <a:ext cx="12098656" cy="811646"/>
          </a:xfrm>
          <a:prstGeom prst="rect">
            <a:avLst/>
          </a:prstGeom>
        </p:spPr>
        <p:txBody>
          <a:bodyPr lIns="0"/>
          <a:lstStyle>
            <a:lvl1pPr>
              <a:defRPr sz="2400"/>
            </a:lvl1pPr>
          </a:lstStyle>
          <a:p>
            <a:r>
              <a:rPr lang="en-US"/>
              <a:t>Click to edit Master title style</a:t>
            </a:r>
            <a:endParaRPr lang="en-GB"/>
          </a:p>
        </p:txBody>
      </p:sp>
    </p:spTree>
    <p:extLst>
      <p:ext uri="{BB962C8B-B14F-4D97-AF65-F5344CB8AC3E}">
        <p14:creationId xmlns:p14="http://schemas.microsoft.com/office/powerpoint/2010/main" val="3910776714"/>
      </p:ext>
    </p:extLst>
  </p:cSld>
  <p:clrMapOvr>
    <a:overrideClrMapping bg1="dk1" tx1="lt1" bg2="dk2" tx2="lt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vmlDrawing" Target="../drawings/vmlDrawing1.vml"/><Relationship Id="rId12" Type="http://schemas.openxmlformats.org/officeDocument/2006/relationships/image" Target="../media/image2.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11" Type="http://schemas.openxmlformats.org/officeDocument/2006/relationships/image" Target="../media/image1.emf"/><Relationship Id="rId5" Type="http://schemas.openxmlformats.org/officeDocument/2006/relationships/slideLayout" Target="../slideLayouts/slideLayout5.xml"/><Relationship Id="rId10"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tags" Target="../tags/tag3.xml"/></Relationships>
</file>

<file path=ppt/slideMasters/_rels/slideMaster10.xml.rels><?xml version="1.0" encoding="UTF-8" standalone="yes"?>
<Relationships xmlns="http://schemas.openxmlformats.org/package/2006/relationships"><Relationship Id="rId8" Type="http://schemas.openxmlformats.org/officeDocument/2006/relationships/tags" Target="../tags/tag36.xml"/><Relationship Id="rId13" Type="http://schemas.openxmlformats.org/officeDocument/2006/relationships/tags" Target="../tags/tag41.xml"/><Relationship Id="rId3" Type="http://schemas.openxmlformats.org/officeDocument/2006/relationships/vmlDrawing" Target="../drawings/vmlDrawing23.vml"/><Relationship Id="rId7" Type="http://schemas.openxmlformats.org/officeDocument/2006/relationships/tags" Target="../tags/tag35.xml"/><Relationship Id="rId12" Type="http://schemas.openxmlformats.org/officeDocument/2006/relationships/tags" Target="../tags/tag40.xml"/><Relationship Id="rId17" Type="http://schemas.openxmlformats.org/officeDocument/2006/relationships/image" Target="NULL"/><Relationship Id="rId2" Type="http://schemas.openxmlformats.org/officeDocument/2006/relationships/theme" Target="../theme/theme10.xml"/><Relationship Id="rId16" Type="http://schemas.openxmlformats.org/officeDocument/2006/relationships/oleObject" Target="../embeddings/oleObject23.bin"/><Relationship Id="rId1" Type="http://schemas.openxmlformats.org/officeDocument/2006/relationships/slideLayout" Target="../slideLayouts/slideLayout61.xml"/><Relationship Id="rId6" Type="http://schemas.openxmlformats.org/officeDocument/2006/relationships/tags" Target="../tags/tag34.xml"/><Relationship Id="rId11" Type="http://schemas.openxmlformats.org/officeDocument/2006/relationships/tags" Target="../tags/tag39.xml"/><Relationship Id="rId5" Type="http://schemas.openxmlformats.org/officeDocument/2006/relationships/tags" Target="../tags/tag33.xml"/><Relationship Id="rId15" Type="http://schemas.openxmlformats.org/officeDocument/2006/relationships/tags" Target="../tags/tag43.xml"/><Relationship Id="rId10" Type="http://schemas.openxmlformats.org/officeDocument/2006/relationships/tags" Target="../tags/tag38.xml"/><Relationship Id="rId4" Type="http://schemas.openxmlformats.org/officeDocument/2006/relationships/tags" Target="../tags/tag32.xml"/><Relationship Id="rId9" Type="http://schemas.openxmlformats.org/officeDocument/2006/relationships/tags" Target="../tags/tag37.xml"/><Relationship Id="rId14" Type="http://schemas.openxmlformats.org/officeDocument/2006/relationships/tags" Target="../tags/tag42.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69.xml"/><Relationship Id="rId13" Type="http://schemas.openxmlformats.org/officeDocument/2006/relationships/slideLayout" Target="../slideLayouts/slideLayout74.xml"/><Relationship Id="rId3" Type="http://schemas.openxmlformats.org/officeDocument/2006/relationships/slideLayout" Target="../slideLayouts/slideLayout64.xml"/><Relationship Id="rId7" Type="http://schemas.openxmlformats.org/officeDocument/2006/relationships/slideLayout" Target="../slideLayouts/slideLayout68.xml"/><Relationship Id="rId12" Type="http://schemas.openxmlformats.org/officeDocument/2006/relationships/slideLayout" Target="../slideLayouts/slideLayout73.xml"/><Relationship Id="rId2" Type="http://schemas.openxmlformats.org/officeDocument/2006/relationships/slideLayout" Target="../slideLayouts/slideLayout63.xml"/><Relationship Id="rId1" Type="http://schemas.openxmlformats.org/officeDocument/2006/relationships/slideLayout" Target="../slideLayouts/slideLayout62.xml"/><Relationship Id="rId6" Type="http://schemas.openxmlformats.org/officeDocument/2006/relationships/slideLayout" Target="../slideLayouts/slideLayout67.xml"/><Relationship Id="rId11" Type="http://schemas.openxmlformats.org/officeDocument/2006/relationships/slideLayout" Target="../slideLayouts/slideLayout72.xml"/><Relationship Id="rId5" Type="http://schemas.openxmlformats.org/officeDocument/2006/relationships/slideLayout" Target="../slideLayouts/slideLayout66.xml"/><Relationship Id="rId15" Type="http://schemas.openxmlformats.org/officeDocument/2006/relationships/image" Target="../media/image16.wmf"/><Relationship Id="rId10" Type="http://schemas.openxmlformats.org/officeDocument/2006/relationships/slideLayout" Target="../slideLayouts/slideLayout71.xml"/><Relationship Id="rId4" Type="http://schemas.openxmlformats.org/officeDocument/2006/relationships/slideLayout" Target="../slideLayouts/slideLayout65.xml"/><Relationship Id="rId9" Type="http://schemas.openxmlformats.org/officeDocument/2006/relationships/slideLayout" Target="../slideLayouts/slideLayout70.xml"/><Relationship Id="rId14" Type="http://schemas.openxmlformats.org/officeDocument/2006/relationships/theme" Target="../theme/theme11.xml"/></Relationships>
</file>

<file path=ppt/slideMasters/_rels/slideMaster12.xml.rels><?xml version="1.0" encoding="UTF-8" standalone="yes"?>
<Relationships xmlns="http://schemas.openxmlformats.org/package/2006/relationships"><Relationship Id="rId8" Type="http://schemas.openxmlformats.org/officeDocument/2006/relationships/image" Target="../media/image18.emf"/><Relationship Id="rId3" Type="http://schemas.openxmlformats.org/officeDocument/2006/relationships/theme" Target="../theme/theme12.xml"/><Relationship Id="rId7" Type="http://schemas.openxmlformats.org/officeDocument/2006/relationships/oleObject" Target="../embeddings/oleObject25.bin"/><Relationship Id="rId2" Type="http://schemas.openxmlformats.org/officeDocument/2006/relationships/slideLayout" Target="../slideLayouts/slideLayout76.xml"/><Relationship Id="rId1" Type="http://schemas.openxmlformats.org/officeDocument/2006/relationships/slideLayout" Target="../slideLayouts/slideLayout75.xml"/><Relationship Id="rId6" Type="http://schemas.openxmlformats.org/officeDocument/2006/relationships/tags" Target="../tags/tag47.xml"/><Relationship Id="rId5" Type="http://schemas.openxmlformats.org/officeDocument/2006/relationships/tags" Target="../tags/tag46.xml"/><Relationship Id="rId4" Type="http://schemas.openxmlformats.org/officeDocument/2006/relationships/vmlDrawing" Target="../drawings/vmlDrawing25.vml"/></Relationships>
</file>

<file path=ppt/slideMasters/_rels/slideMaster13.xml.rels><?xml version="1.0" encoding="UTF-8" standalone="yes"?>
<Relationships xmlns="http://schemas.openxmlformats.org/package/2006/relationships"><Relationship Id="rId3" Type="http://schemas.openxmlformats.org/officeDocument/2006/relationships/slideLayout" Target="../slideLayouts/slideLayout79.xml"/><Relationship Id="rId7" Type="http://schemas.openxmlformats.org/officeDocument/2006/relationships/theme" Target="../theme/theme13.xml"/><Relationship Id="rId2" Type="http://schemas.openxmlformats.org/officeDocument/2006/relationships/slideLayout" Target="../slideLayouts/slideLayout78.xml"/><Relationship Id="rId1" Type="http://schemas.openxmlformats.org/officeDocument/2006/relationships/slideLayout" Target="../slideLayouts/slideLayout77.xml"/><Relationship Id="rId6" Type="http://schemas.openxmlformats.org/officeDocument/2006/relationships/slideLayout" Target="../slideLayouts/slideLayout82.xml"/><Relationship Id="rId5" Type="http://schemas.openxmlformats.org/officeDocument/2006/relationships/slideLayout" Target="../slideLayouts/slideLayout81.xml"/><Relationship Id="rId4" Type="http://schemas.openxmlformats.org/officeDocument/2006/relationships/slideLayout" Target="../slideLayouts/slideLayout80.xml"/></Relationships>
</file>

<file path=ppt/slideMasters/_rels/slideMaster14.xml.rels><?xml version="1.0" encoding="UTF-8" standalone="yes"?>
<Relationships xmlns="http://schemas.openxmlformats.org/package/2006/relationships"><Relationship Id="rId8" Type="http://schemas.openxmlformats.org/officeDocument/2006/relationships/theme" Target="../theme/theme14.xml"/><Relationship Id="rId13" Type="http://schemas.openxmlformats.org/officeDocument/2006/relationships/image" Target="../media/image1.emf"/><Relationship Id="rId3" Type="http://schemas.openxmlformats.org/officeDocument/2006/relationships/slideLayout" Target="../slideLayouts/slideLayout85.xml"/><Relationship Id="rId7" Type="http://schemas.openxmlformats.org/officeDocument/2006/relationships/slideLayout" Target="../slideLayouts/slideLayout89.xml"/><Relationship Id="rId12" Type="http://schemas.openxmlformats.org/officeDocument/2006/relationships/oleObject" Target="../embeddings/oleObject27.bin"/><Relationship Id="rId2" Type="http://schemas.openxmlformats.org/officeDocument/2006/relationships/slideLayout" Target="../slideLayouts/slideLayout84.xml"/><Relationship Id="rId1" Type="http://schemas.openxmlformats.org/officeDocument/2006/relationships/slideLayout" Target="../slideLayouts/slideLayout83.xml"/><Relationship Id="rId6" Type="http://schemas.openxmlformats.org/officeDocument/2006/relationships/slideLayout" Target="../slideLayouts/slideLayout88.xml"/><Relationship Id="rId11" Type="http://schemas.openxmlformats.org/officeDocument/2006/relationships/tags" Target="../tags/tag50.xml"/><Relationship Id="rId5" Type="http://schemas.openxmlformats.org/officeDocument/2006/relationships/slideLayout" Target="../slideLayouts/slideLayout87.xml"/><Relationship Id="rId10" Type="http://schemas.openxmlformats.org/officeDocument/2006/relationships/tags" Target="../tags/tag49.xml"/><Relationship Id="rId4" Type="http://schemas.openxmlformats.org/officeDocument/2006/relationships/slideLayout" Target="../slideLayouts/slideLayout86.xml"/><Relationship Id="rId9" Type="http://schemas.openxmlformats.org/officeDocument/2006/relationships/vmlDrawing" Target="../drawings/vmlDrawing27.vml"/><Relationship Id="rId14" Type="http://schemas.openxmlformats.org/officeDocument/2006/relationships/image" Target="../media/image2.png"/></Relationships>
</file>

<file path=ppt/slideMasters/_rels/slideMaster15.xml.rels><?xml version="1.0" encoding="UTF-8" standalone="yes"?>
<Relationships xmlns="http://schemas.openxmlformats.org/package/2006/relationships"><Relationship Id="rId8" Type="http://schemas.openxmlformats.org/officeDocument/2006/relationships/theme" Target="../theme/theme15.xml"/><Relationship Id="rId13" Type="http://schemas.openxmlformats.org/officeDocument/2006/relationships/image" Target="../media/image1.emf"/><Relationship Id="rId3" Type="http://schemas.openxmlformats.org/officeDocument/2006/relationships/slideLayout" Target="../slideLayouts/slideLayout92.xml"/><Relationship Id="rId7" Type="http://schemas.openxmlformats.org/officeDocument/2006/relationships/slideLayout" Target="../slideLayouts/slideLayout96.xml"/><Relationship Id="rId12" Type="http://schemas.openxmlformats.org/officeDocument/2006/relationships/oleObject" Target="../embeddings/oleObject31.bin"/><Relationship Id="rId2" Type="http://schemas.openxmlformats.org/officeDocument/2006/relationships/slideLayout" Target="../slideLayouts/slideLayout91.xml"/><Relationship Id="rId1" Type="http://schemas.openxmlformats.org/officeDocument/2006/relationships/slideLayout" Target="../slideLayouts/slideLayout90.xml"/><Relationship Id="rId6" Type="http://schemas.openxmlformats.org/officeDocument/2006/relationships/slideLayout" Target="../slideLayouts/slideLayout95.xml"/><Relationship Id="rId11" Type="http://schemas.openxmlformats.org/officeDocument/2006/relationships/tags" Target="../tags/tag56.xml"/><Relationship Id="rId5" Type="http://schemas.openxmlformats.org/officeDocument/2006/relationships/slideLayout" Target="../slideLayouts/slideLayout94.xml"/><Relationship Id="rId10" Type="http://schemas.openxmlformats.org/officeDocument/2006/relationships/tags" Target="../tags/tag55.xml"/><Relationship Id="rId4" Type="http://schemas.openxmlformats.org/officeDocument/2006/relationships/slideLayout" Target="../slideLayouts/slideLayout93.xml"/><Relationship Id="rId9" Type="http://schemas.openxmlformats.org/officeDocument/2006/relationships/vmlDrawing" Target="../drawings/vmlDrawing31.vml"/><Relationship Id="rId14" Type="http://schemas.openxmlformats.org/officeDocument/2006/relationships/image" Target="../media/image2.png"/></Relationships>
</file>

<file path=ppt/slideMasters/_rels/slideMaster16.xml.rels><?xml version="1.0" encoding="UTF-8" standalone="yes"?>
<Relationships xmlns="http://schemas.openxmlformats.org/package/2006/relationships"><Relationship Id="rId8" Type="http://schemas.openxmlformats.org/officeDocument/2006/relationships/theme" Target="../theme/theme16.xml"/><Relationship Id="rId13" Type="http://schemas.openxmlformats.org/officeDocument/2006/relationships/image" Target="../media/image1.emf"/><Relationship Id="rId3" Type="http://schemas.openxmlformats.org/officeDocument/2006/relationships/slideLayout" Target="../slideLayouts/slideLayout99.xml"/><Relationship Id="rId7" Type="http://schemas.openxmlformats.org/officeDocument/2006/relationships/slideLayout" Target="../slideLayouts/slideLayout103.xml"/><Relationship Id="rId12" Type="http://schemas.openxmlformats.org/officeDocument/2006/relationships/oleObject" Target="../embeddings/oleObject35.bin"/><Relationship Id="rId2" Type="http://schemas.openxmlformats.org/officeDocument/2006/relationships/slideLayout" Target="../slideLayouts/slideLayout98.xml"/><Relationship Id="rId1" Type="http://schemas.openxmlformats.org/officeDocument/2006/relationships/slideLayout" Target="../slideLayouts/slideLayout97.xml"/><Relationship Id="rId6" Type="http://schemas.openxmlformats.org/officeDocument/2006/relationships/slideLayout" Target="../slideLayouts/slideLayout102.xml"/><Relationship Id="rId11" Type="http://schemas.openxmlformats.org/officeDocument/2006/relationships/tags" Target="../tags/tag62.xml"/><Relationship Id="rId5" Type="http://schemas.openxmlformats.org/officeDocument/2006/relationships/slideLayout" Target="../slideLayouts/slideLayout101.xml"/><Relationship Id="rId10" Type="http://schemas.openxmlformats.org/officeDocument/2006/relationships/tags" Target="../tags/tag61.xml"/><Relationship Id="rId4" Type="http://schemas.openxmlformats.org/officeDocument/2006/relationships/slideLayout" Target="../slideLayouts/slideLayout100.xml"/><Relationship Id="rId9" Type="http://schemas.openxmlformats.org/officeDocument/2006/relationships/vmlDrawing" Target="../drawings/vmlDrawing35.vml"/><Relationship Id="rId14"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13" Type="http://schemas.openxmlformats.org/officeDocument/2006/relationships/image" Target="../media/image1.emf"/><Relationship Id="rId3" Type="http://schemas.openxmlformats.org/officeDocument/2006/relationships/slideLayout" Target="../slideLayouts/slideLayout8.xml"/><Relationship Id="rId7" Type="http://schemas.openxmlformats.org/officeDocument/2006/relationships/slideLayout" Target="../slideLayouts/slideLayout12.xml"/><Relationship Id="rId12" Type="http://schemas.openxmlformats.org/officeDocument/2006/relationships/oleObject" Target="../embeddings/oleObject4.bin"/><Relationship Id="rId2" Type="http://schemas.openxmlformats.org/officeDocument/2006/relationships/slideLayout" Target="../slideLayouts/slideLayout7.xml"/><Relationship Id="rId1" Type="http://schemas.openxmlformats.org/officeDocument/2006/relationships/slideLayout" Target="../slideLayouts/slideLayout6.xml"/><Relationship Id="rId6" Type="http://schemas.openxmlformats.org/officeDocument/2006/relationships/slideLayout" Target="../slideLayouts/slideLayout11.xml"/><Relationship Id="rId11" Type="http://schemas.openxmlformats.org/officeDocument/2006/relationships/tags" Target="../tags/tag7.xml"/><Relationship Id="rId5" Type="http://schemas.openxmlformats.org/officeDocument/2006/relationships/slideLayout" Target="../slideLayouts/slideLayout10.xml"/><Relationship Id="rId10" Type="http://schemas.openxmlformats.org/officeDocument/2006/relationships/tags" Target="../tags/tag6.xml"/><Relationship Id="rId4" Type="http://schemas.openxmlformats.org/officeDocument/2006/relationships/slideLayout" Target="../slideLayouts/slideLayout9.xml"/><Relationship Id="rId9" Type="http://schemas.openxmlformats.org/officeDocument/2006/relationships/vmlDrawing" Target="../drawings/vmlDrawing4.vml"/><Relationship Id="rId14" Type="http://schemas.openxmlformats.org/officeDocument/2006/relationships/image" Target="../media/image6.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theme" Target="../theme/theme3.xml"/><Relationship Id="rId18" Type="http://schemas.openxmlformats.org/officeDocument/2006/relationships/image" Target="../media/image10.jpeg"/><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17" Type="http://schemas.openxmlformats.org/officeDocument/2006/relationships/image" Target="../media/image9.emf"/><Relationship Id="rId2" Type="http://schemas.openxmlformats.org/officeDocument/2006/relationships/slideLayout" Target="../slideLayouts/slideLayout14.xml"/><Relationship Id="rId16" Type="http://schemas.openxmlformats.org/officeDocument/2006/relationships/oleObject" Target="../embeddings/oleObject8.bin"/><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5" Type="http://schemas.openxmlformats.org/officeDocument/2006/relationships/tags" Target="../tags/tag12.xml"/><Relationship Id="rId10" Type="http://schemas.openxmlformats.org/officeDocument/2006/relationships/slideLayout" Target="../slideLayouts/slideLayout22.xml"/><Relationship Id="rId19" Type="http://schemas.openxmlformats.org/officeDocument/2006/relationships/image" Target="../media/image11.jpeg"/><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vmlDrawing" Target="../drawings/vmlDrawing8.vml"/></Relationships>
</file>

<file path=ppt/slideMasters/_rels/slideMaster4.xml.rels><?xml version="1.0" encoding="UTF-8" standalone="yes"?>
<Relationships xmlns="http://schemas.openxmlformats.org/package/2006/relationships"><Relationship Id="rId8" Type="http://schemas.openxmlformats.org/officeDocument/2006/relationships/theme" Target="../theme/theme4.xml"/><Relationship Id="rId13" Type="http://schemas.openxmlformats.org/officeDocument/2006/relationships/image" Target="../media/image10.jpeg"/><Relationship Id="rId3" Type="http://schemas.openxmlformats.org/officeDocument/2006/relationships/slideLayout" Target="../slideLayouts/slideLayout27.xml"/><Relationship Id="rId7" Type="http://schemas.openxmlformats.org/officeDocument/2006/relationships/slideLayout" Target="../slideLayouts/slideLayout31.xml"/><Relationship Id="rId12" Type="http://schemas.openxmlformats.org/officeDocument/2006/relationships/image" Target="../media/image9.emf"/><Relationship Id="rId2" Type="http://schemas.openxmlformats.org/officeDocument/2006/relationships/slideLayout" Target="../slideLayouts/slideLayout26.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oleObject" Target="../embeddings/oleObject10.bin"/><Relationship Id="rId5" Type="http://schemas.openxmlformats.org/officeDocument/2006/relationships/slideLayout" Target="../slideLayouts/slideLayout29.xml"/><Relationship Id="rId10" Type="http://schemas.openxmlformats.org/officeDocument/2006/relationships/tags" Target="../tags/tag14.xml"/><Relationship Id="rId4" Type="http://schemas.openxmlformats.org/officeDocument/2006/relationships/slideLayout" Target="../slideLayouts/slideLayout28.xml"/><Relationship Id="rId9" Type="http://schemas.openxmlformats.org/officeDocument/2006/relationships/vmlDrawing" Target="../drawings/vmlDrawing10.vml"/><Relationship Id="rId14" Type="http://schemas.openxmlformats.org/officeDocument/2006/relationships/image" Target="../media/image11.jpe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39.xml"/><Relationship Id="rId13" Type="http://schemas.openxmlformats.org/officeDocument/2006/relationships/vmlDrawing" Target="../drawings/vmlDrawing12.vml"/><Relationship Id="rId3" Type="http://schemas.openxmlformats.org/officeDocument/2006/relationships/slideLayout" Target="../slideLayouts/slideLayout34.xml"/><Relationship Id="rId7" Type="http://schemas.openxmlformats.org/officeDocument/2006/relationships/slideLayout" Target="../slideLayouts/slideLayout38.xml"/><Relationship Id="rId12" Type="http://schemas.openxmlformats.org/officeDocument/2006/relationships/theme" Target="../theme/theme5.xml"/><Relationship Id="rId2" Type="http://schemas.openxmlformats.org/officeDocument/2006/relationships/slideLayout" Target="../slideLayouts/slideLayout33.xml"/><Relationship Id="rId16" Type="http://schemas.openxmlformats.org/officeDocument/2006/relationships/image" Target="../media/image1.emf"/><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slideLayout" Target="../slideLayouts/slideLayout42.xml"/><Relationship Id="rId5" Type="http://schemas.openxmlformats.org/officeDocument/2006/relationships/slideLayout" Target="../slideLayouts/slideLayout36.xml"/><Relationship Id="rId15" Type="http://schemas.openxmlformats.org/officeDocument/2006/relationships/oleObject" Target="../embeddings/oleObject12.bin"/><Relationship Id="rId10" Type="http://schemas.openxmlformats.org/officeDocument/2006/relationships/slideLayout" Target="../slideLayouts/slideLayout41.xml"/><Relationship Id="rId4" Type="http://schemas.openxmlformats.org/officeDocument/2006/relationships/slideLayout" Target="../slideLayouts/slideLayout35.xml"/><Relationship Id="rId9" Type="http://schemas.openxmlformats.org/officeDocument/2006/relationships/slideLayout" Target="../slideLayouts/slideLayout40.xml"/><Relationship Id="rId14" Type="http://schemas.openxmlformats.org/officeDocument/2006/relationships/tags" Target="../tags/tag16.xml"/></Relationships>
</file>

<file path=ppt/slideMasters/_rels/slideMaster6.xml.rels><?xml version="1.0" encoding="UTF-8" standalone="yes"?>
<Relationships xmlns="http://schemas.openxmlformats.org/package/2006/relationships"><Relationship Id="rId8" Type="http://schemas.openxmlformats.org/officeDocument/2006/relationships/tags" Target="../tags/tag19.xml"/><Relationship Id="rId3" Type="http://schemas.openxmlformats.org/officeDocument/2006/relationships/slideLayout" Target="../slideLayouts/slideLayout45.xml"/><Relationship Id="rId7" Type="http://schemas.openxmlformats.org/officeDocument/2006/relationships/tags" Target="../tags/tag18.xml"/><Relationship Id="rId2" Type="http://schemas.openxmlformats.org/officeDocument/2006/relationships/slideLayout" Target="../slideLayouts/slideLayout44.xml"/><Relationship Id="rId1" Type="http://schemas.openxmlformats.org/officeDocument/2006/relationships/slideLayout" Target="../slideLayouts/slideLayout43.xml"/><Relationship Id="rId6" Type="http://schemas.openxmlformats.org/officeDocument/2006/relationships/vmlDrawing" Target="../drawings/vmlDrawing13.vml"/><Relationship Id="rId11" Type="http://schemas.openxmlformats.org/officeDocument/2006/relationships/image" Target="../media/image2.png"/><Relationship Id="rId5" Type="http://schemas.openxmlformats.org/officeDocument/2006/relationships/theme" Target="../theme/theme6.xml"/><Relationship Id="rId10" Type="http://schemas.openxmlformats.org/officeDocument/2006/relationships/image" Target="../media/image1.emf"/><Relationship Id="rId4" Type="http://schemas.openxmlformats.org/officeDocument/2006/relationships/slideLayout" Target="../slideLayouts/slideLayout46.xml"/><Relationship Id="rId9" Type="http://schemas.openxmlformats.org/officeDocument/2006/relationships/oleObject" Target="../embeddings/oleObject13.bin"/></Relationships>
</file>

<file path=ppt/slideMasters/_rels/slideMaster7.xml.rels><?xml version="1.0" encoding="UTF-8" standalone="yes"?>
<Relationships xmlns="http://schemas.openxmlformats.org/package/2006/relationships"><Relationship Id="rId8" Type="http://schemas.openxmlformats.org/officeDocument/2006/relationships/tags" Target="../tags/tag22.xml"/><Relationship Id="rId3" Type="http://schemas.openxmlformats.org/officeDocument/2006/relationships/slideLayout" Target="../slideLayouts/slideLayout49.xml"/><Relationship Id="rId7" Type="http://schemas.openxmlformats.org/officeDocument/2006/relationships/tags" Target="../tags/tag21.xml"/><Relationship Id="rId2" Type="http://schemas.openxmlformats.org/officeDocument/2006/relationships/slideLayout" Target="../slideLayouts/slideLayout48.xml"/><Relationship Id="rId1" Type="http://schemas.openxmlformats.org/officeDocument/2006/relationships/slideLayout" Target="../slideLayouts/slideLayout47.xml"/><Relationship Id="rId6" Type="http://schemas.openxmlformats.org/officeDocument/2006/relationships/vmlDrawing" Target="../drawings/vmlDrawing15.vml"/><Relationship Id="rId11" Type="http://schemas.openxmlformats.org/officeDocument/2006/relationships/image" Target="../media/image2.png"/><Relationship Id="rId5" Type="http://schemas.openxmlformats.org/officeDocument/2006/relationships/theme" Target="../theme/theme7.xml"/><Relationship Id="rId10" Type="http://schemas.openxmlformats.org/officeDocument/2006/relationships/image" Target="../media/image1.emf"/><Relationship Id="rId4" Type="http://schemas.openxmlformats.org/officeDocument/2006/relationships/slideLayout" Target="../slideLayouts/slideLayout50.xml"/><Relationship Id="rId9" Type="http://schemas.openxmlformats.org/officeDocument/2006/relationships/oleObject" Target="../embeddings/oleObject15.bin"/></Relationships>
</file>

<file path=ppt/slideMasters/_rels/slideMaster8.xml.rels><?xml version="1.0" encoding="UTF-8" standalone="yes"?>
<Relationships xmlns="http://schemas.openxmlformats.org/package/2006/relationships"><Relationship Id="rId8" Type="http://schemas.openxmlformats.org/officeDocument/2006/relationships/tags" Target="../tags/tag24.xml"/><Relationship Id="rId3" Type="http://schemas.openxmlformats.org/officeDocument/2006/relationships/slideLayout" Target="../slideLayouts/slideLayout53.xml"/><Relationship Id="rId7" Type="http://schemas.openxmlformats.org/officeDocument/2006/relationships/vmlDrawing" Target="../drawings/vmlDrawing17.vml"/><Relationship Id="rId12" Type="http://schemas.openxmlformats.org/officeDocument/2006/relationships/image" Target="../media/image2.png"/><Relationship Id="rId2" Type="http://schemas.openxmlformats.org/officeDocument/2006/relationships/slideLayout" Target="../slideLayouts/slideLayout52.xml"/><Relationship Id="rId1" Type="http://schemas.openxmlformats.org/officeDocument/2006/relationships/slideLayout" Target="../slideLayouts/slideLayout51.xml"/><Relationship Id="rId6" Type="http://schemas.openxmlformats.org/officeDocument/2006/relationships/theme" Target="../theme/theme8.xml"/><Relationship Id="rId11" Type="http://schemas.openxmlformats.org/officeDocument/2006/relationships/image" Target="../media/image1.emf"/><Relationship Id="rId5" Type="http://schemas.openxmlformats.org/officeDocument/2006/relationships/slideLayout" Target="../slideLayouts/slideLayout55.xml"/><Relationship Id="rId10" Type="http://schemas.openxmlformats.org/officeDocument/2006/relationships/oleObject" Target="../embeddings/oleObject17.bin"/><Relationship Id="rId4" Type="http://schemas.openxmlformats.org/officeDocument/2006/relationships/slideLayout" Target="../slideLayouts/slideLayout54.xml"/><Relationship Id="rId9" Type="http://schemas.openxmlformats.org/officeDocument/2006/relationships/tags" Target="../tags/tag25.xml"/></Relationships>
</file>

<file path=ppt/slideMasters/_rels/slideMaster9.xml.rels><?xml version="1.0" encoding="UTF-8" standalone="yes"?>
<Relationships xmlns="http://schemas.openxmlformats.org/package/2006/relationships"><Relationship Id="rId8" Type="http://schemas.openxmlformats.org/officeDocument/2006/relationships/tags" Target="../tags/tag28.xml"/><Relationship Id="rId3" Type="http://schemas.openxmlformats.org/officeDocument/2006/relationships/slideLayout" Target="../slideLayouts/slideLayout58.xml"/><Relationship Id="rId7" Type="http://schemas.openxmlformats.org/officeDocument/2006/relationships/vmlDrawing" Target="../drawings/vmlDrawing20.vml"/><Relationship Id="rId12" Type="http://schemas.openxmlformats.org/officeDocument/2006/relationships/image" Target="../media/image2.png"/><Relationship Id="rId2" Type="http://schemas.openxmlformats.org/officeDocument/2006/relationships/slideLayout" Target="../slideLayouts/slideLayout57.xml"/><Relationship Id="rId1" Type="http://schemas.openxmlformats.org/officeDocument/2006/relationships/slideLayout" Target="../slideLayouts/slideLayout56.xml"/><Relationship Id="rId6" Type="http://schemas.openxmlformats.org/officeDocument/2006/relationships/theme" Target="../theme/theme9.xml"/><Relationship Id="rId11" Type="http://schemas.openxmlformats.org/officeDocument/2006/relationships/image" Target="../media/image1.emf"/><Relationship Id="rId5" Type="http://schemas.openxmlformats.org/officeDocument/2006/relationships/slideLayout" Target="../slideLayouts/slideLayout60.xml"/><Relationship Id="rId10" Type="http://schemas.openxmlformats.org/officeDocument/2006/relationships/oleObject" Target="../embeddings/oleObject20.bin"/><Relationship Id="rId4" Type="http://schemas.openxmlformats.org/officeDocument/2006/relationships/slideLayout" Target="../slideLayouts/slideLayout59.xml"/><Relationship Id="rId9" Type="http://schemas.openxmlformats.org/officeDocument/2006/relationships/tags" Target="../tags/tag2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8"/>
            </p:custDataLst>
            <p:extLst>
              <p:ext uri="{D42A27DB-BD31-4B8C-83A1-F6EECF244321}">
                <p14:modId xmlns:p14="http://schemas.microsoft.com/office/powerpoint/2010/main" val="339925869"/>
              </p:ext>
            </p:extLst>
          </p:nvPr>
        </p:nvGraphicFramePr>
        <p:xfrm>
          <a:off x="1588" y="1589"/>
          <a:ext cx="1588" cy="1587"/>
        </p:xfrm>
        <a:graphic>
          <a:graphicData uri="http://schemas.openxmlformats.org/presentationml/2006/ole">
            <mc:AlternateContent xmlns:mc="http://schemas.openxmlformats.org/markup-compatibility/2006">
              <mc:Choice xmlns:v="urn:schemas-microsoft-com:vml" Requires="v">
                <p:oleObj spid="_x0000_s1026" name="think-cell Slide" r:id="rId10" imgW="216" imgH="216" progId="TCLayout.ActiveDocument.1">
                  <p:embed/>
                </p:oleObj>
              </mc:Choice>
              <mc:Fallback>
                <p:oleObj name="think-cell Slide" r:id="rId10" imgW="216" imgH="216" progId="TCLayout.ActiveDocument.1">
                  <p:embed/>
                  <p:pic>
                    <p:nvPicPr>
                      <p:cNvPr id="4" name="Object 3" hidden="1"/>
                      <p:cNvPicPr/>
                      <p:nvPr/>
                    </p:nvPicPr>
                    <p:blipFill>
                      <a:blip r:embed="rId11"/>
                      <a:stretch>
                        <a:fillRect/>
                      </a:stretch>
                    </p:blipFill>
                    <p:spPr>
                      <a:xfrm>
                        <a:off x="1588" y="1589"/>
                        <a:ext cx="1588"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D35BBD6-19BF-40F9-86FB-45632A655647}"/>
              </a:ext>
            </a:extLst>
          </p:cNvPr>
          <p:cNvSpPr/>
          <p:nvPr userDrawn="1">
            <p:custDataLst>
              <p:tags r:id="rId9"/>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eaLnBrk="1">
              <a:lnSpc>
                <a:spcPct val="85000"/>
              </a:lnSpc>
              <a:spcBef>
                <a:spcPct val="0"/>
              </a:spcBef>
              <a:spcAft>
                <a:spcPct val="0"/>
              </a:spcAft>
            </a:pPr>
            <a:endParaRPr lang="en-US" sz="2400" b="1" i="0" baseline="0">
              <a:solidFill>
                <a:schemeClr val="tx1"/>
              </a:solidFill>
              <a:latin typeface="EYInterstate" panose="02000503020000020004" pitchFamily="2" charset="0"/>
              <a:ea typeface="+mj-ea"/>
              <a:cs typeface="Arial" panose="020B0604020202020204" pitchFamily="34" charset="0"/>
              <a:sym typeface="EYInterstate" panose="02000503020000020004" pitchFamily="2" charset="0"/>
            </a:endParaRPr>
          </a:p>
        </p:txBody>
      </p:sp>
      <p:sp>
        <p:nvSpPr>
          <p:cNvPr id="2" name="Title Placeholder 1"/>
          <p:cNvSpPr>
            <a:spLocks noGrp="1"/>
          </p:cNvSpPr>
          <p:nvPr>
            <p:ph type="title"/>
          </p:nvPr>
        </p:nvSpPr>
        <p:spPr>
          <a:xfrm>
            <a:off x="943904" y="609597"/>
            <a:ext cx="11700000" cy="739984"/>
          </a:xfrm>
          <a:prstGeom prst="rect">
            <a:avLst/>
          </a:prstGeom>
        </p:spPr>
        <p:txBody>
          <a:bodyPr vert="horz" lIns="0" tIns="0" rIns="0" bIns="0" rtlCol="0" anchor="t" anchorCtr="0">
            <a:noAutofit/>
          </a:bodyPr>
          <a:lstStyle/>
          <a:p>
            <a:r>
              <a:rPr lang="en-US"/>
              <a:t>CLICK TO EDIT MASTER TITLE STYLE</a:t>
            </a:r>
            <a:endParaRPr lang="en-GB"/>
          </a:p>
        </p:txBody>
      </p:sp>
      <p:sp>
        <p:nvSpPr>
          <p:cNvPr id="3" name="Text Placeholder 2"/>
          <p:cNvSpPr>
            <a:spLocks noGrp="1"/>
          </p:cNvSpPr>
          <p:nvPr>
            <p:ph type="body" idx="1"/>
          </p:nvPr>
        </p:nvSpPr>
        <p:spPr>
          <a:xfrm>
            <a:off x="943904" y="1571790"/>
            <a:ext cx="11700000" cy="5181986"/>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Rectangle 12">
            <a:extLst>
              <a:ext uri="{FF2B5EF4-FFF2-40B4-BE49-F238E27FC236}">
                <a16:creationId xmlns:a16="http://schemas.microsoft.com/office/drawing/2014/main" id="{3A839B15-81E6-9045-B604-CB27BBC1C908}"/>
              </a:ext>
            </a:extLst>
          </p:cNvPr>
          <p:cNvSpPr/>
          <p:nvPr userDrawn="1"/>
        </p:nvSpPr>
        <p:spPr>
          <a:xfrm>
            <a:off x="943904" y="428151"/>
            <a:ext cx="1260000" cy="72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object 3">
            <a:extLst>
              <a:ext uri="{FF2B5EF4-FFF2-40B4-BE49-F238E27FC236}">
                <a16:creationId xmlns:a16="http://schemas.microsoft.com/office/drawing/2014/main" id="{FBEC6C36-7DE3-C04D-8FC3-90CFCCD3E4A9}"/>
              </a:ext>
            </a:extLst>
          </p:cNvPr>
          <p:cNvSpPr/>
          <p:nvPr userDrawn="1"/>
        </p:nvSpPr>
        <p:spPr>
          <a:xfrm>
            <a:off x="-5625" y="16"/>
            <a:ext cx="573553" cy="7561247"/>
          </a:xfrm>
          <a:custGeom>
            <a:avLst/>
            <a:gdLst/>
            <a:ahLst/>
            <a:cxnLst/>
            <a:rect l="l" t="t" r="r" b="b"/>
            <a:pathLst>
              <a:path w="5076190" h="7560309">
                <a:moveTo>
                  <a:pt x="0" y="7559992"/>
                </a:moveTo>
                <a:lnTo>
                  <a:pt x="5075999" y="7559992"/>
                </a:lnTo>
                <a:lnTo>
                  <a:pt x="5075999" y="0"/>
                </a:lnTo>
                <a:lnTo>
                  <a:pt x="0" y="0"/>
                </a:lnTo>
                <a:lnTo>
                  <a:pt x="0" y="7559992"/>
                </a:lnTo>
                <a:close/>
              </a:path>
            </a:pathLst>
          </a:custGeom>
          <a:solidFill>
            <a:schemeClr val="tx1"/>
          </a:solidFill>
        </p:spPr>
        <p:txBody>
          <a:bodyPr wrap="square" lIns="0" tIns="0" rIns="0" bIns="0" rtlCol="0"/>
          <a:lstStyle/>
          <a:p>
            <a:pPr algn="ctr"/>
            <a:endParaRPr>
              <a:solidFill>
                <a:prstClr val="black"/>
              </a:solidFill>
              <a:latin typeface="Calibri" panose="020F0502020204030204"/>
            </a:endParaRPr>
          </a:p>
        </p:txBody>
      </p:sp>
      <p:sp>
        <p:nvSpPr>
          <p:cNvPr id="12" name="object 14">
            <a:extLst>
              <a:ext uri="{FF2B5EF4-FFF2-40B4-BE49-F238E27FC236}">
                <a16:creationId xmlns:a16="http://schemas.microsoft.com/office/drawing/2014/main" id="{3D19E29C-B81E-B848-A185-3911687868CA}"/>
              </a:ext>
            </a:extLst>
          </p:cNvPr>
          <p:cNvSpPr/>
          <p:nvPr userDrawn="1"/>
        </p:nvSpPr>
        <p:spPr>
          <a:xfrm>
            <a:off x="146531" y="398406"/>
            <a:ext cx="269240" cy="98425"/>
          </a:xfrm>
          <a:custGeom>
            <a:avLst/>
            <a:gdLst/>
            <a:ahLst/>
            <a:cxnLst/>
            <a:rect l="l" t="t" r="r" b="b"/>
            <a:pathLst>
              <a:path w="269240" h="98425">
                <a:moveTo>
                  <a:pt x="269227" y="0"/>
                </a:moveTo>
                <a:lnTo>
                  <a:pt x="0" y="98247"/>
                </a:lnTo>
                <a:lnTo>
                  <a:pt x="269227" y="50698"/>
                </a:lnTo>
                <a:lnTo>
                  <a:pt x="269227" y="0"/>
                </a:lnTo>
                <a:close/>
              </a:path>
            </a:pathLst>
          </a:custGeom>
          <a:solidFill>
            <a:srgbClr val="FFD400"/>
          </a:solidFill>
        </p:spPr>
        <p:txBody>
          <a:bodyPr wrap="square" lIns="0" tIns="0" rIns="0" bIns="0" rtlCol="0"/>
          <a:lstStyle/>
          <a:p>
            <a:pPr algn="ctr"/>
            <a:endParaRPr>
              <a:solidFill>
                <a:prstClr val="black"/>
              </a:solidFill>
              <a:latin typeface="Calibri" panose="020F0502020204030204"/>
            </a:endParaRPr>
          </a:p>
        </p:txBody>
      </p:sp>
      <p:sp>
        <p:nvSpPr>
          <p:cNvPr id="14" name="object 15">
            <a:extLst>
              <a:ext uri="{FF2B5EF4-FFF2-40B4-BE49-F238E27FC236}">
                <a16:creationId xmlns:a16="http://schemas.microsoft.com/office/drawing/2014/main" id="{5DE69E7C-24A8-2346-869B-1BCBC7E6C6C0}"/>
              </a:ext>
            </a:extLst>
          </p:cNvPr>
          <p:cNvSpPr/>
          <p:nvPr userDrawn="1"/>
        </p:nvSpPr>
        <p:spPr>
          <a:xfrm>
            <a:off x="168134" y="537502"/>
            <a:ext cx="226034" cy="136194"/>
          </a:xfrm>
          <a:prstGeom prst="rect">
            <a:avLst/>
          </a:prstGeom>
          <a:blipFill>
            <a:blip r:embed="rId12" cstate="print"/>
            <a:stretch>
              <a:fillRect/>
            </a:stretch>
          </a:blipFill>
        </p:spPr>
        <p:txBody>
          <a:bodyPr wrap="square" lIns="0" tIns="0" rIns="0" bIns="0" rtlCol="0"/>
          <a:lstStyle/>
          <a:p>
            <a:pPr algn="ctr"/>
            <a:endParaRPr>
              <a:solidFill>
                <a:prstClr val="black"/>
              </a:solidFill>
              <a:latin typeface="Calibri" panose="020F0502020204030204"/>
            </a:endParaRPr>
          </a:p>
        </p:txBody>
      </p:sp>
      <p:grpSp>
        <p:nvGrpSpPr>
          <p:cNvPr id="16" name="Group 15">
            <a:extLst>
              <a:ext uri="{FF2B5EF4-FFF2-40B4-BE49-F238E27FC236}">
                <a16:creationId xmlns:a16="http://schemas.microsoft.com/office/drawing/2014/main" id="{0726C71A-D368-B041-8BD9-4D61AA84A144}"/>
              </a:ext>
            </a:extLst>
          </p:cNvPr>
          <p:cNvGrpSpPr/>
          <p:nvPr userDrawn="1"/>
        </p:nvGrpSpPr>
        <p:grpSpPr>
          <a:xfrm>
            <a:off x="173642" y="3095627"/>
            <a:ext cx="215019" cy="215019"/>
            <a:chOff x="147828" y="2915202"/>
            <a:chExt cx="215019" cy="215019"/>
          </a:xfrm>
        </p:grpSpPr>
        <p:sp>
          <p:nvSpPr>
            <p:cNvPr id="17" name="Oval 16">
              <a:extLst>
                <a:ext uri="{FF2B5EF4-FFF2-40B4-BE49-F238E27FC236}">
                  <a16:creationId xmlns:a16="http://schemas.microsoft.com/office/drawing/2014/main" id="{0207DA1F-1F9C-294D-97C4-C0A6F616599E}"/>
                </a:ext>
              </a:extLst>
            </p:cNvPr>
            <p:cNvSpPr/>
            <p:nvPr/>
          </p:nvSpPr>
          <p:spPr>
            <a:xfrm>
              <a:off x="147828" y="2915202"/>
              <a:ext cx="215019" cy="215019"/>
            </a:xfrm>
            <a:prstGeom prst="ellipse">
              <a:avLst/>
            </a:prstGeom>
            <a:noFill/>
            <a:ln w="9525" cap="flat" cmpd="sng" algn="ctr">
              <a:solidFill>
                <a:sysClr val="window" lastClr="FFFFFF"/>
              </a:solidFill>
              <a:prstDash val="solid"/>
              <a:miter lim="800000"/>
            </a:ln>
            <a:effectLst/>
          </p:spPr>
          <p:txBody>
            <a:bodyPr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black"/>
                </a:solidFill>
                <a:effectLst/>
                <a:uLnTx/>
                <a:uFillTx/>
                <a:latin typeface="Calibri" panose="020F0502020204030204"/>
                <a:ea typeface="+mn-ea"/>
                <a:cs typeface="+mn-cs"/>
              </a:endParaRPr>
            </a:p>
          </p:txBody>
        </p:sp>
        <p:cxnSp>
          <p:nvCxnSpPr>
            <p:cNvPr id="18" name="Straight Connector 17">
              <a:extLst>
                <a:ext uri="{FF2B5EF4-FFF2-40B4-BE49-F238E27FC236}">
                  <a16:creationId xmlns:a16="http://schemas.microsoft.com/office/drawing/2014/main" id="{CECE0C06-22D8-A04F-B592-79AFD6202C26}"/>
                </a:ext>
              </a:extLst>
            </p:cNvPr>
            <p:cNvCxnSpPr/>
            <p:nvPr/>
          </p:nvCxnSpPr>
          <p:spPr>
            <a:xfrm>
              <a:off x="193425" y="3022711"/>
              <a:ext cx="123825" cy="0"/>
            </a:xfrm>
            <a:prstGeom prst="line">
              <a:avLst/>
            </a:prstGeom>
            <a:noFill/>
            <a:ln w="9525" cap="flat" cmpd="sng" algn="ctr">
              <a:solidFill>
                <a:sysClr val="window" lastClr="FFFFFF"/>
              </a:solidFill>
              <a:prstDash val="solid"/>
              <a:miter lim="800000"/>
              <a:tailEnd type="none"/>
            </a:ln>
            <a:effectLst/>
          </p:spPr>
        </p:cxnSp>
        <p:sp>
          <p:nvSpPr>
            <p:cNvPr id="19" name="Rectangle 11">
              <a:extLst>
                <a:ext uri="{FF2B5EF4-FFF2-40B4-BE49-F238E27FC236}">
                  <a16:creationId xmlns:a16="http://schemas.microsoft.com/office/drawing/2014/main" id="{7A5DEC11-2762-9548-A7CB-2D7CAD730DF7}"/>
                </a:ext>
              </a:extLst>
            </p:cNvPr>
            <p:cNvSpPr/>
            <p:nvPr/>
          </p:nvSpPr>
          <p:spPr>
            <a:xfrm rot="18900000">
              <a:off x="231586" y="2987228"/>
              <a:ext cx="70967" cy="70967"/>
            </a:xfrm>
            <a:custGeom>
              <a:avLst/>
              <a:gdLst>
                <a:gd name="connsiteX0" fmla="*/ 0 w 149225"/>
                <a:gd name="connsiteY0" fmla="*/ 0 h 149225"/>
                <a:gd name="connsiteX1" fmla="*/ 149225 w 149225"/>
                <a:gd name="connsiteY1" fmla="*/ 0 h 149225"/>
                <a:gd name="connsiteX2" fmla="*/ 149225 w 149225"/>
                <a:gd name="connsiteY2" fmla="*/ 149225 h 149225"/>
                <a:gd name="connsiteX3" fmla="*/ 0 w 149225"/>
                <a:gd name="connsiteY3" fmla="*/ 149225 h 149225"/>
                <a:gd name="connsiteX4" fmla="*/ 0 w 149225"/>
                <a:gd name="connsiteY4" fmla="*/ 0 h 149225"/>
                <a:gd name="connsiteX0" fmla="*/ 0 w 149225"/>
                <a:gd name="connsiteY0" fmla="*/ 149225 h 149225"/>
                <a:gd name="connsiteX1" fmla="*/ 149225 w 149225"/>
                <a:gd name="connsiteY1" fmla="*/ 0 h 149225"/>
                <a:gd name="connsiteX2" fmla="*/ 149225 w 149225"/>
                <a:gd name="connsiteY2" fmla="*/ 149225 h 149225"/>
                <a:gd name="connsiteX3" fmla="*/ 0 w 149225"/>
                <a:gd name="connsiteY3" fmla="*/ 149225 h 149225"/>
                <a:gd name="connsiteX0" fmla="*/ 149225 w 240665"/>
                <a:gd name="connsiteY0" fmla="*/ 0 h 149225"/>
                <a:gd name="connsiteX1" fmla="*/ 149225 w 240665"/>
                <a:gd name="connsiteY1" fmla="*/ 149225 h 149225"/>
                <a:gd name="connsiteX2" fmla="*/ 0 w 240665"/>
                <a:gd name="connsiteY2" fmla="*/ 149225 h 149225"/>
                <a:gd name="connsiteX3" fmla="*/ 240665 w 240665"/>
                <a:gd name="connsiteY3" fmla="*/ 91440 h 149225"/>
                <a:gd name="connsiteX0" fmla="*/ 149225 w 149225"/>
                <a:gd name="connsiteY0" fmla="*/ 0 h 149225"/>
                <a:gd name="connsiteX1" fmla="*/ 149225 w 149225"/>
                <a:gd name="connsiteY1" fmla="*/ 149225 h 149225"/>
                <a:gd name="connsiteX2" fmla="*/ 0 w 149225"/>
                <a:gd name="connsiteY2" fmla="*/ 149225 h 149225"/>
              </a:gdLst>
              <a:ahLst/>
              <a:cxnLst>
                <a:cxn ang="0">
                  <a:pos x="connsiteX0" y="connsiteY0"/>
                </a:cxn>
                <a:cxn ang="0">
                  <a:pos x="connsiteX1" y="connsiteY1"/>
                </a:cxn>
                <a:cxn ang="0">
                  <a:pos x="connsiteX2" y="connsiteY2"/>
                </a:cxn>
              </a:cxnLst>
              <a:rect l="l" t="t" r="r" b="b"/>
              <a:pathLst>
                <a:path w="149225" h="149225">
                  <a:moveTo>
                    <a:pt x="149225" y="0"/>
                  </a:moveTo>
                  <a:lnTo>
                    <a:pt x="149225" y="149225"/>
                  </a:lnTo>
                  <a:lnTo>
                    <a:pt x="0" y="149225"/>
                  </a:lnTo>
                </a:path>
              </a:pathLst>
            </a:custGeom>
            <a:noFill/>
            <a:ln w="9525" cap="flat" cmpd="sng" algn="ctr">
              <a:solidFill>
                <a:sysClr val="window" lastClr="FFFFFF"/>
              </a:solidFill>
              <a:prstDash val="solid"/>
              <a:miter lim="800000"/>
            </a:ln>
            <a:effectLst/>
          </p:spPr>
          <p:txBody>
            <a:bodyPr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black"/>
                </a:solidFill>
                <a:effectLst/>
                <a:uLnTx/>
                <a:uFillTx/>
                <a:latin typeface="Calibri" panose="020F0502020204030204"/>
                <a:ea typeface="+mn-ea"/>
                <a:cs typeface="+mn-cs"/>
              </a:endParaRPr>
            </a:p>
          </p:txBody>
        </p:sp>
      </p:grpSp>
      <p:grpSp>
        <p:nvGrpSpPr>
          <p:cNvPr id="20" name="Group 19">
            <a:extLst>
              <a:ext uri="{FF2B5EF4-FFF2-40B4-BE49-F238E27FC236}">
                <a16:creationId xmlns:a16="http://schemas.microsoft.com/office/drawing/2014/main" id="{30844FBE-FCA0-234D-A1A0-DEEB814F56F7}"/>
              </a:ext>
            </a:extLst>
          </p:cNvPr>
          <p:cNvGrpSpPr/>
          <p:nvPr userDrawn="1"/>
        </p:nvGrpSpPr>
        <p:grpSpPr>
          <a:xfrm rot="10800000">
            <a:off x="173642" y="3547371"/>
            <a:ext cx="215019" cy="215019"/>
            <a:chOff x="5758249" y="7128479"/>
            <a:chExt cx="215019" cy="215019"/>
          </a:xfrm>
        </p:grpSpPr>
        <p:sp>
          <p:nvSpPr>
            <p:cNvPr id="21" name="Oval 20">
              <a:extLst>
                <a:ext uri="{FF2B5EF4-FFF2-40B4-BE49-F238E27FC236}">
                  <a16:creationId xmlns:a16="http://schemas.microsoft.com/office/drawing/2014/main" id="{A3BB17A6-DFE2-3F48-94A5-1488E1D6457D}"/>
                </a:ext>
              </a:extLst>
            </p:cNvPr>
            <p:cNvSpPr/>
            <p:nvPr/>
          </p:nvSpPr>
          <p:spPr>
            <a:xfrm>
              <a:off x="5758249" y="7128479"/>
              <a:ext cx="215019" cy="215019"/>
            </a:xfrm>
            <a:prstGeom prst="ellipse">
              <a:avLst/>
            </a:prstGeom>
            <a:noFill/>
            <a:ln w="9525" cap="flat" cmpd="sng" algn="ctr">
              <a:solidFill>
                <a:sysClr val="window" lastClr="FFFFFF"/>
              </a:solidFill>
              <a:prstDash val="solid"/>
              <a:miter lim="800000"/>
            </a:ln>
            <a:effectLst/>
          </p:spPr>
          <p:txBody>
            <a:bodyPr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black"/>
                </a:solidFill>
                <a:effectLst/>
                <a:uLnTx/>
                <a:uFillTx/>
                <a:latin typeface="Calibri" panose="020F0502020204030204"/>
                <a:ea typeface="+mn-ea"/>
                <a:cs typeface="+mn-cs"/>
              </a:endParaRPr>
            </a:p>
          </p:txBody>
        </p:sp>
        <p:cxnSp>
          <p:nvCxnSpPr>
            <p:cNvPr id="22" name="Straight Connector 21">
              <a:extLst>
                <a:ext uri="{FF2B5EF4-FFF2-40B4-BE49-F238E27FC236}">
                  <a16:creationId xmlns:a16="http://schemas.microsoft.com/office/drawing/2014/main" id="{7035876D-E7CD-8C41-8052-10A7CFE3A66B}"/>
                </a:ext>
              </a:extLst>
            </p:cNvPr>
            <p:cNvCxnSpPr/>
            <p:nvPr/>
          </p:nvCxnSpPr>
          <p:spPr>
            <a:xfrm>
              <a:off x="5803846" y="7235988"/>
              <a:ext cx="123825" cy="0"/>
            </a:xfrm>
            <a:prstGeom prst="line">
              <a:avLst/>
            </a:prstGeom>
            <a:noFill/>
            <a:ln w="9525" cap="flat" cmpd="sng" algn="ctr">
              <a:solidFill>
                <a:sysClr val="window" lastClr="FFFFFF"/>
              </a:solidFill>
              <a:prstDash val="solid"/>
              <a:miter lim="800000"/>
              <a:tailEnd type="none"/>
            </a:ln>
            <a:effectLst/>
          </p:spPr>
        </p:cxnSp>
        <p:sp>
          <p:nvSpPr>
            <p:cNvPr id="23" name="Rectangle 11">
              <a:extLst>
                <a:ext uri="{FF2B5EF4-FFF2-40B4-BE49-F238E27FC236}">
                  <a16:creationId xmlns:a16="http://schemas.microsoft.com/office/drawing/2014/main" id="{4094B3D7-0406-A540-8445-9B565193A9AC}"/>
                </a:ext>
              </a:extLst>
            </p:cNvPr>
            <p:cNvSpPr/>
            <p:nvPr/>
          </p:nvSpPr>
          <p:spPr>
            <a:xfrm rot="18900000">
              <a:off x="5842007" y="7200505"/>
              <a:ext cx="70967" cy="70967"/>
            </a:xfrm>
            <a:custGeom>
              <a:avLst/>
              <a:gdLst>
                <a:gd name="connsiteX0" fmla="*/ 0 w 149225"/>
                <a:gd name="connsiteY0" fmla="*/ 0 h 149225"/>
                <a:gd name="connsiteX1" fmla="*/ 149225 w 149225"/>
                <a:gd name="connsiteY1" fmla="*/ 0 h 149225"/>
                <a:gd name="connsiteX2" fmla="*/ 149225 w 149225"/>
                <a:gd name="connsiteY2" fmla="*/ 149225 h 149225"/>
                <a:gd name="connsiteX3" fmla="*/ 0 w 149225"/>
                <a:gd name="connsiteY3" fmla="*/ 149225 h 149225"/>
                <a:gd name="connsiteX4" fmla="*/ 0 w 149225"/>
                <a:gd name="connsiteY4" fmla="*/ 0 h 149225"/>
                <a:gd name="connsiteX0" fmla="*/ 0 w 149225"/>
                <a:gd name="connsiteY0" fmla="*/ 149225 h 149225"/>
                <a:gd name="connsiteX1" fmla="*/ 149225 w 149225"/>
                <a:gd name="connsiteY1" fmla="*/ 0 h 149225"/>
                <a:gd name="connsiteX2" fmla="*/ 149225 w 149225"/>
                <a:gd name="connsiteY2" fmla="*/ 149225 h 149225"/>
                <a:gd name="connsiteX3" fmla="*/ 0 w 149225"/>
                <a:gd name="connsiteY3" fmla="*/ 149225 h 149225"/>
                <a:gd name="connsiteX0" fmla="*/ 149225 w 240665"/>
                <a:gd name="connsiteY0" fmla="*/ 0 h 149225"/>
                <a:gd name="connsiteX1" fmla="*/ 149225 w 240665"/>
                <a:gd name="connsiteY1" fmla="*/ 149225 h 149225"/>
                <a:gd name="connsiteX2" fmla="*/ 0 w 240665"/>
                <a:gd name="connsiteY2" fmla="*/ 149225 h 149225"/>
                <a:gd name="connsiteX3" fmla="*/ 240665 w 240665"/>
                <a:gd name="connsiteY3" fmla="*/ 91440 h 149225"/>
                <a:gd name="connsiteX0" fmla="*/ 149225 w 149225"/>
                <a:gd name="connsiteY0" fmla="*/ 0 h 149225"/>
                <a:gd name="connsiteX1" fmla="*/ 149225 w 149225"/>
                <a:gd name="connsiteY1" fmla="*/ 149225 h 149225"/>
                <a:gd name="connsiteX2" fmla="*/ 0 w 149225"/>
                <a:gd name="connsiteY2" fmla="*/ 149225 h 149225"/>
              </a:gdLst>
              <a:ahLst/>
              <a:cxnLst>
                <a:cxn ang="0">
                  <a:pos x="connsiteX0" y="connsiteY0"/>
                </a:cxn>
                <a:cxn ang="0">
                  <a:pos x="connsiteX1" y="connsiteY1"/>
                </a:cxn>
                <a:cxn ang="0">
                  <a:pos x="connsiteX2" y="connsiteY2"/>
                </a:cxn>
              </a:cxnLst>
              <a:rect l="l" t="t" r="r" b="b"/>
              <a:pathLst>
                <a:path w="149225" h="149225">
                  <a:moveTo>
                    <a:pt x="149225" y="0"/>
                  </a:moveTo>
                  <a:lnTo>
                    <a:pt x="149225" y="149225"/>
                  </a:lnTo>
                  <a:lnTo>
                    <a:pt x="0" y="149225"/>
                  </a:lnTo>
                </a:path>
              </a:pathLst>
            </a:custGeom>
            <a:noFill/>
            <a:ln w="9525" cap="flat" cmpd="sng" algn="ctr">
              <a:solidFill>
                <a:sysClr val="window" lastClr="FFFFFF"/>
              </a:solidFill>
              <a:prstDash val="solid"/>
              <a:miter lim="800000"/>
            </a:ln>
            <a:effectLst/>
          </p:spPr>
          <p:txBody>
            <a:bodyPr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black"/>
                </a:solidFill>
                <a:effectLst/>
                <a:uLnTx/>
                <a:uFillTx/>
                <a:latin typeface="Calibri" panose="020F0502020204030204"/>
                <a:ea typeface="+mn-ea"/>
                <a:cs typeface="+mn-cs"/>
              </a:endParaRPr>
            </a:p>
          </p:txBody>
        </p:sp>
      </p:grpSp>
      <p:sp>
        <p:nvSpPr>
          <p:cNvPr id="24" name="Action Button: Custom 23">
            <a:hlinkClick r:id="" action="ppaction://hlinkshowjump?jump=nextslide" highlightClick="1"/>
            <a:extLst>
              <a:ext uri="{FF2B5EF4-FFF2-40B4-BE49-F238E27FC236}">
                <a16:creationId xmlns:a16="http://schemas.microsoft.com/office/drawing/2014/main" id="{98B416AA-6970-204F-9803-82312AEF99A3}"/>
              </a:ext>
            </a:extLst>
          </p:cNvPr>
          <p:cNvSpPr/>
          <p:nvPr userDrawn="1"/>
        </p:nvSpPr>
        <p:spPr>
          <a:xfrm>
            <a:off x="160546" y="3095627"/>
            <a:ext cx="241211" cy="241211"/>
          </a:xfrm>
          <a:prstGeom prst="actionButtonBlank">
            <a:avLst/>
          </a:prstGeom>
          <a:no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5" name="Action Button: Custom 24">
            <a:hlinkClick r:id="" action="ppaction://hlinkshowjump?jump=previousslide" highlightClick="1"/>
            <a:extLst>
              <a:ext uri="{FF2B5EF4-FFF2-40B4-BE49-F238E27FC236}">
                <a16:creationId xmlns:a16="http://schemas.microsoft.com/office/drawing/2014/main" id="{7A387E38-D922-FA48-996E-C4EBA78D6D4A}"/>
              </a:ext>
            </a:extLst>
          </p:cNvPr>
          <p:cNvSpPr/>
          <p:nvPr userDrawn="1"/>
        </p:nvSpPr>
        <p:spPr>
          <a:xfrm>
            <a:off x="160546" y="3534274"/>
            <a:ext cx="241211" cy="241211"/>
          </a:xfrm>
          <a:prstGeom prst="actionButtonBlank">
            <a:avLst/>
          </a:prstGeom>
          <a:no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6" name="TextBox 5"/>
          <p:cNvSpPr txBox="1"/>
          <p:nvPr userDrawn="1"/>
        </p:nvSpPr>
        <p:spPr>
          <a:xfrm>
            <a:off x="12292" y="7286208"/>
            <a:ext cx="537719" cy="153888"/>
          </a:xfrm>
          <a:prstGeom prst="rect">
            <a:avLst/>
          </a:prstGeom>
          <a:noFill/>
        </p:spPr>
        <p:txBody>
          <a:bodyPr wrap="square" lIns="0" tIns="0" rIns="0" bIns="0" rtlCol="0">
            <a:spAutoFit/>
          </a:bodyPr>
          <a:lstStyle/>
          <a:p>
            <a:pPr algn="ctr" fontAlgn="auto">
              <a:spcBef>
                <a:spcPts val="0"/>
              </a:spcBef>
              <a:spcAft>
                <a:spcPts val="0"/>
              </a:spcAft>
              <a:buClrTx/>
              <a:buSzTx/>
              <a:buFontTx/>
              <a:buNone/>
            </a:pPr>
            <a:fld id="{EE81E157-A1D1-4641-98C5-E5C73AF14974}" type="slidenum">
              <a:rPr lang="en-US" sz="1000" b="1" smtClean="0">
                <a:solidFill>
                  <a:schemeClr val="tx2"/>
                </a:solidFill>
                <a:latin typeface="EYInterstate" panose="02000503020000020004" pitchFamily="2" charset="0"/>
              </a:rPr>
              <a:pPr algn="ctr" fontAlgn="auto">
                <a:spcBef>
                  <a:spcPts val="0"/>
                </a:spcBef>
                <a:spcAft>
                  <a:spcPts val="0"/>
                </a:spcAft>
                <a:buClrTx/>
                <a:buSzTx/>
                <a:buFontTx/>
                <a:buNone/>
              </a:pPr>
              <a:t>‹#›</a:t>
            </a:fld>
            <a:endParaRPr lang="en-US" sz="1000" b="1">
              <a:solidFill>
                <a:schemeClr val="tx2"/>
              </a:solidFill>
              <a:latin typeface="EYInterstate" panose="02000503020000020004" pitchFamily="2" charset="0"/>
            </a:endParaRPr>
          </a:p>
        </p:txBody>
      </p:sp>
    </p:spTree>
    <p:extLst>
      <p:ext uri="{BB962C8B-B14F-4D97-AF65-F5344CB8AC3E}">
        <p14:creationId xmlns:p14="http://schemas.microsoft.com/office/powerpoint/2010/main" val="2299297068"/>
      </p:ext>
    </p:extLst>
  </p:cSld>
  <p:clrMap bg1="lt1" tx1="dk1" bg2="lt2" tx2="dk2" accent1="accent1" accent2="accent2" accent3="accent3" accent4="accent4" accent5="accent5" accent6="accent6" hlink="hlink" folHlink="folHlink"/>
  <p:sldLayoutIdLst>
    <p:sldLayoutId id="2147484102" r:id="rId1"/>
    <p:sldLayoutId id="2147484111" r:id="rId2"/>
    <p:sldLayoutId id="2147484113" r:id="rId3"/>
    <p:sldLayoutId id="2147484114" r:id="rId4"/>
    <p:sldLayoutId id="2147484115" r:id="rId5"/>
  </p:sldLayoutIdLst>
  <p:hf hdr="0" ftr="0" dt="0"/>
  <p:txStyles>
    <p:titleStyle>
      <a:lvl1pPr algn="l" defTabSz="1266737" rtl="0" eaLnBrk="1" latinLnBrk="0" hangingPunct="1">
        <a:lnSpc>
          <a:spcPct val="85000"/>
        </a:lnSpc>
        <a:spcBef>
          <a:spcPct val="0"/>
        </a:spcBef>
        <a:buNone/>
        <a:defRPr sz="2400" b="1" i="0" kern="1200">
          <a:solidFill>
            <a:schemeClr val="bg1"/>
          </a:solidFill>
          <a:latin typeface="EYInterstate" panose="02000503020000020004" pitchFamily="2" charset="0"/>
          <a:ea typeface="+mj-ea"/>
          <a:cs typeface="Arial" pitchFamily="34" charset="0"/>
        </a:defRPr>
      </a:lvl1pPr>
    </p:titleStyle>
    <p:bodyStyle>
      <a:lvl1pPr marL="494029" indent="-494029" algn="l" defTabSz="1266737" rtl="0" eaLnBrk="1" latinLnBrk="0" hangingPunct="1">
        <a:spcBef>
          <a:spcPct val="20000"/>
        </a:spcBef>
        <a:buClr>
          <a:schemeClr val="tx1"/>
        </a:buClr>
        <a:buSzPct val="70000"/>
        <a:buFont typeface="Arial" pitchFamily="34" charset="0"/>
        <a:buChar char="►"/>
        <a:defRPr sz="2493" b="0" i="0" kern="1200">
          <a:solidFill>
            <a:schemeClr val="bg1"/>
          </a:solidFill>
          <a:latin typeface="EYInterstate Light" panose="02000506000000020004" pitchFamily="2" charset="0"/>
          <a:ea typeface="+mn-ea"/>
          <a:cs typeface="+mn-cs"/>
        </a:defRPr>
      </a:lvl1pPr>
      <a:lvl2pPr marL="988054" indent="-494029" algn="l" defTabSz="1266737" rtl="0" eaLnBrk="1" latinLnBrk="0" hangingPunct="1">
        <a:spcBef>
          <a:spcPct val="20000"/>
        </a:spcBef>
        <a:buClr>
          <a:schemeClr val="tx1"/>
        </a:buClr>
        <a:buSzPct val="70000"/>
        <a:buFont typeface="Arial" pitchFamily="34" charset="0"/>
        <a:buChar char="►"/>
        <a:defRPr sz="2000" b="0" i="0" kern="1200">
          <a:solidFill>
            <a:schemeClr val="bg1"/>
          </a:solidFill>
          <a:latin typeface="EYInterstate Light" panose="02000506000000020004" pitchFamily="2" charset="0"/>
          <a:ea typeface="+mn-ea"/>
          <a:cs typeface="+mn-cs"/>
        </a:defRPr>
      </a:lvl2pPr>
      <a:lvl3pPr marL="1482083" indent="-494029" algn="l" defTabSz="1266737" rtl="0" eaLnBrk="1" latinLnBrk="0" hangingPunct="1">
        <a:spcBef>
          <a:spcPct val="20000"/>
        </a:spcBef>
        <a:buClr>
          <a:schemeClr val="tx1"/>
        </a:buClr>
        <a:buSzPct val="70000"/>
        <a:buFont typeface="Arial" pitchFamily="34" charset="0"/>
        <a:buChar char="►"/>
        <a:defRPr sz="1800" b="0" i="0" kern="1200">
          <a:solidFill>
            <a:schemeClr val="bg1"/>
          </a:solidFill>
          <a:latin typeface="EYInterstate Light" panose="02000506000000020004" pitchFamily="2" charset="0"/>
          <a:ea typeface="+mn-ea"/>
          <a:cs typeface="+mn-cs"/>
        </a:defRPr>
      </a:lvl3pPr>
      <a:lvl4pPr marL="1976110" indent="-494029" algn="l" defTabSz="1266737" rtl="0" eaLnBrk="1" latinLnBrk="0" hangingPunct="1">
        <a:spcBef>
          <a:spcPct val="20000"/>
        </a:spcBef>
        <a:buClr>
          <a:schemeClr val="tx1"/>
        </a:buClr>
        <a:buSzPct val="70000"/>
        <a:buFont typeface="Arial" pitchFamily="34" charset="0"/>
        <a:buChar char="►"/>
        <a:defRPr sz="1600" b="0" i="0" kern="1200">
          <a:solidFill>
            <a:schemeClr val="bg1"/>
          </a:solidFill>
          <a:latin typeface="EYInterstate Light" panose="02000506000000020004" pitchFamily="2" charset="0"/>
          <a:ea typeface="+mn-ea"/>
          <a:cs typeface="+mn-cs"/>
        </a:defRPr>
      </a:lvl4pPr>
      <a:lvl5pPr marL="2470136" indent="-494029" algn="l" defTabSz="1266737" rtl="0" eaLnBrk="1" latinLnBrk="0" hangingPunct="1">
        <a:spcBef>
          <a:spcPct val="20000"/>
        </a:spcBef>
        <a:buClr>
          <a:schemeClr val="tx1"/>
        </a:buClr>
        <a:buSzPct val="70000"/>
        <a:buFont typeface="Arial" pitchFamily="34" charset="0"/>
        <a:buChar char="►"/>
        <a:defRPr sz="1400" b="0" i="0" kern="1200">
          <a:solidFill>
            <a:schemeClr val="bg1"/>
          </a:solidFill>
          <a:latin typeface="EYInterstate Light" panose="02000506000000020004" pitchFamily="2" charset="0"/>
          <a:ea typeface="+mn-ea"/>
          <a:cs typeface="+mn-cs"/>
        </a:defRPr>
      </a:lvl5pPr>
      <a:lvl6pPr marL="3483527" indent="-316685" algn="l" defTabSz="1266737" rtl="0" eaLnBrk="1" latinLnBrk="0" hangingPunct="1">
        <a:spcBef>
          <a:spcPct val="20000"/>
        </a:spcBef>
        <a:buFont typeface="Arial" pitchFamily="34" charset="0"/>
        <a:buChar char="•"/>
        <a:defRPr sz="2771" kern="1200">
          <a:solidFill>
            <a:schemeClr val="tx1"/>
          </a:solidFill>
          <a:latin typeface="+mn-lt"/>
          <a:ea typeface="+mn-ea"/>
          <a:cs typeface="+mn-cs"/>
        </a:defRPr>
      </a:lvl6pPr>
      <a:lvl7pPr marL="4116896" indent="-316685" algn="l" defTabSz="1266737" rtl="0" eaLnBrk="1" latinLnBrk="0" hangingPunct="1">
        <a:spcBef>
          <a:spcPct val="20000"/>
        </a:spcBef>
        <a:buFont typeface="Arial" pitchFamily="34" charset="0"/>
        <a:buChar char="•"/>
        <a:defRPr sz="2771" kern="1200">
          <a:solidFill>
            <a:schemeClr val="tx1"/>
          </a:solidFill>
          <a:latin typeface="+mn-lt"/>
          <a:ea typeface="+mn-ea"/>
          <a:cs typeface="+mn-cs"/>
        </a:defRPr>
      </a:lvl7pPr>
      <a:lvl8pPr marL="4750266" indent="-316685" algn="l" defTabSz="1266737" rtl="0" eaLnBrk="1" latinLnBrk="0" hangingPunct="1">
        <a:spcBef>
          <a:spcPct val="20000"/>
        </a:spcBef>
        <a:buFont typeface="Arial" pitchFamily="34" charset="0"/>
        <a:buChar char="•"/>
        <a:defRPr sz="2771" kern="1200">
          <a:solidFill>
            <a:schemeClr val="tx1"/>
          </a:solidFill>
          <a:latin typeface="+mn-lt"/>
          <a:ea typeface="+mn-ea"/>
          <a:cs typeface="+mn-cs"/>
        </a:defRPr>
      </a:lvl8pPr>
      <a:lvl9pPr marL="5383632" indent="-316685" algn="l" defTabSz="1266737" rtl="0" eaLnBrk="1" latinLnBrk="0" hangingPunct="1">
        <a:spcBef>
          <a:spcPct val="20000"/>
        </a:spcBef>
        <a:buFont typeface="Arial" pitchFamily="34" charset="0"/>
        <a:buChar char="•"/>
        <a:defRPr sz="2771" kern="1200">
          <a:solidFill>
            <a:schemeClr val="tx1"/>
          </a:solidFill>
          <a:latin typeface="+mn-lt"/>
          <a:ea typeface="+mn-ea"/>
          <a:cs typeface="+mn-cs"/>
        </a:defRPr>
      </a:lvl9pPr>
    </p:bodyStyle>
    <p:otherStyle>
      <a:defPPr>
        <a:defRPr lang="en-US"/>
      </a:defPPr>
      <a:lvl1pPr marL="0" algn="l" defTabSz="1266737" rtl="0" eaLnBrk="1" latinLnBrk="0" hangingPunct="1">
        <a:defRPr sz="2493" kern="1200">
          <a:solidFill>
            <a:schemeClr val="tx1"/>
          </a:solidFill>
          <a:latin typeface="+mn-lt"/>
          <a:ea typeface="+mn-ea"/>
          <a:cs typeface="+mn-cs"/>
        </a:defRPr>
      </a:lvl1pPr>
      <a:lvl2pPr marL="633367" algn="l" defTabSz="1266737" rtl="0" eaLnBrk="1" latinLnBrk="0" hangingPunct="1">
        <a:defRPr sz="2493" kern="1200">
          <a:solidFill>
            <a:schemeClr val="tx1"/>
          </a:solidFill>
          <a:latin typeface="+mn-lt"/>
          <a:ea typeface="+mn-ea"/>
          <a:cs typeface="+mn-cs"/>
        </a:defRPr>
      </a:lvl2pPr>
      <a:lvl3pPr marL="1266737" algn="l" defTabSz="1266737" rtl="0" eaLnBrk="1" latinLnBrk="0" hangingPunct="1">
        <a:defRPr sz="2493" kern="1200">
          <a:solidFill>
            <a:schemeClr val="tx1"/>
          </a:solidFill>
          <a:latin typeface="+mn-lt"/>
          <a:ea typeface="+mn-ea"/>
          <a:cs typeface="+mn-cs"/>
        </a:defRPr>
      </a:lvl3pPr>
      <a:lvl4pPr marL="1900106" algn="l" defTabSz="1266737" rtl="0" eaLnBrk="1" latinLnBrk="0" hangingPunct="1">
        <a:defRPr sz="2493" kern="1200">
          <a:solidFill>
            <a:schemeClr val="tx1"/>
          </a:solidFill>
          <a:latin typeface="+mn-lt"/>
          <a:ea typeface="+mn-ea"/>
          <a:cs typeface="+mn-cs"/>
        </a:defRPr>
      </a:lvl4pPr>
      <a:lvl5pPr marL="2533476" algn="l" defTabSz="1266737" rtl="0" eaLnBrk="1" latinLnBrk="0" hangingPunct="1">
        <a:defRPr sz="2493" kern="1200">
          <a:solidFill>
            <a:schemeClr val="tx1"/>
          </a:solidFill>
          <a:latin typeface="+mn-lt"/>
          <a:ea typeface="+mn-ea"/>
          <a:cs typeface="+mn-cs"/>
        </a:defRPr>
      </a:lvl5pPr>
      <a:lvl6pPr marL="3166843" algn="l" defTabSz="1266737" rtl="0" eaLnBrk="1" latinLnBrk="0" hangingPunct="1">
        <a:defRPr sz="2493" kern="1200">
          <a:solidFill>
            <a:schemeClr val="tx1"/>
          </a:solidFill>
          <a:latin typeface="+mn-lt"/>
          <a:ea typeface="+mn-ea"/>
          <a:cs typeface="+mn-cs"/>
        </a:defRPr>
      </a:lvl6pPr>
      <a:lvl7pPr marL="3800210" algn="l" defTabSz="1266737" rtl="0" eaLnBrk="1" latinLnBrk="0" hangingPunct="1">
        <a:defRPr sz="2493" kern="1200">
          <a:solidFill>
            <a:schemeClr val="tx1"/>
          </a:solidFill>
          <a:latin typeface="+mn-lt"/>
          <a:ea typeface="+mn-ea"/>
          <a:cs typeface="+mn-cs"/>
        </a:defRPr>
      </a:lvl7pPr>
      <a:lvl8pPr marL="4433580" algn="l" defTabSz="1266737" rtl="0" eaLnBrk="1" latinLnBrk="0" hangingPunct="1">
        <a:defRPr sz="2493" kern="1200">
          <a:solidFill>
            <a:schemeClr val="tx1"/>
          </a:solidFill>
          <a:latin typeface="+mn-lt"/>
          <a:ea typeface="+mn-ea"/>
          <a:cs typeface="+mn-cs"/>
        </a:defRPr>
      </a:lvl8pPr>
      <a:lvl9pPr marL="5066947" algn="l" defTabSz="1266737" rtl="0" eaLnBrk="1" latinLnBrk="0" hangingPunct="1">
        <a:defRPr sz="2493"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
            </p:custDataLst>
          </p:nvPr>
        </p:nvGraphicFramePr>
        <p:xfrm>
          <a:off x="1998" y="1590"/>
          <a:ext cx="1995" cy="1587"/>
        </p:xfrm>
        <a:graphic>
          <a:graphicData uri="http://schemas.openxmlformats.org/presentationml/2006/ole">
            <mc:AlternateContent xmlns:mc="http://schemas.openxmlformats.org/markup-compatibility/2006">
              <mc:Choice xmlns:v="urn:schemas-microsoft-com:vml" Requires="v">
                <p:oleObj spid="_x0000_s23554" name="think-cell Slide" r:id="rId16" imgW="270" imgH="270" progId="TCLayout.ActiveDocument.1">
                  <p:embed/>
                </p:oleObj>
              </mc:Choice>
              <mc:Fallback>
                <p:oleObj name="think-cell Slide" r:id="rId16" imgW="270" imgH="270" progId="TCLayout.ActiveDocument.1">
                  <p:embed/>
                  <p:pic>
                    <p:nvPicPr>
                      <p:cNvPr id="4" name="Object 3" hidden="1"/>
                      <p:cNvPicPr/>
                      <p:nvPr/>
                    </p:nvPicPr>
                    <p:blipFill>
                      <a:blip r:embed="rId17"/>
                      <a:stretch>
                        <a:fillRect/>
                      </a:stretch>
                    </p:blipFill>
                    <p:spPr>
                      <a:xfrm>
                        <a:off x="1998" y="1590"/>
                        <a:ext cx="1995"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C1D30AA2-B1C5-4B0F-AEEB-A85184AF6906}"/>
              </a:ext>
            </a:extLst>
          </p:cNvPr>
          <p:cNvSpPr/>
          <p:nvPr userDrawn="1">
            <p:custDataLst>
              <p:tags r:id="rId5"/>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eaLnBrk="1">
              <a:lnSpc>
                <a:spcPct val="95000"/>
              </a:lnSpc>
              <a:spcBef>
                <a:spcPct val="0"/>
              </a:spcBef>
              <a:spcAft>
                <a:spcPct val="0"/>
              </a:spcAft>
            </a:pPr>
            <a:endParaRPr lang="en-US" sz="2100" b="0" i="0" baseline="0">
              <a:solidFill>
                <a:schemeClr val="tx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2" name="Title Placeholder 1"/>
          <p:cNvSpPr>
            <a:spLocks noGrp="1"/>
          </p:cNvSpPr>
          <p:nvPr>
            <p:ph type="title"/>
          </p:nvPr>
        </p:nvSpPr>
        <p:spPr>
          <a:xfrm>
            <a:off x="476105" y="504085"/>
            <a:ext cx="12569026" cy="611928"/>
          </a:xfrm>
          <a:prstGeom prst="rect">
            <a:avLst/>
          </a:prstGeom>
        </p:spPr>
        <p:txBody>
          <a:bodyPr vert="horz" lIns="0" tIns="0" rIns="0" bIns="0" rtlCol="0" anchor="t" anchorCtr="0">
            <a:noAutofit/>
          </a:bodyPr>
          <a:lstStyle/>
          <a:p>
            <a:r>
              <a:rPr lang="en-US"/>
              <a:t>Click to edit Master title style</a:t>
            </a:r>
            <a:endParaRPr lang="en-GB"/>
          </a:p>
        </p:txBody>
      </p:sp>
      <p:sp>
        <p:nvSpPr>
          <p:cNvPr id="3" name="Text Placeholder 2"/>
          <p:cNvSpPr>
            <a:spLocks noGrp="1"/>
          </p:cNvSpPr>
          <p:nvPr>
            <p:ph type="body" idx="1"/>
          </p:nvPr>
        </p:nvSpPr>
        <p:spPr>
          <a:xfrm>
            <a:off x="476105" y="1447800"/>
            <a:ext cx="12569026" cy="5366766"/>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grpSp>
        <p:nvGrpSpPr>
          <p:cNvPr id="8" name="Harvey 8" hidden="1">
            <a:extLst>
              <a:ext uri="{FF2B5EF4-FFF2-40B4-BE49-F238E27FC236}">
                <a16:creationId xmlns:a16="http://schemas.microsoft.com/office/drawing/2014/main" id="{4AB0298C-A5FA-4B76-81E0-8CEEA8EAA89D}"/>
              </a:ext>
            </a:extLst>
          </p:cNvPr>
          <p:cNvGrpSpPr>
            <a:grpSpLocks/>
          </p:cNvGrpSpPr>
          <p:nvPr userDrawn="1">
            <p:custDataLst>
              <p:tags r:id="rId6"/>
            </p:custDataLst>
          </p:nvPr>
        </p:nvGrpSpPr>
        <p:grpSpPr>
          <a:xfrm>
            <a:off x="13569950" y="0"/>
            <a:ext cx="292608" cy="292608"/>
            <a:chOff x="0" y="0"/>
            <a:chExt cx="914400" cy="914400"/>
          </a:xfrm>
          <a:solidFill>
            <a:schemeClr val="tx1"/>
          </a:solidFill>
        </p:grpSpPr>
        <p:sp>
          <p:nvSpPr>
            <p:cNvPr id="9" name="Harvey 0/8 [0]" hidden="1">
              <a:extLst>
                <a:ext uri="{FF2B5EF4-FFF2-40B4-BE49-F238E27FC236}">
                  <a16:creationId xmlns:a16="http://schemas.microsoft.com/office/drawing/2014/main" id="{C5FE3037-A6E4-4F79-94EB-FF9186AB72CB}"/>
                </a:ext>
              </a:extLst>
            </p:cNvPr>
            <p:cNvSpPr>
              <a:spLocks noChangeAspect="1"/>
            </p:cNvSpPr>
            <p:nvPr>
              <p:custDataLst>
                <p:tags r:id="rId7"/>
              </p:custDataLst>
            </p:nvPr>
          </p:nvSpPr>
          <p:spPr>
            <a:xfrm>
              <a:off x="0" y="0"/>
              <a:ext cx="914400" cy="914400"/>
            </a:xfrm>
            <a:custGeom>
              <a:avLst/>
              <a:gdLst/>
              <a:ahLst/>
              <a:cxnLst/>
              <a:rect l="l" t="t" r="r" b="b"/>
              <a:pathLst>
                <a:path w="635000" h="635000" fill="none">
                  <a:moveTo>
                    <a:pt x="317500" y="0"/>
                  </a:moveTo>
                  <a:arcTo wR="317500" hR="317500" stAng="-5400000" swAng="216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1" name="Harvey 1/8 [1]" hidden="1">
              <a:extLst>
                <a:ext uri="{FF2B5EF4-FFF2-40B4-BE49-F238E27FC236}">
                  <a16:creationId xmlns:a16="http://schemas.microsoft.com/office/drawing/2014/main" id="{8E0D7E63-5BC3-4EFD-AF2E-F322E320598D}"/>
                </a:ext>
              </a:extLst>
            </p:cNvPr>
            <p:cNvSpPr>
              <a:spLocks noChangeAspect="1"/>
            </p:cNvSpPr>
            <p:nvPr>
              <p:custDataLst>
                <p:tags r:id="rId8"/>
              </p:custDataLst>
            </p:nvPr>
          </p:nvSpPr>
          <p:spPr>
            <a:xfrm>
              <a:off x="0" y="0"/>
              <a:ext cx="914400" cy="914400"/>
            </a:xfrm>
            <a:custGeom>
              <a:avLst/>
              <a:gdLst/>
              <a:ahLst/>
              <a:cxnLst/>
              <a:rect l="l" t="t" r="r" b="b"/>
              <a:pathLst>
                <a:path w="635000" h="635000">
                  <a:moveTo>
                    <a:pt x="317500" y="0"/>
                  </a:moveTo>
                  <a:arcTo wR="317500" hR="317500" stAng="16200000" swAng="2700000"/>
                  <a:lnTo>
                    <a:pt x="317500" y="317500"/>
                  </a:lnTo>
                  <a:close/>
                </a:path>
                <a:path w="635000" h="635000" fill="none">
                  <a:moveTo>
                    <a:pt x="542006" y="92993"/>
                  </a:moveTo>
                  <a:arcTo wR="317500" hR="317500" stAng="-2700000" swAng="189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2" name="Harvey 2/8 [2]" hidden="1">
              <a:extLst>
                <a:ext uri="{FF2B5EF4-FFF2-40B4-BE49-F238E27FC236}">
                  <a16:creationId xmlns:a16="http://schemas.microsoft.com/office/drawing/2014/main" id="{765F49FD-41BB-4740-AA91-9376E090DCA0}"/>
                </a:ext>
              </a:extLst>
            </p:cNvPr>
            <p:cNvSpPr>
              <a:spLocks noChangeAspect="1"/>
            </p:cNvSpPr>
            <p:nvPr>
              <p:custDataLst>
                <p:tags r:id="rId9"/>
              </p:custDataLst>
            </p:nvPr>
          </p:nvSpPr>
          <p:spPr>
            <a:xfrm>
              <a:off x="0" y="0"/>
              <a:ext cx="914400" cy="914400"/>
            </a:xfrm>
            <a:custGeom>
              <a:avLst/>
              <a:gdLst/>
              <a:ahLst/>
              <a:cxnLst/>
              <a:rect l="l" t="t" r="r" b="b"/>
              <a:pathLst>
                <a:path w="635000" h="635000">
                  <a:moveTo>
                    <a:pt x="317500" y="0"/>
                  </a:moveTo>
                  <a:arcTo wR="317500" hR="317500" stAng="16200000" swAng="5400000"/>
                  <a:lnTo>
                    <a:pt x="317500" y="317500"/>
                  </a:lnTo>
                  <a:close/>
                </a:path>
                <a:path w="635000" h="635000" fill="none">
                  <a:moveTo>
                    <a:pt x="635000" y="317500"/>
                  </a:moveTo>
                  <a:arcTo wR="317500" hR="317500" stAng="0" swAng="162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3" name="Harvey 3/8 [3]" hidden="1">
              <a:extLst>
                <a:ext uri="{FF2B5EF4-FFF2-40B4-BE49-F238E27FC236}">
                  <a16:creationId xmlns:a16="http://schemas.microsoft.com/office/drawing/2014/main" id="{B0779C8F-D96E-411E-971B-506AF6D6D69D}"/>
                </a:ext>
              </a:extLst>
            </p:cNvPr>
            <p:cNvSpPr>
              <a:spLocks noChangeAspect="1"/>
            </p:cNvSpPr>
            <p:nvPr>
              <p:custDataLst>
                <p:tags r:id="rId10"/>
              </p:custDataLst>
            </p:nvPr>
          </p:nvSpPr>
          <p:spPr>
            <a:xfrm>
              <a:off x="0" y="0"/>
              <a:ext cx="914400" cy="914400"/>
            </a:xfrm>
            <a:custGeom>
              <a:avLst/>
              <a:gdLst/>
              <a:ahLst/>
              <a:cxnLst/>
              <a:rect l="l" t="t" r="r" b="b"/>
              <a:pathLst>
                <a:path w="635000" h="635000">
                  <a:moveTo>
                    <a:pt x="317500" y="0"/>
                  </a:moveTo>
                  <a:arcTo wR="317500" hR="317500" stAng="16200000" swAng="8100000"/>
                  <a:lnTo>
                    <a:pt x="317500" y="317500"/>
                  </a:lnTo>
                  <a:close/>
                </a:path>
                <a:path w="635000" h="635000" fill="none">
                  <a:moveTo>
                    <a:pt x="542006" y="542006"/>
                  </a:moveTo>
                  <a:arcTo wR="317500" hR="317500" stAng="2700000" swAng="135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4" name="Harvey 4/8 [4]" hidden="1">
              <a:extLst>
                <a:ext uri="{FF2B5EF4-FFF2-40B4-BE49-F238E27FC236}">
                  <a16:creationId xmlns:a16="http://schemas.microsoft.com/office/drawing/2014/main" id="{D6DF1757-2FF0-465B-ADC4-15D2DBB61E6B}"/>
                </a:ext>
              </a:extLst>
            </p:cNvPr>
            <p:cNvSpPr>
              <a:spLocks noChangeAspect="1"/>
            </p:cNvSpPr>
            <p:nvPr>
              <p:custDataLst>
                <p:tags r:id="rId11"/>
              </p:custDataLst>
            </p:nvPr>
          </p:nvSpPr>
          <p:spPr>
            <a:xfrm>
              <a:off x="0" y="0"/>
              <a:ext cx="914400" cy="914400"/>
            </a:xfrm>
            <a:custGeom>
              <a:avLst/>
              <a:gdLst/>
              <a:ahLst/>
              <a:cxnLst/>
              <a:rect l="l" t="t" r="r" b="b"/>
              <a:pathLst>
                <a:path w="635000" h="635000">
                  <a:moveTo>
                    <a:pt x="317500" y="0"/>
                  </a:moveTo>
                  <a:arcTo wR="317500" hR="317500" stAng="16200000" swAng="10800000"/>
                  <a:lnTo>
                    <a:pt x="317500" y="317500"/>
                  </a:lnTo>
                  <a:close/>
                </a:path>
                <a:path w="635000" h="635000" fill="none">
                  <a:moveTo>
                    <a:pt x="317500" y="635000"/>
                  </a:moveTo>
                  <a:arcTo wR="317500" hR="317500" stAng="5400000" swAng="108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5" name="Harvey 5/8 [5]" hidden="1">
              <a:extLst>
                <a:ext uri="{FF2B5EF4-FFF2-40B4-BE49-F238E27FC236}">
                  <a16:creationId xmlns:a16="http://schemas.microsoft.com/office/drawing/2014/main" id="{E2EAF967-C51E-43C1-8874-7537C6B16C07}"/>
                </a:ext>
              </a:extLst>
            </p:cNvPr>
            <p:cNvSpPr>
              <a:spLocks noChangeAspect="1"/>
            </p:cNvSpPr>
            <p:nvPr>
              <p:custDataLst>
                <p:tags r:id="rId12"/>
              </p:custDataLst>
            </p:nvPr>
          </p:nvSpPr>
          <p:spPr>
            <a:xfrm>
              <a:off x="0" y="0"/>
              <a:ext cx="914400" cy="914400"/>
            </a:xfrm>
            <a:custGeom>
              <a:avLst/>
              <a:gdLst/>
              <a:ahLst/>
              <a:cxnLst/>
              <a:rect l="l" t="t" r="r" b="b"/>
              <a:pathLst>
                <a:path w="635000" h="635000">
                  <a:moveTo>
                    <a:pt x="317500" y="0"/>
                  </a:moveTo>
                  <a:arcTo wR="317500" hR="317500" stAng="16200000" swAng="13500000"/>
                  <a:lnTo>
                    <a:pt x="317500" y="317500"/>
                  </a:lnTo>
                  <a:close/>
                </a:path>
                <a:path w="635000" h="635000" fill="none">
                  <a:moveTo>
                    <a:pt x="92993" y="542006"/>
                  </a:moveTo>
                  <a:arcTo wR="317500" hR="317500" stAng="8100000" swAng="81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6" name="Harvey 6/8 [6]" hidden="1">
              <a:extLst>
                <a:ext uri="{FF2B5EF4-FFF2-40B4-BE49-F238E27FC236}">
                  <a16:creationId xmlns:a16="http://schemas.microsoft.com/office/drawing/2014/main" id="{E0A35808-6138-4CA0-9A0D-BAB9B7A4154D}"/>
                </a:ext>
              </a:extLst>
            </p:cNvPr>
            <p:cNvSpPr>
              <a:spLocks noChangeAspect="1"/>
            </p:cNvSpPr>
            <p:nvPr>
              <p:custDataLst>
                <p:tags r:id="rId13"/>
              </p:custDataLst>
            </p:nvPr>
          </p:nvSpPr>
          <p:spPr>
            <a:xfrm>
              <a:off x="0" y="0"/>
              <a:ext cx="914400" cy="914400"/>
            </a:xfrm>
            <a:custGeom>
              <a:avLst/>
              <a:gdLst/>
              <a:ahLst/>
              <a:cxnLst/>
              <a:rect l="l" t="t" r="r" b="b"/>
              <a:pathLst>
                <a:path w="635000" h="635000">
                  <a:moveTo>
                    <a:pt x="317500" y="0"/>
                  </a:moveTo>
                  <a:arcTo wR="317500" hR="317500" stAng="16200000" swAng="16200000"/>
                  <a:lnTo>
                    <a:pt x="317500" y="317500"/>
                  </a:lnTo>
                  <a:close/>
                </a:path>
                <a:path w="635000" h="635000" fill="none">
                  <a:moveTo>
                    <a:pt x="0" y="317500"/>
                  </a:moveTo>
                  <a:arcTo wR="317500" hR="317500" stAng="10800000" swAng="54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7" name="Harvey 7/8 [7]" hidden="1">
              <a:extLst>
                <a:ext uri="{FF2B5EF4-FFF2-40B4-BE49-F238E27FC236}">
                  <a16:creationId xmlns:a16="http://schemas.microsoft.com/office/drawing/2014/main" id="{D3BEC722-D65D-42DE-A401-58B77BB97004}"/>
                </a:ext>
              </a:extLst>
            </p:cNvPr>
            <p:cNvSpPr>
              <a:spLocks noChangeAspect="1"/>
            </p:cNvSpPr>
            <p:nvPr>
              <p:custDataLst>
                <p:tags r:id="rId14"/>
              </p:custDataLst>
            </p:nvPr>
          </p:nvSpPr>
          <p:spPr>
            <a:xfrm>
              <a:off x="0" y="0"/>
              <a:ext cx="914400" cy="914400"/>
            </a:xfrm>
            <a:custGeom>
              <a:avLst/>
              <a:gdLst/>
              <a:ahLst/>
              <a:cxnLst/>
              <a:rect l="l" t="t" r="r" b="b"/>
              <a:pathLst>
                <a:path w="635000" h="635000">
                  <a:moveTo>
                    <a:pt x="317500" y="0"/>
                  </a:moveTo>
                  <a:arcTo wR="317500" hR="317500" stAng="16200000" swAng="18900000"/>
                  <a:lnTo>
                    <a:pt x="317500" y="317500"/>
                  </a:lnTo>
                  <a:close/>
                </a:path>
                <a:path w="635000" h="635000" fill="none">
                  <a:moveTo>
                    <a:pt x="92993" y="92993"/>
                  </a:moveTo>
                  <a:arcTo wR="317500" hR="317500" stAng="13500000" swAng="27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8" name="Harvey 8/8 [8]" hidden="1">
              <a:extLst>
                <a:ext uri="{FF2B5EF4-FFF2-40B4-BE49-F238E27FC236}">
                  <a16:creationId xmlns:a16="http://schemas.microsoft.com/office/drawing/2014/main" id="{154F4969-FD7C-4194-9DD0-575BDEE3C219}"/>
                </a:ext>
              </a:extLst>
            </p:cNvPr>
            <p:cNvSpPr>
              <a:spLocks noChangeAspect="1"/>
            </p:cNvSpPr>
            <p:nvPr>
              <p:custDataLst>
                <p:tags r:id="rId15"/>
              </p:custDataLst>
            </p:nvPr>
          </p:nvSpPr>
          <p:spPr>
            <a:xfrm>
              <a:off x="0" y="0"/>
              <a:ext cx="914400" cy="914400"/>
            </a:xfrm>
            <a:custGeom>
              <a:avLst/>
              <a:gdLst/>
              <a:ahLst/>
              <a:cxnLst/>
              <a:rect l="l" t="t" r="r" b="b"/>
              <a:pathLst>
                <a:path w="635000" h="635000">
                  <a:moveTo>
                    <a:pt x="317500" y="0"/>
                  </a:moveTo>
                  <a:arcTo wR="317500" hR="317500" stAng="16200000" swAng="21600000"/>
                  <a:close/>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spTree>
    <p:extLst>
      <p:ext uri="{BB962C8B-B14F-4D97-AF65-F5344CB8AC3E}">
        <p14:creationId xmlns:p14="http://schemas.microsoft.com/office/powerpoint/2010/main" val="1067042703"/>
      </p:ext>
    </p:extLst>
  </p:cSld>
  <p:clrMap bg1="lt1" tx1="dk1" bg2="lt2" tx2="dk2" accent1="accent1" accent2="accent2" accent3="accent3" accent4="accent4" accent5="accent5" accent6="accent6" hlink="hlink" folHlink="folHlink"/>
  <p:sldLayoutIdLst>
    <p:sldLayoutId id="2147484229" r:id="rId1"/>
  </p:sldLayoutIdLst>
  <p:hf sldNum="0" hdr="0" dt="0"/>
  <p:txStyles>
    <p:titleStyle>
      <a:lvl1pPr algn="l" defTabSz="1042990" rtl="0" eaLnBrk="1" latinLnBrk="0" hangingPunct="1">
        <a:lnSpc>
          <a:spcPct val="95000"/>
        </a:lnSpc>
        <a:spcBef>
          <a:spcPct val="0"/>
        </a:spcBef>
        <a:buNone/>
        <a:defRPr sz="2100" b="0" kern="1200">
          <a:solidFill>
            <a:schemeClr val="tx1"/>
          </a:solidFill>
          <a:latin typeface="EYInterstate Light" panose="02000506000000020004" pitchFamily="2" charset="0"/>
          <a:ea typeface="+mj-ea"/>
          <a:cs typeface="Arial" pitchFamily="34" charset="0"/>
        </a:defRPr>
      </a:lvl1pPr>
    </p:titleStyle>
    <p:bodyStyle>
      <a:lvl1pPr marL="206425" indent="-206425" algn="l" defTabSz="1042990" rtl="0" eaLnBrk="1" latinLnBrk="0" hangingPunct="1">
        <a:spcBef>
          <a:spcPts val="228"/>
        </a:spcBef>
        <a:spcAft>
          <a:spcPts val="228"/>
        </a:spcAft>
        <a:buClr>
          <a:schemeClr val="tx1">
            <a:lumMod val="75000"/>
            <a:lumOff val="25000"/>
          </a:schemeClr>
        </a:buClr>
        <a:buSzPct val="70000"/>
        <a:buFont typeface="Arial" pitchFamily="34" charset="0"/>
        <a:buChar char="►"/>
        <a:defRPr sz="1400" kern="1200">
          <a:solidFill>
            <a:schemeClr val="tx1"/>
          </a:solidFill>
          <a:latin typeface="EYInterstate Light" panose="02000506000000020004" pitchFamily="2" charset="0"/>
          <a:ea typeface="+mn-ea"/>
          <a:cs typeface="+mn-cs"/>
        </a:defRPr>
      </a:lvl1pPr>
      <a:lvl2pPr marL="412850" indent="-213668" algn="l" defTabSz="1042990" rtl="0" eaLnBrk="1" latinLnBrk="0" hangingPunct="1">
        <a:spcBef>
          <a:spcPts val="228"/>
        </a:spcBef>
        <a:spcAft>
          <a:spcPts val="228"/>
        </a:spcAft>
        <a:buClr>
          <a:schemeClr val="tx1">
            <a:lumMod val="75000"/>
            <a:lumOff val="25000"/>
          </a:schemeClr>
        </a:buClr>
        <a:buSzPct val="70000"/>
        <a:buFont typeface="Arial" pitchFamily="34" charset="0"/>
        <a:buChar char="►"/>
        <a:defRPr sz="1400" kern="1200">
          <a:solidFill>
            <a:schemeClr val="tx1"/>
          </a:solidFill>
          <a:latin typeface="EYInterstate Light" panose="02000506000000020004" pitchFamily="2" charset="0"/>
          <a:ea typeface="+mn-ea"/>
          <a:cs typeface="+mn-cs"/>
        </a:defRPr>
      </a:lvl2pPr>
      <a:lvl3pPr marL="619276" indent="-206425" algn="l" defTabSz="1042990" rtl="0" eaLnBrk="1" latinLnBrk="0" hangingPunct="1">
        <a:spcBef>
          <a:spcPts val="228"/>
        </a:spcBef>
        <a:spcAft>
          <a:spcPts val="228"/>
        </a:spcAft>
        <a:buClr>
          <a:schemeClr val="tx1">
            <a:lumMod val="75000"/>
            <a:lumOff val="25000"/>
          </a:schemeClr>
        </a:buClr>
        <a:buSzPct val="70000"/>
        <a:buFont typeface="Arial" pitchFamily="34" charset="0"/>
        <a:buChar char="►"/>
        <a:defRPr sz="1400" kern="1200">
          <a:solidFill>
            <a:schemeClr val="tx1"/>
          </a:solidFill>
          <a:latin typeface="EYInterstate Light" panose="02000506000000020004" pitchFamily="2" charset="0"/>
          <a:ea typeface="+mn-ea"/>
          <a:cs typeface="+mn-cs"/>
        </a:defRPr>
      </a:lvl3pPr>
      <a:lvl4pPr marL="814837" indent="-195561" algn="l" defTabSz="1042990" rtl="0" eaLnBrk="1" latinLnBrk="0" hangingPunct="1">
        <a:spcBef>
          <a:spcPts val="228"/>
        </a:spcBef>
        <a:spcAft>
          <a:spcPts val="228"/>
        </a:spcAft>
        <a:buClr>
          <a:schemeClr val="tx1">
            <a:lumMod val="75000"/>
            <a:lumOff val="25000"/>
          </a:schemeClr>
        </a:buClr>
        <a:buSzPct val="70000"/>
        <a:buFont typeface="Arial" pitchFamily="34" charset="0"/>
        <a:buChar char="►"/>
        <a:defRPr sz="1400" kern="1200">
          <a:solidFill>
            <a:schemeClr val="tx1"/>
          </a:solidFill>
          <a:latin typeface="EYInterstate Light" panose="02000506000000020004" pitchFamily="2" charset="0"/>
          <a:ea typeface="+mn-ea"/>
          <a:cs typeface="+mn-cs"/>
        </a:defRPr>
      </a:lvl4pPr>
      <a:lvl5pPr marL="1021262" indent="-206425" algn="l" defTabSz="1042990" rtl="0" eaLnBrk="1" latinLnBrk="0" hangingPunct="1">
        <a:spcBef>
          <a:spcPts val="228"/>
        </a:spcBef>
        <a:spcAft>
          <a:spcPts val="228"/>
        </a:spcAft>
        <a:buClr>
          <a:schemeClr val="tx1">
            <a:lumMod val="75000"/>
            <a:lumOff val="25000"/>
          </a:schemeClr>
        </a:buClr>
        <a:buSzPct val="70000"/>
        <a:buFont typeface="Arial" pitchFamily="34" charset="0"/>
        <a:buChar char="►"/>
        <a:defRPr sz="1400" kern="1200">
          <a:solidFill>
            <a:schemeClr val="tx1"/>
          </a:solidFill>
          <a:latin typeface="EYInterstate Light" panose="02000506000000020004" pitchFamily="2" charset="0"/>
          <a:ea typeface="+mn-ea"/>
          <a:cs typeface="+mn-cs"/>
        </a:defRPr>
      </a:lvl5pPr>
      <a:lvl6pPr marL="2868222" indent="-260748" algn="l" defTabSz="1042990"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389718" indent="-260748" algn="l" defTabSz="1042990"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911213" indent="-260748" algn="l" defTabSz="1042990"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432708" indent="-260748" algn="l" defTabSz="1042990" rtl="0" eaLnBrk="1" latinLnBrk="0" hangingPunct="1">
        <a:spcBef>
          <a:spcPct val="20000"/>
        </a:spcBef>
        <a:buFont typeface="Arial" pitchFamily="34" charset="0"/>
        <a:buChar char="•"/>
        <a:defRPr sz="2300" kern="1200">
          <a:solidFill>
            <a:schemeClr val="tx1"/>
          </a:solidFill>
          <a:latin typeface="+mn-lt"/>
          <a:ea typeface="+mn-ea"/>
          <a:cs typeface="+mn-cs"/>
        </a:defRPr>
      </a:lvl9pPr>
    </p:bodyStyle>
    <p:otherStyle>
      <a:defPPr>
        <a:defRPr lang="en-US"/>
      </a:defPPr>
      <a:lvl1pPr marL="0" algn="l" defTabSz="1042990" rtl="0" eaLnBrk="1" latinLnBrk="0" hangingPunct="1">
        <a:defRPr sz="2100" kern="1200">
          <a:solidFill>
            <a:schemeClr val="tx1"/>
          </a:solidFill>
          <a:latin typeface="+mn-lt"/>
          <a:ea typeface="+mn-ea"/>
          <a:cs typeface="+mn-cs"/>
        </a:defRPr>
      </a:lvl1pPr>
      <a:lvl2pPr marL="521495" algn="l" defTabSz="1042990" rtl="0" eaLnBrk="1" latinLnBrk="0" hangingPunct="1">
        <a:defRPr sz="2100" kern="1200">
          <a:solidFill>
            <a:schemeClr val="tx1"/>
          </a:solidFill>
          <a:latin typeface="+mn-lt"/>
          <a:ea typeface="+mn-ea"/>
          <a:cs typeface="+mn-cs"/>
        </a:defRPr>
      </a:lvl2pPr>
      <a:lvl3pPr marL="1042990" algn="l" defTabSz="1042990" rtl="0" eaLnBrk="1" latinLnBrk="0" hangingPunct="1">
        <a:defRPr sz="2100" kern="1200">
          <a:solidFill>
            <a:schemeClr val="tx1"/>
          </a:solidFill>
          <a:latin typeface="+mn-lt"/>
          <a:ea typeface="+mn-ea"/>
          <a:cs typeface="+mn-cs"/>
        </a:defRPr>
      </a:lvl3pPr>
      <a:lvl4pPr marL="1564485" algn="l" defTabSz="1042990" rtl="0" eaLnBrk="1" latinLnBrk="0" hangingPunct="1">
        <a:defRPr sz="2100" kern="1200">
          <a:solidFill>
            <a:schemeClr val="tx1"/>
          </a:solidFill>
          <a:latin typeface="+mn-lt"/>
          <a:ea typeface="+mn-ea"/>
          <a:cs typeface="+mn-cs"/>
        </a:defRPr>
      </a:lvl4pPr>
      <a:lvl5pPr marL="2085981" algn="l" defTabSz="1042990" rtl="0" eaLnBrk="1" latinLnBrk="0" hangingPunct="1">
        <a:defRPr sz="2100" kern="1200">
          <a:solidFill>
            <a:schemeClr val="tx1"/>
          </a:solidFill>
          <a:latin typeface="+mn-lt"/>
          <a:ea typeface="+mn-ea"/>
          <a:cs typeface="+mn-cs"/>
        </a:defRPr>
      </a:lvl5pPr>
      <a:lvl6pPr marL="2607476" algn="l" defTabSz="1042990" rtl="0" eaLnBrk="1" latinLnBrk="0" hangingPunct="1">
        <a:defRPr sz="2100" kern="1200">
          <a:solidFill>
            <a:schemeClr val="tx1"/>
          </a:solidFill>
          <a:latin typeface="+mn-lt"/>
          <a:ea typeface="+mn-ea"/>
          <a:cs typeface="+mn-cs"/>
        </a:defRPr>
      </a:lvl6pPr>
      <a:lvl7pPr marL="3128970" algn="l" defTabSz="1042990" rtl="0" eaLnBrk="1" latinLnBrk="0" hangingPunct="1">
        <a:defRPr sz="2100" kern="1200">
          <a:solidFill>
            <a:schemeClr val="tx1"/>
          </a:solidFill>
          <a:latin typeface="+mn-lt"/>
          <a:ea typeface="+mn-ea"/>
          <a:cs typeface="+mn-cs"/>
        </a:defRPr>
      </a:lvl7pPr>
      <a:lvl8pPr marL="3650465" algn="l" defTabSz="1042990" rtl="0" eaLnBrk="1" latinLnBrk="0" hangingPunct="1">
        <a:defRPr sz="2100" kern="1200">
          <a:solidFill>
            <a:schemeClr val="tx1"/>
          </a:solidFill>
          <a:latin typeface="+mn-lt"/>
          <a:ea typeface="+mn-ea"/>
          <a:cs typeface="+mn-cs"/>
        </a:defRPr>
      </a:lvl8pPr>
      <a:lvl9pPr marL="4171960" algn="l" defTabSz="1042990" rtl="0" eaLnBrk="1" latinLnBrk="0" hangingPunct="1">
        <a:defRPr sz="21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381">
          <p15:clr>
            <a:srgbClr val="F26B43"/>
          </p15:clr>
        </p15:guide>
        <p15:guide id="2" pos="4234">
          <p15:clr>
            <a:srgbClr val="F26B43"/>
          </p15:clr>
        </p15:guide>
        <p15:guide id="3" orient="horz" pos="318">
          <p15:clr>
            <a:srgbClr val="F26B43"/>
          </p15:clr>
        </p15:guide>
        <p15:guide id="4" orient="horz" pos="703">
          <p15:clr>
            <a:srgbClr val="F26B43"/>
          </p15:clr>
        </p15:guide>
        <p15:guide id="5" orient="horz" pos="794">
          <p15:clr>
            <a:srgbClr val="F26B43"/>
          </p15:clr>
        </p15:guide>
        <p15:guide id="6" orient="horz" pos="4309">
          <p15:clr>
            <a:srgbClr val="F26B43"/>
          </p15:clr>
        </p15:guide>
        <p15:guide id="7" pos="288">
          <p15:clr>
            <a:srgbClr val="F26B43"/>
          </p15:clr>
        </p15:guide>
        <p15:guide id="8" pos="8226">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72149" y="222273"/>
            <a:ext cx="12098655" cy="948631"/>
          </a:xfrm>
          <a:prstGeom prst="rect">
            <a:avLst/>
          </a:prstGeom>
        </p:spPr>
        <p:txBody>
          <a:bodyPr vert="horz" lIns="0" tIns="0" rIns="0" bIns="0" rtlCol="0" anchor="t" anchorCtr="0">
            <a:noAutofit/>
          </a:bodyPr>
          <a:lstStyle/>
          <a:p>
            <a:r>
              <a:rPr lang="en-US"/>
              <a:t>Click to edit Master title style</a:t>
            </a:r>
            <a:endParaRPr lang="en-GB"/>
          </a:p>
        </p:txBody>
      </p:sp>
      <p:sp>
        <p:nvSpPr>
          <p:cNvPr id="3" name="Text Placeholder 2"/>
          <p:cNvSpPr>
            <a:spLocks noGrp="1"/>
          </p:cNvSpPr>
          <p:nvPr>
            <p:ph type="body" idx="1"/>
          </p:nvPr>
        </p:nvSpPr>
        <p:spPr>
          <a:xfrm>
            <a:off x="672149" y="1571790"/>
            <a:ext cx="12098655" cy="5181986"/>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p:cNvSpPr>
            <a:spLocks noGrp="1"/>
          </p:cNvSpPr>
          <p:nvPr>
            <p:ph type="ftr" sz="quarter" idx="3"/>
          </p:nvPr>
        </p:nvSpPr>
        <p:spPr>
          <a:xfrm>
            <a:off x="3805309" y="7188241"/>
            <a:ext cx="5049045" cy="221797"/>
          </a:xfrm>
          <a:prstGeom prst="rect">
            <a:avLst/>
          </a:prstGeom>
        </p:spPr>
        <p:txBody>
          <a:bodyPr vert="horz" lIns="0" tIns="0" rIns="0" bIns="0" rtlCol="0" anchor="t" anchorCtr="0">
            <a:noAutofit/>
          </a:bodyPr>
          <a:lstStyle>
            <a:lvl1pPr algn="l">
              <a:defRPr sz="1212">
                <a:solidFill>
                  <a:schemeClr val="bg1"/>
                </a:solidFill>
                <a:latin typeface="+mn-lt"/>
              </a:defRPr>
            </a:lvl1pPr>
          </a:lstStyle>
          <a:p>
            <a:r>
              <a:rPr lang="en-GB"/>
              <a:t>Presentation title</a:t>
            </a:r>
          </a:p>
        </p:txBody>
      </p:sp>
      <p:sp>
        <p:nvSpPr>
          <p:cNvPr id="7" name="TextBox 6"/>
          <p:cNvSpPr txBox="1"/>
          <p:nvPr/>
        </p:nvSpPr>
        <p:spPr>
          <a:xfrm>
            <a:off x="672148" y="7188241"/>
            <a:ext cx="975958" cy="221797"/>
          </a:xfrm>
          <a:prstGeom prst="rect">
            <a:avLst/>
          </a:prstGeom>
          <a:noFill/>
        </p:spPr>
        <p:txBody>
          <a:bodyPr wrap="square" lIns="0" tIns="0" rIns="0" bIns="0" rtlCol="0" anchor="t" anchorCtr="0">
            <a:noAutofit/>
          </a:bodyPr>
          <a:lstStyle/>
          <a:p>
            <a:r>
              <a:rPr lang="en-GB" sz="1212">
                <a:solidFill>
                  <a:schemeClr val="bg1"/>
                </a:solidFill>
                <a:latin typeface="+mn-lt"/>
              </a:rPr>
              <a:t>Page </a:t>
            </a:r>
            <a:fld id="{9AE4D82F-B047-469B-AC52-A46321747EAF}" type="slidenum">
              <a:rPr lang="en-GB" sz="1212" smtClean="0">
                <a:solidFill>
                  <a:schemeClr val="bg1"/>
                </a:solidFill>
                <a:latin typeface="+mn-lt"/>
              </a:rPr>
              <a:pPr/>
              <a:t>‹#›</a:t>
            </a:fld>
            <a:endParaRPr lang="en-GB" sz="1212">
              <a:solidFill>
                <a:schemeClr val="bg1"/>
              </a:solidFill>
              <a:latin typeface="+mn-lt"/>
            </a:endParaRPr>
          </a:p>
        </p:txBody>
      </p:sp>
      <p:sp>
        <p:nvSpPr>
          <p:cNvPr id="4" name="Date Placeholder 3"/>
          <p:cNvSpPr>
            <a:spLocks noGrp="1"/>
          </p:cNvSpPr>
          <p:nvPr>
            <p:ph type="dt" sz="half" idx="2"/>
          </p:nvPr>
        </p:nvSpPr>
        <p:spPr>
          <a:xfrm>
            <a:off x="1648106" y="7188241"/>
            <a:ext cx="1511545" cy="221797"/>
          </a:xfrm>
          <a:prstGeom prst="rect">
            <a:avLst/>
          </a:prstGeom>
        </p:spPr>
        <p:txBody>
          <a:bodyPr vert="horz" wrap="none" lIns="0" tIns="0" rIns="0" bIns="0" rtlCol="0" anchor="t" anchorCtr="0"/>
          <a:lstStyle>
            <a:lvl1pPr algn="l">
              <a:defRPr sz="1212">
                <a:solidFill>
                  <a:schemeClr val="bg1"/>
                </a:solidFill>
                <a:latin typeface="+mn-lt"/>
              </a:defRPr>
            </a:lvl1pPr>
          </a:lstStyle>
          <a:p>
            <a:r>
              <a:rPr lang="en-US"/>
              <a:t>1 January 2014</a:t>
            </a:r>
          </a:p>
        </p:txBody>
      </p:sp>
      <p:pic>
        <p:nvPicPr>
          <p:cNvPr id="12" name="Picture 11"/>
          <p:cNvPicPr>
            <a:picLocks noChangeAspect="1"/>
          </p:cNvPicPr>
          <p:nvPr/>
        </p:nvPicPr>
        <p:blipFill>
          <a:blip r:embed="rId15" cstate="print">
            <a:extLst>
              <a:ext uri="{28A0092B-C50C-407E-A947-70E740481C1C}">
                <a14:useLocalDpi xmlns:a14="http://schemas.microsoft.com/office/drawing/2010/main"/>
              </a:ext>
            </a:extLst>
          </a:blip>
          <a:stretch>
            <a:fillRect/>
          </a:stretch>
        </p:blipFill>
        <p:spPr>
          <a:xfrm>
            <a:off x="12332776" y="6976525"/>
            <a:ext cx="440723" cy="450763"/>
          </a:xfrm>
          <a:prstGeom prst="rect">
            <a:avLst/>
          </a:prstGeom>
        </p:spPr>
      </p:pic>
    </p:spTree>
    <p:extLst>
      <p:ext uri="{BB962C8B-B14F-4D97-AF65-F5344CB8AC3E}">
        <p14:creationId xmlns:p14="http://schemas.microsoft.com/office/powerpoint/2010/main" val="2651751646"/>
      </p:ext>
    </p:extLst>
  </p:cSld>
  <p:clrMap bg1="lt1" tx1="dk1" bg2="lt2" tx2="dk2" accent1="accent1" accent2="accent2" accent3="accent3" accent4="accent4" accent5="accent5" accent6="accent6" hlink="hlink" folHlink="folHlink"/>
  <p:sldLayoutIdLst>
    <p:sldLayoutId id="2147484231" r:id="rId1"/>
    <p:sldLayoutId id="2147484232" r:id="rId2"/>
    <p:sldLayoutId id="2147484233" r:id="rId3"/>
    <p:sldLayoutId id="2147484234" r:id="rId4"/>
    <p:sldLayoutId id="2147484235" r:id="rId5"/>
    <p:sldLayoutId id="2147484236" r:id="rId6"/>
    <p:sldLayoutId id="2147484237" r:id="rId7"/>
    <p:sldLayoutId id="2147484238" r:id="rId8"/>
    <p:sldLayoutId id="2147484239" r:id="rId9"/>
    <p:sldLayoutId id="2147484240" r:id="rId10"/>
    <p:sldLayoutId id="2147484241" r:id="rId11"/>
    <p:sldLayoutId id="2147484243" r:id="rId12"/>
    <p:sldLayoutId id="2147484244" r:id="rId13"/>
  </p:sldLayoutIdLst>
  <p:hf sldNum="0" hdr="0"/>
  <p:txStyles>
    <p:titleStyle>
      <a:lvl1pPr algn="l" defTabSz="1007669" rtl="0" eaLnBrk="1" latinLnBrk="0" hangingPunct="1">
        <a:lnSpc>
          <a:spcPct val="85000"/>
        </a:lnSpc>
        <a:spcBef>
          <a:spcPct val="0"/>
        </a:spcBef>
        <a:buNone/>
        <a:defRPr sz="3306" b="1" kern="1200">
          <a:solidFill>
            <a:schemeClr val="bg1"/>
          </a:solidFill>
          <a:latin typeface="+mn-lt"/>
          <a:ea typeface="+mj-ea"/>
          <a:cs typeface="Arial" pitchFamily="34" charset="0"/>
        </a:defRPr>
      </a:lvl1pPr>
    </p:titleStyle>
    <p:bodyStyle>
      <a:lvl1pPr marL="392991" indent="-392991" algn="l" defTabSz="1007669" rtl="0" eaLnBrk="1" latinLnBrk="0" hangingPunct="1">
        <a:spcBef>
          <a:spcPct val="20000"/>
        </a:spcBef>
        <a:buClr>
          <a:schemeClr val="accent2"/>
        </a:buClr>
        <a:buSzPct val="70000"/>
        <a:buFont typeface="Arial" pitchFamily="34" charset="0"/>
        <a:buChar char="►"/>
        <a:defRPr sz="2645" kern="1200">
          <a:solidFill>
            <a:schemeClr val="bg1"/>
          </a:solidFill>
          <a:latin typeface="+mn-lt"/>
          <a:ea typeface="+mn-ea"/>
          <a:cs typeface="+mn-cs"/>
        </a:defRPr>
      </a:lvl1pPr>
      <a:lvl2pPr marL="785982" indent="-392991" algn="l" defTabSz="1007669" rtl="0" eaLnBrk="1" latinLnBrk="0" hangingPunct="1">
        <a:spcBef>
          <a:spcPct val="20000"/>
        </a:spcBef>
        <a:buClr>
          <a:schemeClr val="accent2"/>
        </a:buClr>
        <a:buSzPct val="70000"/>
        <a:buFont typeface="Arial" pitchFamily="34" charset="0"/>
        <a:buChar char="►"/>
        <a:defRPr sz="2204" kern="1200">
          <a:solidFill>
            <a:schemeClr val="bg1"/>
          </a:solidFill>
          <a:latin typeface="+mn-lt"/>
          <a:ea typeface="+mn-ea"/>
          <a:cs typeface="+mn-cs"/>
        </a:defRPr>
      </a:lvl2pPr>
      <a:lvl3pPr marL="1178972" indent="-392991" algn="l" defTabSz="1007669" rtl="0" eaLnBrk="1" latinLnBrk="0" hangingPunct="1">
        <a:spcBef>
          <a:spcPct val="20000"/>
        </a:spcBef>
        <a:buClr>
          <a:schemeClr val="accent2"/>
        </a:buClr>
        <a:buSzPct val="70000"/>
        <a:buFont typeface="Arial" pitchFamily="34" charset="0"/>
        <a:buChar char="►"/>
        <a:defRPr sz="1984" kern="1200">
          <a:solidFill>
            <a:schemeClr val="bg1"/>
          </a:solidFill>
          <a:latin typeface="+mn-lt"/>
          <a:ea typeface="+mn-ea"/>
          <a:cs typeface="+mn-cs"/>
        </a:defRPr>
      </a:lvl3pPr>
      <a:lvl4pPr marL="1571963" indent="-392991" algn="l" defTabSz="1007669" rtl="0" eaLnBrk="1" latinLnBrk="0" hangingPunct="1">
        <a:spcBef>
          <a:spcPct val="20000"/>
        </a:spcBef>
        <a:buClr>
          <a:schemeClr val="accent2"/>
        </a:buClr>
        <a:buSzPct val="70000"/>
        <a:buFont typeface="Arial" pitchFamily="34" charset="0"/>
        <a:buChar char="►"/>
        <a:defRPr sz="1763" kern="1200">
          <a:solidFill>
            <a:schemeClr val="bg1"/>
          </a:solidFill>
          <a:latin typeface="+mn-lt"/>
          <a:ea typeface="+mn-ea"/>
          <a:cs typeface="+mn-cs"/>
        </a:defRPr>
      </a:lvl4pPr>
      <a:lvl5pPr marL="1964954" indent="-392991" algn="l" defTabSz="1007669" rtl="0" eaLnBrk="1" latinLnBrk="0" hangingPunct="1">
        <a:spcBef>
          <a:spcPct val="20000"/>
        </a:spcBef>
        <a:buClr>
          <a:schemeClr val="accent2"/>
        </a:buClr>
        <a:buSzPct val="70000"/>
        <a:buFont typeface="Arial" pitchFamily="34" charset="0"/>
        <a:buChar char="►"/>
        <a:defRPr sz="1763" kern="1200">
          <a:solidFill>
            <a:schemeClr val="bg1"/>
          </a:solidFill>
          <a:latin typeface="+mn-lt"/>
          <a:ea typeface="+mn-ea"/>
          <a:cs typeface="+mn-cs"/>
        </a:defRPr>
      </a:lvl5pPr>
      <a:lvl6pPr marL="2771089" indent="-251917" algn="l" defTabSz="1007669" rtl="0" eaLnBrk="1" latinLnBrk="0" hangingPunct="1">
        <a:spcBef>
          <a:spcPct val="20000"/>
        </a:spcBef>
        <a:buFont typeface="Arial" pitchFamily="34" charset="0"/>
        <a:buChar char="•"/>
        <a:defRPr sz="2204" kern="1200">
          <a:solidFill>
            <a:schemeClr val="tx1"/>
          </a:solidFill>
          <a:latin typeface="+mn-lt"/>
          <a:ea typeface="+mn-ea"/>
          <a:cs typeface="+mn-cs"/>
        </a:defRPr>
      </a:lvl6pPr>
      <a:lvl7pPr marL="3274924" indent="-251917" algn="l" defTabSz="1007669" rtl="0" eaLnBrk="1" latinLnBrk="0" hangingPunct="1">
        <a:spcBef>
          <a:spcPct val="20000"/>
        </a:spcBef>
        <a:buFont typeface="Arial" pitchFamily="34" charset="0"/>
        <a:buChar char="•"/>
        <a:defRPr sz="2204" kern="1200">
          <a:solidFill>
            <a:schemeClr val="tx1"/>
          </a:solidFill>
          <a:latin typeface="+mn-lt"/>
          <a:ea typeface="+mn-ea"/>
          <a:cs typeface="+mn-cs"/>
        </a:defRPr>
      </a:lvl7pPr>
      <a:lvl8pPr marL="3778758" indent="-251917" algn="l" defTabSz="1007669" rtl="0" eaLnBrk="1" latinLnBrk="0" hangingPunct="1">
        <a:spcBef>
          <a:spcPct val="20000"/>
        </a:spcBef>
        <a:buFont typeface="Arial" pitchFamily="34" charset="0"/>
        <a:buChar char="•"/>
        <a:defRPr sz="2204" kern="1200">
          <a:solidFill>
            <a:schemeClr val="tx1"/>
          </a:solidFill>
          <a:latin typeface="+mn-lt"/>
          <a:ea typeface="+mn-ea"/>
          <a:cs typeface="+mn-cs"/>
        </a:defRPr>
      </a:lvl8pPr>
      <a:lvl9pPr marL="4282592" indent="-251917" algn="l" defTabSz="1007669" rtl="0" eaLnBrk="1" latinLnBrk="0" hangingPunct="1">
        <a:spcBef>
          <a:spcPct val="20000"/>
        </a:spcBef>
        <a:buFont typeface="Arial" pitchFamily="34" charset="0"/>
        <a:buChar char="•"/>
        <a:defRPr sz="2204" kern="1200">
          <a:solidFill>
            <a:schemeClr val="tx1"/>
          </a:solidFill>
          <a:latin typeface="+mn-lt"/>
          <a:ea typeface="+mn-ea"/>
          <a:cs typeface="+mn-cs"/>
        </a:defRPr>
      </a:lvl9pPr>
    </p:bodyStyle>
    <p:otherStyle>
      <a:defPPr>
        <a:defRPr lang="en-US"/>
      </a:defPPr>
      <a:lvl1pPr marL="0" algn="l" defTabSz="1007669" rtl="0" eaLnBrk="1" latinLnBrk="0" hangingPunct="1">
        <a:defRPr sz="1984" kern="1200">
          <a:solidFill>
            <a:schemeClr val="tx1"/>
          </a:solidFill>
          <a:latin typeface="+mn-lt"/>
          <a:ea typeface="+mn-ea"/>
          <a:cs typeface="+mn-cs"/>
        </a:defRPr>
      </a:lvl1pPr>
      <a:lvl2pPr marL="503834" algn="l" defTabSz="1007669" rtl="0" eaLnBrk="1" latinLnBrk="0" hangingPunct="1">
        <a:defRPr sz="1984" kern="1200">
          <a:solidFill>
            <a:schemeClr val="tx1"/>
          </a:solidFill>
          <a:latin typeface="+mn-lt"/>
          <a:ea typeface="+mn-ea"/>
          <a:cs typeface="+mn-cs"/>
        </a:defRPr>
      </a:lvl2pPr>
      <a:lvl3pPr marL="1007669" algn="l" defTabSz="1007669" rtl="0" eaLnBrk="1" latinLnBrk="0" hangingPunct="1">
        <a:defRPr sz="1984" kern="1200">
          <a:solidFill>
            <a:schemeClr val="tx1"/>
          </a:solidFill>
          <a:latin typeface="+mn-lt"/>
          <a:ea typeface="+mn-ea"/>
          <a:cs typeface="+mn-cs"/>
        </a:defRPr>
      </a:lvl3pPr>
      <a:lvl4pPr marL="1511503" algn="l" defTabSz="1007669" rtl="0" eaLnBrk="1" latinLnBrk="0" hangingPunct="1">
        <a:defRPr sz="1984" kern="1200">
          <a:solidFill>
            <a:schemeClr val="tx1"/>
          </a:solidFill>
          <a:latin typeface="+mn-lt"/>
          <a:ea typeface="+mn-ea"/>
          <a:cs typeface="+mn-cs"/>
        </a:defRPr>
      </a:lvl4pPr>
      <a:lvl5pPr marL="2015338" algn="l" defTabSz="1007669" rtl="0" eaLnBrk="1" latinLnBrk="0" hangingPunct="1">
        <a:defRPr sz="1984" kern="1200">
          <a:solidFill>
            <a:schemeClr val="tx1"/>
          </a:solidFill>
          <a:latin typeface="+mn-lt"/>
          <a:ea typeface="+mn-ea"/>
          <a:cs typeface="+mn-cs"/>
        </a:defRPr>
      </a:lvl5pPr>
      <a:lvl6pPr marL="2519172" algn="l" defTabSz="1007669" rtl="0" eaLnBrk="1" latinLnBrk="0" hangingPunct="1">
        <a:defRPr sz="1984" kern="1200">
          <a:solidFill>
            <a:schemeClr val="tx1"/>
          </a:solidFill>
          <a:latin typeface="+mn-lt"/>
          <a:ea typeface="+mn-ea"/>
          <a:cs typeface="+mn-cs"/>
        </a:defRPr>
      </a:lvl6pPr>
      <a:lvl7pPr marL="3023006" algn="l" defTabSz="1007669" rtl="0" eaLnBrk="1" latinLnBrk="0" hangingPunct="1">
        <a:defRPr sz="1984" kern="1200">
          <a:solidFill>
            <a:schemeClr val="tx1"/>
          </a:solidFill>
          <a:latin typeface="+mn-lt"/>
          <a:ea typeface="+mn-ea"/>
          <a:cs typeface="+mn-cs"/>
        </a:defRPr>
      </a:lvl7pPr>
      <a:lvl8pPr marL="3526841" algn="l" defTabSz="1007669" rtl="0" eaLnBrk="1" latinLnBrk="0" hangingPunct="1">
        <a:defRPr sz="1984" kern="1200">
          <a:solidFill>
            <a:schemeClr val="tx1"/>
          </a:solidFill>
          <a:latin typeface="+mn-lt"/>
          <a:ea typeface="+mn-ea"/>
          <a:cs typeface="+mn-cs"/>
        </a:defRPr>
      </a:lvl8pPr>
      <a:lvl9pPr marL="4030675" algn="l" defTabSz="1007669" rtl="0" eaLnBrk="1" latinLnBrk="0" hangingPunct="1">
        <a:defRPr sz="1984"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FC7353C-3B81-4C0A-8443-D52B2F457168}"/>
              </a:ext>
            </a:extLst>
          </p:cNvPr>
          <p:cNvGraphicFramePr>
            <a:graphicFrameLocks noChangeAspect="1"/>
          </p:cNvGraphicFramePr>
          <p:nvPr userDrawn="1">
            <p:custDataLst>
              <p:tags r:id="rId5"/>
            </p:custDataLst>
            <p:extLst>
              <p:ext uri="{D42A27DB-BD31-4B8C-83A1-F6EECF244321}">
                <p14:modId xmlns:p14="http://schemas.microsoft.com/office/powerpoint/2010/main" val="1349373027"/>
              </p:ext>
            </p:extLst>
          </p:nvPr>
        </p:nvGraphicFramePr>
        <p:xfrm>
          <a:off x="1751" y="1751"/>
          <a:ext cx="1750" cy="1751"/>
        </p:xfrm>
        <a:graphic>
          <a:graphicData uri="http://schemas.openxmlformats.org/presentationml/2006/ole">
            <mc:AlternateContent xmlns:mc="http://schemas.openxmlformats.org/markup-compatibility/2006">
              <mc:Choice xmlns:v="urn:schemas-microsoft-com:vml" Requires="v">
                <p:oleObj spid="_x0000_s25602" name="think-cell Slide" r:id="rId7" imgW="473" imgH="473" progId="TCLayout.ActiveDocument.1">
                  <p:embed/>
                </p:oleObj>
              </mc:Choice>
              <mc:Fallback>
                <p:oleObj name="think-cell Slide" r:id="rId7" imgW="473" imgH="473" progId="TCLayout.ActiveDocument.1">
                  <p:embed/>
                  <p:pic>
                    <p:nvPicPr>
                      <p:cNvPr id="4" name="Object 3" hidden="1">
                        <a:extLst>
                          <a:ext uri="{FF2B5EF4-FFF2-40B4-BE49-F238E27FC236}">
                            <a16:creationId xmlns:a16="http://schemas.microsoft.com/office/drawing/2014/main" id="{4FC7353C-3B81-4C0A-8443-D52B2F457168}"/>
                          </a:ext>
                        </a:extLst>
                      </p:cNvPr>
                      <p:cNvPicPr/>
                      <p:nvPr/>
                    </p:nvPicPr>
                    <p:blipFill>
                      <a:blip r:embed="rId8"/>
                      <a:stretch>
                        <a:fillRect/>
                      </a:stretch>
                    </p:blipFill>
                    <p:spPr>
                      <a:xfrm>
                        <a:off x="1751" y="1751"/>
                        <a:ext cx="1750" cy="1751"/>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35A4FEDA-0E13-4A17-A6EA-DC2493EC6972}"/>
              </a:ext>
            </a:extLst>
          </p:cNvPr>
          <p:cNvSpPr/>
          <p:nvPr userDrawn="1">
            <p:custDataLst>
              <p:tags r:id="rId6"/>
            </p:custDataLst>
          </p:nvPr>
        </p:nvSpPr>
        <p:spPr>
          <a:xfrm>
            <a:off x="0" y="0"/>
            <a:ext cx="175038" cy="175029"/>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a:endParaRPr lang="en-US" sz="2644" b="0" i="0" baseline="0">
              <a:solidFill>
                <a:schemeClr val="tx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grpSp>
        <p:nvGrpSpPr>
          <p:cNvPr id="9" name="Group 4">
            <a:extLst>
              <a:ext uri="{FF2B5EF4-FFF2-40B4-BE49-F238E27FC236}">
                <a16:creationId xmlns:a16="http://schemas.microsoft.com/office/drawing/2014/main" id="{ABA621AC-91DA-4716-A450-56540FA39C36}"/>
              </a:ext>
            </a:extLst>
          </p:cNvPr>
          <p:cNvGrpSpPr>
            <a:grpSpLocks noChangeAspect="1"/>
          </p:cNvGrpSpPr>
          <p:nvPr userDrawn="1"/>
        </p:nvGrpSpPr>
        <p:grpSpPr bwMode="auto">
          <a:xfrm>
            <a:off x="12438755" y="7008172"/>
            <a:ext cx="334150" cy="343057"/>
            <a:chOff x="7110" y="4004"/>
            <a:chExt cx="191" cy="196"/>
          </a:xfrm>
        </p:grpSpPr>
        <p:sp>
          <p:nvSpPr>
            <p:cNvPr id="11" name="Freeform 5">
              <a:extLst>
                <a:ext uri="{FF2B5EF4-FFF2-40B4-BE49-F238E27FC236}">
                  <a16:creationId xmlns:a16="http://schemas.microsoft.com/office/drawing/2014/main" id="{76E3EDA9-8EAC-419E-8C11-4E1E158AF762}"/>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983"/>
            </a:p>
          </p:txBody>
        </p:sp>
        <p:sp>
          <p:nvSpPr>
            <p:cNvPr id="12" name="Freeform 6">
              <a:extLst>
                <a:ext uri="{FF2B5EF4-FFF2-40B4-BE49-F238E27FC236}">
                  <a16:creationId xmlns:a16="http://schemas.microsoft.com/office/drawing/2014/main" id="{ABC9458B-8C2C-486A-8ADE-F22CCDC7E2F8}"/>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983"/>
            </a:p>
          </p:txBody>
        </p:sp>
        <p:sp>
          <p:nvSpPr>
            <p:cNvPr id="14" name="Freeform 7">
              <a:extLst>
                <a:ext uri="{FF2B5EF4-FFF2-40B4-BE49-F238E27FC236}">
                  <a16:creationId xmlns:a16="http://schemas.microsoft.com/office/drawing/2014/main" id="{0A4C4046-69B4-41DA-AA2E-E892AEC9AA90}"/>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983"/>
            </a:p>
          </p:txBody>
        </p:sp>
      </p:grpSp>
      <p:sp>
        <p:nvSpPr>
          <p:cNvPr id="20" name="Footer Placeholder 4">
            <a:extLst>
              <a:ext uri="{FF2B5EF4-FFF2-40B4-BE49-F238E27FC236}">
                <a16:creationId xmlns:a16="http://schemas.microsoft.com/office/drawing/2014/main" id="{AC28FA70-87E4-49F4-AFDE-345AA28E0BE7}"/>
              </a:ext>
            </a:extLst>
          </p:cNvPr>
          <p:cNvSpPr>
            <a:spLocks noGrp="1"/>
          </p:cNvSpPr>
          <p:nvPr>
            <p:ph type="ftr" sz="quarter" idx="3"/>
          </p:nvPr>
        </p:nvSpPr>
        <p:spPr>
          <a:xfrm>
            <a:off x="3536764" y="7152814"/>
            <a:ext cx="3400975" cy="198458"/>
          </a:xfrm>
          <a:prstGeom prst="rect">
            <a:avLst/>
          </a:prstGeom>
        </p:spPr>
        <p:txBody>
          <a:bodyPr vert="horz" lIns="0" tIns="0" rIns="0" bIns="0" rtlCol="0" anchor="ctr"/>
          <a:lstStyle>
            <a:lvl1pPr marL="0" algn="l" defTabSz="1007550" rtl="0" eaLnBrk="1" latinLnBrk="0" hangingPunct="1">
              <a:defRPr lang="en-IN" sz="882" kern="1200" dirty="0">
                <a:solidFill>
                  <a:schemeClr val="tx2"/>
                </a:solidFill>
                <a:latin typeface="EYInterstate" panose="02000503020000020004" pitchFamily="2" charset="0"/>
                <a:ea typeface="+mn-ea"/>
                <a:cs typeface="+mn-cs"/>
              </a:defRPr>
            </a:lvl1pPr>
          </a:lstStyle>
          <a:p>
            <a:r>
              <a:rPr lang="en-US"/>
              <a:t>COVID 19- Secure Remote Access</a:t>
            </a:r>
          </a:p>
        </p:txBody>
      </p:sp>
      <p:sp>
        <p:nvSpPr>
          <p:cNvPr id="22" name="Title Placeholder 1">
            <a:extLst>
              <a:ext uri="{FF2B5EF4-FFF2-40B4-BE49-F238E27FC236}">
                <a16:creationId xmlns:a16="http://schemas.microsoft.com/office/drawing/2014/main" id="{F7E74DAD-AD12-4A64-8BD9-CED1E4618F0F}"/>
              </a:ext>
            </a:extLst>
          </p:cNvPr>
          <p:cNvSpPr>
            <a:spLocks noGrp="1"/>
          </p:cNvSpPr>
          <p:nvPr>
            <p:ph type="title"/>
          </p:nvPr>
        </p:nvSpPr>
        <p:spPr bwMode="blackGray">
          <a:xfrm>
            <a:off x="672149" y="367898"/>
            <a:ext cx="12098654" cy="948631"/>
          </a:xfrm>
          <a:prstGeom prst="rect">
            <a:avLst/>
          </a:prstGeom>
        </p:spPr>
        <p:txBody>
          <a:bodyPr vert="horz" lIns="0" tIns="0" rIns="0" bIns="0" rtlCol="0" anchor="b" anchorCtr="0">
            <a:noAutofit/>
          </a:bodyPr>
          <a:lstStyle/>
          <a:p>
            <a:r>
              <a:rPr lang="en-US"/>
              <a:t>Click to edit Master title style</a:t>
            </a:r>
            <a:endParaRPr lang="en-GB"/>
          </a:p>
        </p:txBody>
      </p:sp>
      <p:sp>
        <p:nvSpPr>
          <p:cNvPr id="23" name="Text Placeholder 2">
            <a:extLst>
              <a:ext uri="{FF2B5EF4-FFF2-40B4-BE49-F238E27FC236}">
                <a16:creationId xmlns:a16="http://schemas.microsoft.com/office/drawing/2014/main" id="{7A09193F-5F0D-46C1-BC91-67ECC2D3F353}"/>
              </a:ext>
            </a:extLst>
          </p:cNvPr>
          <p:cNvSpPr>
            <a:spLocks noGrp="1"/>
          </p:cNvSpPr>
          <p:nvPr>
            <p:ph type="body" idx="1"/>
          </p:nvPr>
        </p:nvSpPr>
        <p:spPr bwMode="blackGray">
          <a:xfrm>
            <a:off x="672150" y="1571790"/>
            <a:ext cx="12098654" cy="5179763"/>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5" name="TextBox 24">
            <a:extLst>
              <a:ext uri="{FF2B5EF4-FFF2-40B4-BE49-F238E27FC236}">
                <a16:creationId xmlns:a16="http://schemas.microsoft.com/office/drawing/2014/main" id="{D6AC4F17-7108-488E-9B0F-E2FD5FFE583F}"/>
              </a:ext>
            </a:extLst>
          </p:cNvPr>
          <p:cNvSpPr txBox="1"/>
          <p:nvPr userDrawn="1"/>
        </p:nvSpPr>
        <p:spPr bwMode="blackGray">
          <a:xfrm>
            <a:off x="12038627" y="7134847"/>
            <a:ext cx="223582" cy="221797"/>
          </a:xfrm>
          <a:prstGeom prst="rect">
            <a:avLst/>
          </a:prstGeom>
          <a:noFill/>
        </p:spPr>
        <p:txBody>
          <a:bodyPr wrap="square" lIns="0" tIns="0" rIns="0" bIns="0" rtlCol="0" anchor="ctr" anchorCtr="0">
            <a:noAutofit/>
          </a:bodyPr>
          <a:lstStyle/>
          <a:p>
            <a:fld id="{9AE4D82F-B047-469B-AC52-A46321747EAF}" type="slidenum">
              <a:rPr lang="en-GB" sz="882" smtClean="0">
                <a:solidFill>
                  <a:schemeClr val="bg1"/>
                </a:solidFill>
                <a:latin typeface="+mn-lt"/>
              </a:rPr>
              <a:pPr/>
              <a:t>‹#›</a:t>
            </a:fld>
            <a:endParaRPr lang="en-GB" sz="882">
              <a:solidFill>
                <a:schemeClr val="bg1"/>
              </a:solidFill>
              <a:latin typeface="+mn-lt"/>
            </a:endParaRPr>
          </a:p>
        </p:txBody>
      </p:sp>
      <p:cxnSp>
        <p:nvCxnSpPr>
          <p:cNvPr id="26" name="Straight Connector 25">
            <a:extLst>
              <a:ext uri="{FF2B5EF4-FFF2-40B4-BE49-F238E27FC236}">
                <a16:creationId xmlns:a16="http://schemas.microsoft.com/office/drawing/2014/main" id="{9F499C40-EE05-4ECF-BD8C-88E03A60C3B5}"/>
              </a:ext>
            </a:extLst>
          </p:cNvPr>
          <p:cNvCxnSpPr/>
          <p:nvPr userDrawn="1"/>
        </p:nvCxnSpPr>
        <p:spPr bwMode="blackGray">
          <a:xfrm>
            <a:off x="11938216" y="7116880"/>
            <a:ext cx="0" cy="221797"/>
          </a:xfrm>
          <a:prstGeom prst="line">
            <a:avLst/>
          </a:prstGeom>
          <a:ln w="9525">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161952D-8432-422E-BB19-76DF6D298FBF}"/>
              </a:ext>
            </a:extLst>
          </p:cNvPr>
          <p:cNvCxnSpPr/>
          <p:nvPr userDrawn="1"/>
        </p:nvCxnSpPr>
        <p:spPr bwMode="blackGray">
          <a:xfrm>
            <a:off x="11950125" y="7116880"/>
            <a:ext cx="0" cy="221797"/>
          </a:xfrm>
          <a:prstGeom prst="line">
            <a:avLst/>
          </a:prstGeom>
          <a:ln w="9525">
            <a:solidFill>
              <a:schemeClr val="tx2"/>
            </a:solidFill>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21849342"/>
      </p:ext>
    </p:extLst>
  </p:cSld>
  <p:clrMap bg1="lt1" tx1="dk1" bg2="lt2" tx2="dk2" accent1="accent1" accent2="accent2" accent3="accent3" accent4="accent4" accent5="accent5" accent6="accent6" hlink="hlink" folHlink="folHlink"/>
  <p:sldLayoutIdLst>
    <p:sldLayoutId id="2147484247" r:id="rId1"/>
    <p:sldLayoutId id="2147484248" r:id="rId2"/>
  </p:sldLayoutIdLst>
  <p:hf sldNum="0" hdr="0" dt="0"/>
  <p:txStyles>
    <p:titleStyle>
      <a:lvl1pPr algn="l" defTabSz="1007550" rtl="0" eaLnBrk="1" latinLnBrk="0" hangingPunct="1">
        <a:lnSpc>
          <a:spcPct val="85000"/>
        </a:lnSpc>
        <a:spcBef>
          <a:spcPct val="0"/>
        </a:spcBef>
        <a:buNone/>
        <a:defRPr sz="2644" b="0" kern="1200">
          <a:solidFill>
            <a:schemeClr val="bg1"/>
          </a:solidFill>
          <a:latin typeface="EYInterstate Light" panose="02000506000000020004" pitchFamily="2" charset="0"/>
          <a:ea typeface="+mj-ea"/>
          <a:cs typeface="Arial" pitchFamily="34" charset="0"/>
        </a:defRPr>
      </a:lvl1pPr>
    </p:titleStyle>
    <p:bodyStyle>
      <a:lvl1pPr marL="392944" indent="-392944" algn="l" defTabSz="1007550" rtl="0" eaLnBrk="1" latinLnBrk="0" hangingPunct="1">
        <a:spcBef>
          <a:spcPct val="20000"/>
        </a:spcBef>
        <a:buClr>
          <a:schemeClr val="tx2"/>
        </a:buClr>
        <a:buSzPct val="110000"/>
        <a:buFont typeface="EYInterstate Light" panose="02000506000000020004" pitchFamily="2" charset="0"/>
        <a:buChar char="•"/>
        <a:defRPr sz="2204" kern="1200">
          <a:solidFill>
            <a:schemeClr val="bg1"/>
          </a:solidFill>
          <a:latin typeface="EYInterstate Light" panose="02000506000000020004" pitchFamily="2" charset="0"/>
          <a:ea typeface="+mn-ea"/>
          <a:cs typeface="+mn-cs"/>
        </a:defRPr>
      </a:lvl1pPr>
      <a:lvl2pPr marL="785888" indent="-392944" algn="l" defTabSz="1007550" rtl="0" eaLnBrk="1" latinLnBrk="0" hangingPunct="1">
        <a:spcBef>
          <a:spcPct val="20000"/>
        </a:spcBef>
        <a:buClr>
          <a:schemeClr val="tx2"/>
        </a:buClr>
        <a:buSzPct val="110000"/>
        <a:buFont typeface="EYInterstate Light" panose="02000506000000020004" pitchFamily="2" charset="0"/>
        <a:buChar char="•"/>
        <a:defRPr sz="1983" kern="1200">
          <a:solidFill>
            <a:schemeClr val="bg1"/>
          </a:solidFill>
          <a:latin typeface="EYInterstate Light" panose="02000506000000020004" pitchFamily="2" charset="0"/>
          <a:ea typeface="+mn-ea"/>
          <a:cs typeface="+mn-cs"/>
        </a:defRPr>
      </a:lvl2pPr>
      <a:lvl3pPr marL="1178833" indent="-392944" algn="l" defTabSz="1007550" rtl="0" eaLnBrk="1" latinLnBrk="0" hangingPunct="1">
        <a:spcBef>
          <a:spcPct val="20000"/>
        </a:spcBef>
        <a:buClr>
          <a:schemeClr val="tx2"/>
        </a:buClr>
        <a:buSzPct val="110000"/>
        <a:buFont typeface="EYInterstate Light" panose="02000506000000020004" pitchFamily="2" charset="0"/>
        <a:buChar char="•"/>
        <a:defRPr sz="1763" kern="1200">
          <a:solidFill>
            <a:schemeClr val="bg1"/>
          </a:solidFill>
          <a:latin typeface="EYInterstate Light" panose="02000506000000020004" pitchFamily="2" charset="0"/>
          <a:ea typeface="+mn-ea"/>
          <a:cs typeface="+mn-cs"/>
        </a:defRPr>
      </a:lvl3pPr>
      <a:lvl4pPr marL="1571778" indent="-392944" algn="l" defTabSz="1007550" rtl="0" eaLnBrk="1" latinLnBrk="0" hangingPunct="1">
        <a:spcBef>
          <a:spcPct val="20000"/>
        </a:spcBef>
        <a:buClr>
          <a:schemeClr val="tx2"/>
        </a:buClr>
        <a:buSzPct val="110000"/>
        <a:buFont typeface="EYInterstate Light" panose="02000506000000020004" pitchFamily="2" charset="0"/>
        <a:buChar char="•"/>
        <a:defRPr sz="1542" kern="1200">
          <a:solidFill>
            <a:schemeClr val="bg1"/>
          </a:solidFill>
          <a:latin typeface="EYInterstate Light" panose="02000506000000020004" pitchFamily="2" charset="0"/>
          <a:ea typeface="+mn-ea"/>
          <a:cs typeface="+mn-cs"/>
        </a:defRPr>
      </a:lvl4pPr>
      <a:lvl5pPr marL="1964722" indent="-392944" algn="l" defTabSz="1007550" rtl="0" eaLnBrk="1" latinLnBrk="0" hangingPunct="1">
        <a:spcBef>
          <a:spcPct val="20000"/>
        </a:spcBef>
        <a:buClr>
          <a:schemeClr val="tx2"/>
        </a:buClr>
        <a:buSzPct val="110000"/>
        <a:buFont typeface="EYInterstate Light" panose="02000506000000020004" pitchFamily="2" charset="0"/>
        <a:buChar char="•"/>
        <a:defRPr sz="1322" kern="1200">
          <a:solidFill>
            <a:schemeClr val="bg1"/>
          </a:solidFill>
          <a:latin typeface="EYInterstate Light" panose="02000506000000020004" pitchFamily="2" charset="0"/>
          <a:ea typeface="+mn-ea"/>
          <a:cs typeface="+mn-cs"/>
        </a:defRPr>
      </a:lvl5pPr>
      <a:lvl6pPr marL="2770762" indent="-251888" algn="l" defTabSz="1007550" rtl="0" eaLnBrk="1" latinLnBrk="0" hangingPunct="1">
        <a:spcBef>
          <a:spcPct val="20000"/>
        </a:spcBef>
        <a:buFont typeface="Arial" pitchFamily="34" charset="0"/>
        <a:buChar char="•"/>
        <a:defRPr sz="2204" kern="1200">
          <a:solidFill>
            <a:schemeClr val="tx1"/>
          </a:solidFill>
          <a:latin typeface="+mn-lt"/>
          <a:ea typeface="+mn-ea"/>
          <a:cs typeface="+mn-cs"/>
        </a:defRPr>
      </a:lvl6pPr>
      <a:lvl7pPr marL="3274536" indent="-251888" algn="l" defTabSz="1007550" rtl="0" eaLnBrk="1" latinLnBrk="0" hangingPunct="1">
        <a:spcBef>
          <a:spcPct val="20000"/>
        </a:spcBef>
        <a:buFont typeface="Arial" pitchFamily="34" charset="0"/>
        <a:buChar char="•"/>
        <a:defRPr sz="2204" kern="1200">
          <a:solidFill>
            <a:schemeClr val="tx1"/>
          </a:solidFill>
          <a:latin typeface="+mn-lt"/>
          <a:ea typeface="+mn-ea"/>
          <a:cs typeface="+mn-cs"/>
        </a:defRPr>
      </a:lvl7pPr>
      <a:lvl8pPr marL="3778312" indent="-251888" algn="l" defTabSz="1007550" rtl="0" eaLnBrk="1" latinLnBrk="0" hangingPunct="1">
        <a:spcBef>
          <a:spcPct val="20000"/>
        </a:spcBef>
        <a:buFont typeface="Arial" pitchFamily="34" charset="0"/>
        <a:buChar char="•"/>
        <a:defRPr sz="2204" kern="1200">
          <a:solidFill>
            <a:schemeClr val="tx1"/>
          </a:solidFill>
          <a:latin typeface="+mn-lt"/>
          <a:ea typeface="+mn-ea"/>
          <a:cs typeface="+mn-cs"/>
        </a:defRPr>
      </a:lvl8pPr>
      <a:lvl9pPr marL="4282087" indent="-251888" algn="l" defTabSz="1007550" rtl="0" eaLnBrk="1" latinLnBrk="0" hangingPunct="1">
        <a:spcBef>
          <a:spcPct val="20000"/>
        </a:spcBef>
        <a:buFont typeface="Arial" pitchFamily="34" charset="0"/>
        <a:buChar char="•"/>
        <a:defRPr sz="2204" kern="1200">
          <a:solidFill>
            <a:schemeClr val="tx1"/>
          </a:solidFill>
          <a:latin typeface="+mn-lt"/>
          <a:ea typeface="+mn-ea"/>
          <a:cs typeface="+mn-cs"/>
        </a:defRPr>
      </a:lvl9pPr>
    </p:bodyStyle>
    <p:otherStyle>
      <a:defPPr>
        <a:defRPr lang="en-US"/>
      </a:defPPr>
      <a:lvl1pPr marL="0" algn="l" defTabSz="1007550" rtl="0" eaLnBrk="1" latinLnBrk="0" hangingPunct="1">
        <a:defRPr sz="1983" kern="1200">
          <a:solidFill>
            <a:schemeClr val="tx1"/>
          </a:solidFill>
          <a:latin typeface="+mn-lt"/>
          <a:ea typeface="+mn-ea"/>
          <a:cs typeface="+mn-cs"/>
        </a:defRPr>
      </a:lvl1pPr>
      <a:lvl2pPr marL="503774" algn="l" defTabSz="1007550" rtl="0" eaLnBrk="1" latinLnBrk="0" hangingPunct="1">
        <a:defRPr sz="1983" kern="1200">
          <a:solidFill>
            <a:schemeClr val="tx1"/>
          </a:solidFill>
          <a:latin typeface="+mn-lt"/>
          <a:ea typeface="+mn-ea"/>
          <a:cs typeface="+mn-cs"/>
        </a:defRPr>
      </a:lvl2pPr>
      <a:lvl3pPr marL="1007550" algn="l" defTabSz="1007550" rtl="0" eaLnBrk="1" latinLnBrk="0" hangingPunct="1">
        <a:defRPr sz="1983" kern="1200">
          <a:solidFill>
            <a:schemeClr val="tx1"/>
          </a:solidFill>
          <a:latin typeface="+mn-lt"/>
          <a:ea typeface="+mn-ea"/>
          <a:cs typeface="+mn-cs"/>
        </a:defRPr>
      </a:lvl3pPr>
      <a:lvl4pPr marL="1511325" algn="l" defTabSz="1007550" rtl="0" eaLnBrk="1" latinLnBrk="0" hangingPunct="1">
        <a:defRPr sz="1983" kern="1200">
          <a:solidFill>
            <a:schemeClr val="tx1"/>
          </a:solidFill>
          <a:latin typeface="+mn-lt"/>
          <a:ea typeface="+mn-ea"/>
          <a:cs typeface="+mn-cs"/>
        </a:defRPr>
      </a:lvl4pPr>
      <a:lvl5pPr marL="2015100" algn="l" defTabSz="1007550" rtl="0" eaLnBrk="1" latinLnBrk="0" hangingPunct="1">
        <a:defRPr sz="1983" kern="1200">
          <a:solidFill>
            <a:schemeClr val="tx1"/>
          </a:solidFill>
          <a:latin typeface="+mn-lt"/>
          <a:ea typeface="+mn-ea"/>
          <a:cs typeface="+mn-cs"/>
        </a:defRPr>
      </a:lvl5pPr>
      <a:lvl6pPr marL="2518874" algn="l" defTabSz="1007550" rtl="0" eaLnBrk="1" latinLnBrk="0" hangingPunct="1">
        <a:defRPr sz="1983" kern="1200">
          <a:solidFill>
            <a:schemeClr val="tx1"/>
          </a:solidFill>
          <a:latin typeface="+mn-lt"/>
          <a:ea typeface="+mn-ea"/>
          <a:cs typeface="+mn-cs"/>
        </a:defRPr>
      </a:lvl6pPr>
      <a:lvl7pPr marL="3022649" algn="l" defTabSz="1007550" rtl="0" eaLnBrk="1" latinLnBrk="0" hangingPunct="1">
        <a:defRPr sz="1983" kern="1200">
          <a:solidFill>
            <a:schemeClr val="tx1"/>
          </a:solidFill>
          <a:latin typeface="+mn-lt"/>
          <a:ea typeface="+mn-ea"/>
          <a:cs typeface="+mn-cs"/>
        </a:defRPr>
      </a:lvl7pPr>
      <a:lvl8pPr marL="3526425" algn="l" defTabSz="1007550" rtl="0" eaLnBrk="1" latinLnBrk="0" hangingPunct="1">
        <a:defRPr sz="1983" kern="1200">
          <a:solidFill>
            <a:schemeClr val="tx1"/>
          </a:solidFill>
          <a:latin typeface="+mn-lt"/>
          <a:ea typeface="+mn-ea"/>
          <a:cs typeface="+mn-cs"/>
        </a:defRPr>
      </a:lvl8pPr>
      <a:lvl9pPr marL="4030199" algn="l" defTabSz="1007550" rtl="0" eaLnBrk="1" latinLnBrk="0" hangingPunct="1">
        <a:defRPr sz="1983"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grpSp>
        <p:nvGrpSpPr>
          <p:cNvPr id="14" name="Group 4">
            <a:extLst>
              <a:ext uri="{FF2B5EF4-FFF2-40B4-BE49-F238E27FC236}">
                <a16:creationId xmlns:a16="http://schemas.microsoft.com/office/drawing/2014/main" id="{7E89FB01-0304-4B7A-83F4-087FD710583C}"/>
              </a:ext>
            </a:extLst>
          </p:cNvPr>
          <p:cNvGrpSpPr>
            <a:grpSpLocks noChangeAspect="1"/>
          </p:cNvGrpSpPr>
          <p:nvPr userDrawn="1"/>
        </p:nvGrpSpPr>
        <p:grpSpPr bwMode="auto">
          <a:xfrm>
            <a:off x="12548111" y="7039593"/>
            <a:ext cx="334150" cy="343057"/>
            <a:chOff x="7110" y="4004"/>
            <a:chExt cx="191" cy="196"/>
          </a:xfrm>
        </p:grpSpPr>
        <p:sp>
          <p:nvSpPr>
            <p:cNvPr id="15" name="Freeform 5">
              <a:extLst>
                <a:ext uri="{FF2B5EF4-FFF2-40B4-BE49-F238E27FC236}">
                  <a16:creationId xmlns:a16="http://schemas.microsoft.com/office/drawing/2014/main" id="{4DE1CE93-8A80-4A24-92CA-71C05E453718}"/>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982"/>
            </a:p>
          </p:txBody>
        </p:sp>
        <p:sp>
          <p:nvSpPr>
            <p:cNvPr id="16" name="Freeform 6">
              <a:extLst>
                <a:ext uri="{FF2B5EF4-FFF2-40B4-BE49-F238E27FC236}">
                  <a16:creationId xmlns:a16="http://schemas.microsoft.com/office/drawing/2014/main" id="{769AC85D-6BA0-4E5B-A206-FB7E85E0DDBE}"/>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982"/>
            </a:p>
          </p:txBody>
        </p:sp>
        <p:sp>
          <p:nvSpPr>
            <p:cNvPr id="17" name="Freeform 7">
              <a:extLst>
                <a:ext uri="{FF2B5EF4-FFF2-40B4-BE49-F238E27FC236}">
                  <a16:creationId xmlns:a16="http://schemas.microsoft.com/office/drawing/2014/main" id="{5A99D1FF-A731-4C56-AEC5-4C61FAC74874}"/>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982"/>
            </a:p>
          </p:txBody>
        </p:sp>
      </p:grpSp>
      <p:sp>
        <p:nvSpPr>
          <p:cNvPr id="26" name="Title 1">
            <a:extLst>
              <a:ext uri="{FF2B5EF4-FFF2-40B4-BE49-F238E27FC236}">
                <a16:creationId xmlns:a16="http://schemas.microsoft.com/office/drawing/2014/main" id="{2CDEFBA4-D09B-4EF7-A6D0-581A052D9916}"/>
              </a:ext>
            </a:extLst>
          </p:cNvPr>
          <p:cNvSpPr txBox="1">
            <a:spLocks/>
          </p:cNvSpPr>
          <p:nvPr userDrawn="1"/>
        </p:nvSpPr>
        <p:spPr>
          <a:xfrm>
            <a:off x="624897" y="535605"/>
            <a:ext cx="12098655" cy="650943"/>
          </a:xfrm>
          <a:prstGeom prst="rect">
            <a:avLst/>
          </a:prstGeom>
        </p:spPr>
        <p:txBody>
          <a:bodyPr/>
          <a:lstStyle>
            <a:lvl1pPr algn="l" defTabSz="914400" rtl="0" eaLnBrk="1" latinLnBrk="0" hangingPunct="1">
              <a:lnSpc>
                <a:spcPct val="85000"/>
              </a:lnSpc>
              <a:spcBef>
                <a:spcPct val="0"/>
              </a:spcBef>
              <a:buNone/>
              <a:defRPr sz="2000" b="0" kern="1200">
                <a:solidFill>
                  <a:schemeClr val="bg1"/>
                </a:solidFill>
                <a:latin typeface="EYInterstate Light" panose="02000506000000020004" pitchFamily="2" charset="0"/>
                <a:ea typeface="+mj-ea"/>
                <a:cs typeface="Arial" pitchFamily="34" charset="0"/>
              </a:defRPr>
            </a:lvl1pPr>
          </a:lstStyle>
          <a:p>
            <a:endParaRPr lang="en-GB" sz="2203" b="1"/>
          </a:p>
        </p:txBody>
      </p:sp>
      <p:grpSp>
        <p:nvGrpSpPr>
          <p:cNvPr id="29" name="Group 28">
            <a:extLst>
              <a:ext uri="{FF2B5EF4-FFF2-40B4-BE49-F238E27FC236}">
                <a16:creationId xmlns:a16="http://schemas.microsoft.com/office/drawing/2014/main" id="{962A59C9-984D-42CA-BC16-101EDAC79B1F}"/>
              </a:ext>
            </a:extLst>
          </p:cNvPr>
          <p:cNvGrpSpPr/>
          <p:nvPr userDrawn="1"/>
        </p:nvGrpSpPr>
        <p:grpSpPr>
          <a:xfrm>
            <a:off x="625816" y="323622"/>
            <a:ext cx="422188" cy="98857"/>
            <a:chOff x="567876" y="293523"/>
            <a:chExt cx="573024" cy="134112"/>
          </a:xfrm>
          <a:solidFill>
            <a:schemeClr val="tx2"/>
          </a:solidFill>
        </p:grpSpPr>
        <p:sp>
          <p:nvSpPr>
            <p:cNvPr id="30" name="Oval 29">
              <a:extLst>
                <a:ext uri="{FF2B5EF4-FFF2-40B4-BE49-F238E27FC236}">
                  <a16:creationId xmlns:a16="http://schemas.microsoft.com/office/drawing/2014/main" id="{61B09C4F-AD4A-40C2-8ACF-13E384B8FB7E}"/>
                </a:ext>
              </a:extLst>
            </p:cNvPr>
            <p:cNvSpPr/>
            <p:nvPr userDrawn="1"/>
          </p:nvSpPr>
          <p:spPr>
            <a:xfrm>
              <a:off x="567876" y="293523"/>
              <a:ext cx="134112" cy="134112"/>
            </a:xfrm>
            <a:prstGeom prst="ellipse">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321">
                <a:solidFill>
                  <a:schemeClr val="tx1"/>
                </a:solidFill>
                <a:latin typeface="Arial" panose="020B0604020202020204" pitchFamily="34" charset="0"/>
              </a:endParaRPr>
            </a:p>
          </p:txBody>
        </p:sp>
        <p:sp>
          <p:nvSpPr>
            <p:cNvPr id="31" name="Oval 30">
              <a:extLst>
                <a:ext uri="{FF2B5EF4-FFF2-40B4-BE49-F238E27FC236}">
                  <a16:creationId xmlns:a16="http://schemas.microsoft.com/office/drawing/2014/main" id="{FCF1002F-39ED-4A5A-8FCB-58B6339C9DC5}"/>
                </a:ext>
              </a:extLst>
            </p:cNvPr>
            <p:cNvSpPr/>
            <p:nvPr userDrawn="1"/>
          </p:nvSpPr>
          <p:spPr>
            <a:xfrm>
              <a:off x="787332" y="293523"/>
              <a:ext cx="134112" cy="134112"/>
            </a:xfrm>
            <a:prstGeom prst="ellipse">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321">
                <a:solidFill>
                  <a:schemeClr val="tx1"/>
                </a:solidFill>
                <a:latin typeface="Arial" panose="020B0604020202020204" pitchFamily="34" charset="0"/>
              </a:endParaRPr>
            </a:p>
          </p:txBody>
        </p:sp>
        <p:sp>
          <p:nvSpPr>
            <p:cNvPr id="32" name="Oval 31">
              <a:extLst>
                <a:ext uri="{FF2B5EF4-FFF2-40B4-BE49-F238E27FC236}">
                  <a16:creationId xmlns:a16="http://schemas.microsoft.com/office/drawing/2014/main" id="{D0BFF75D-EFCA-4700-9342-05354370F696}"/>
                </a:ext>
              </a:extLst>
            </p:cNvPr>
            <p:cNvSpPr/>
            <p:nvPr userDrawn="1"/>
          </p:nvSpPr>
          <p:spPr>
            <a:xfrm>
              <a:off x="1006788" y="293523"/>
              <a:ext cx="134112" cy="134112"/>
            </a:xfrm>
            <a:prstGeom prst="ellipse">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321">
                <a:solidFill>
                  <a:schemeClr val="tx1"/>
                </a:solidFill>
                <a:latin typeface="Arial" panose="020B0604020202020204" pitchFamily="34" charset="0"/>
              </a:endParaRPr>
            </a:p>
          </p:txBody>
        </p:sp>
      </p:grpSp>
      <p:cxnSp>
        <p:nvCxnSpPr>
          <p:cNvPr id="33" name="Straight Connector 32">
            <a:extLst>
              <a:ext uri="{FF2B5EF4-FFF2-40B4-BE49-F238E27FC236}">
                <a16:creationId xmlns:a16="http://schemas.microsoft.com/office/drawing/2014/main" id="{02C7EAE4-0615-4A79-A768-F553768F1A73}"/>
              </a:ext>
            </a:extLst>
          </p:cNvPr>
          <p:cNvCxnSpPr/>
          <p:nvPr userDrawn="1"/>
        </p:nvCxnSpPr>
        <p:spPr>
          <a:xfrm>
            <a:off x="1163170" y="373051"/>
            <a:ext cx="12293896" cy="0"/>
          </a:xfrm>
          <a:prstGeom prst="line">
            <a:avLst/>
          </a:prstGeom>
          <a:ln w="19050">
            <a:solidFill>
              <a:schemeClr val="bg2">
                <a:lumMod val="50000"/>
                <a:lumOff val="50000"/>
              </a:schemeClr>
            </a:solidFill>
            <a:tailEnd type="none"/>
          </a:ln>
        </p:spPr>
        <p:style>
          <a:lnRef idx="1">
            <a:schemeClr val="accent1"/>
          </a:lnRef>
          <a:fillRef idx="0">
            <a:schemeClr val="accent1"/>
          </a:fillRef>
          <a:effectRef idx="0">
            <a:schemeClr val="accent1"/>
          </a:effectRef>
          <a:fontRef idx="minor">
            <a:schemeClr val="tx1"/>
          </a:fontRef>
        </p:style>
      </p:cxnSp>
      <p:sp>
        <p:nvSpPr>
          <p:cNvPr id="20" name="object 24">
            <a:extLst>
              <a:ext uri="{FF2B5EF4-FFF2-40B4-BE49-F238E27FC236}">
                <a16:creationId xmlns:a16="http://schemas.microsoft.com/office/drawing/2014/main" id="{C28156C2-AD8D-4E3F-A678-0E67D4ED7159}"/>
              </a:ext>
            </a:extLst>
          </p:cNvPr>
          <p:cNvSpPr/>
          <p:nvPr userDrawn="1"/>
        </p:nvSpPr>
        <p:spPr>
          <a:xfrm>
            <a:off x="12108227" y="7223884"/>
            <a:ext cx="0" cy="158767"/>
          </a:xfrm>
          <a:custGeom>
            <a:avLst/>
            <a:gdLst/>
            <a:ahLst/>
            <a:cxnLst/>
            <a:rect l="l" t="t" r="r" b="b"/>
            <a:pathLst>
              <a:path h="342900">
                <a:moveTo>
                  <a:pt x="0" y="0"/>
                </a:moveTo>
                <a:lnTo>
                  <a:pt x="0" y="342900"/>
                </a:lnTo>
              </a:path>
            </a:pathLst>
          </a:custGeom>
          <a:ln w="3175">
            <a:solidFill>
              <a:srgbClr val="333333"/>
            </a:solidFill>
          </a:ln>
        </p:spPr>
        <p:txBody>
          <a:bodyPr wrap="square" lIns="0" tIns="0" rIns="0" bIns="0" rtlCol="0" anchor="ctr"/>
          <a:lstStyle/>
          <a:p>
            <a:pPr defTabSz="776109"/>
            <a:endParaRPr sz="1489" b="1">
              <a:solidFill>
                <a:srgbClr val="000000"/>
              </a:solidFill>
              <a:cs typeface="EYInterstate Light"/>
            </a:endParaRPr>
          </a:p>
        </p:txBody>
      </p:sp>
      <p:sp>
        <p:nvSpPr>
          <p:cNvPr id="21" name="object 24">
            <a:extLst>
              <a:ext uri="{FF2B5EF4-FFF2-40B4-BE49-F238E27FC236}">
                <a16:creationId xmlns:a16="http://schemas.microsoft.com/office/drawing/2014/main" id="{F52190F7-5DFC-469E-B2CD-13C9C8B1C075}"/>
              </a:ext>
            </a:extLst>
          </p:cNvPr>
          <p:cNvSpPr/>
          <p:nvPr userDrawn="1"/>
        </p:nvSpPr>
        <p:spPr>
          <a:xfrm>
            <a:off x="12450552" y="7223884"/>
            <a:ext cx="0" cy="158767"/>
          </a:xfrm>
          <a:custGeom>
            <a:avLst/>
            <a:gdLst/>
            <a:ahLst/>
            <a:cxnLst/>
            <a:rect l="l" t="t" r="r" b="b"/>
            <a:pathLst>
              <a:path h="342900">
                <a:moveTo>
                  <a:pt x="0" y="0"/>
                </a:moveTo>
                <a:lnTo>
                  <a:pt x="0" y="342900"/>
                </a:lnTo>
              </a:path>
            </a:pathLst>
          </a:custGeom>
          <a:ln w="3175">
            <a:solidFill>
              <a:srgbClr val="333333"/>
            </a:solidFill>
          </a:ln>
        </p:spPr>
        <p:txBody>
          <a:bodyPr wrap="square" lIns="0" tIns="0" rIns="0" bIns="0" rtlCol="0" anchor="ctr"/>
          <a:lstStyle/>
          <a:p>
            <a:pPr defTabSz="776109"/>
            <a:endParaRPr sz="1489" b="1">
              <a:solidFill>
                <a:srgbClr val="000000"/>
              </a:solidFill>
              <a:cs typeface="EYInterstate Light"/>
            </a:endParaRPr>
          </a:p>
        </p:txBody>
      </p:sp>
      <p:sp>
        <p:nvSpPr>
          <p:cNvPr id="22" name="object 27">
            <a:extLst>
              <a:ext uri="{FF2B5EF4-FFF2-40B4-BE49-F238E27FC236}">
                <a16:creationId xmlns:a16="http://schemas.microsoft.com/office/drawing/2014/main" id="{D8671FBD-BE9E-41AF-A8D9-FF139A2C0798}"/>
              </a:ext>
            </a:extLst>
          </p:cNvPr>
          <p:cNvSpPr txBox="1">
            <a:spLocks/>
          </p:cNvSpPr>
          <p:nvPr userDrawn="1"/>
        </p:nvSpPr>
        <p:spPr>
          <a:xfrm>
            <a:off x="12213283" y="7243876"/>
            <a:ext cx="139141" cy="118622"/>
          </a:xfrm>
          <a:prstGeom prst="rect">
            <a:avLst/>
          </a:prstGeom>
        </p:spPr>
        <p:txBody>
          <a:bodyPr wrap="none" lIns="0" tIns="0" rIns="0" bIns="0" anchor="b" anchorCtr="0">
            <a:spAutoFit/>
          </a:bodyPr>
          <a:lstStyle>
            <a:defPPr>
              <a:defRPr lang="en-US"/>
            </a:defPPr>
            <a:lvl1pPr marL="0" algn="ctr" defTabSz="910035" rtl="0" eaLnBrk="1" latinLnBrk="0" hangingPunct="1">
              <a:defRPr lang="en-US" sz="1000" b="0" i="0" kern="1200" smtClean="0">
                <a:solidFill>
                  <a:srgbClr val="6F7072"/>
                </a:solidFill>
                <a:latin typeface="EYInterstate Light"/>
                <a:ea typeface="+mn-ea"/>
                <a:cs typeface="EYInterstate Light"/>
              </a:defRPr>
            </a:lvl1pPr>
            <a:lvl2pPr marL="455018" algn="l" defTabSz="910035" rtl="0" eaLnBrk="1" latinLnBrk="0" hangingPunct="1">
              <a:defRPr sz="1800" kern="1200">
                <a:solidFill>
                  <a:schemeClr val="tx1"/>
                </a:solidFill>
                <a:latin typeface="+mn-lt"/>
                <a:ea typeface="+mn-ea"/>
                <a:cs typeface="+mn-cs"/>
              </a:defRPr>
            </a:lvl2pPr>
            <a:lvl3pPr marL="910035" algn="l" defTabSz="910035" rtl="0" eaLnBrk="1" latinLnBrk="0" hangingPunct="1">
              <a:defRPr sz="1800" kern="1200">
                <a:solidFill>
                  <a:schemeClr val="tx1"/>
                </a:solidFill>
                <a:latin typeface="+mn-lt"/>
                <a:ea typeface="+mn-ea"/>
                <a:cs typeface="+mn-cs"/>
              </a:defRPr>
            </a:lvl3pPr>
            <a:lvl4pPr marL="1365047" algn="l" defTabSz="910035" rtl="0" eaLnBrk="1" latinLnBrk="0" hangingPunct="1">
              <a:defRPr sz="1800" kern="1200">
                <a:solidFill>
                  <a:schemeClr val="tx1"/>
                </a:solidFill>
                <a:latin typeface="+mn-lt"/>
                <a:ea typeface="+mn-ea"/>
                <a:cs typeface="+mn-cs"/>
              </a:defRPr>
            </a:lvl4pPr>
            <a:lvl5pPr marL="1820062" algn="l" defTabSz="910035" rtl="0" eaLnBrk="1" latinLnBrk="0" hangingPunct="1">
              <a:defRPr sz="1800" kern="1200">
                <a:solidFill>
                  <a:schemeClr val="tx1"/>
                </a:solidFill>
                <a:latin typeface="+mn-lt"/>
                <a:ea typeface="+mn-ea"/>
                <a:cs typeface="+mn-cs"/>
              </a:defRPr>
            </a:lvl5pPr>
            <a:lvl6pPr marL="2275080" algn="l" defTabSz="910035" rtl="0" eaLnBrk="1" latinLnBrk="0" hangingPunct="1">
              <a:defRPr sz="1800" kern="1200">
                <a:solidFill>
                  <a:schemeClr val="tx1"/>
                </a:solidFill>
                <a:latin typeface="+mn-lt"/>
                <a:ea typeface="+mn-ea"/>
                <a:cs typeface="+mn-cs"/>
              </a:defRPr>
            </a:lvl6pPr>
            <a:lvl7pPr marL="2730097" algn="l" defTabSz="910035" rtl="0" eaLnBrk="1" latinLnBrk="0" hangingPunct="1">
              <a:defRPr sz="1800" kern="1200">
                <a:solidFill>
                  <a:schemeClr val="tx1"/>
                </a:solidFill>
                <a:latin typeface="+mn-lt"/>
                <a:ea typeface="+mn-ea"/>
                <a:cs typeface="+mn-cs"/>
              </a:defRPr>
            </a:lvl7pPr>
            <a:lvl8pPr marL="3185114" algn="l" defTabSz="910035" rtl="0" eaLnBrk="1" latinLnBrk="0" hangingPunct="1">
              <a:defRPr sz="1800" kern="1200">
                <a:solidFill>
                  <a:schemeClr val="tx1"/>
                </a:solidFill>
                <a:latin typeface="+mn-lt"/>
                <a:ea typeface="+mn-ea"/>
                <a:cs typeface="+mn-cs"/>
              </a:defRPr>
            </a:lvl8pPr>
            <a:lvl9pPr marL="3640125" algn="l" defTabSz="910035" rtl="0" eaLnBrk="1" latinLnBrk="0" hangingPunct="1">
              <a:defRPr sz="1800" kern="1200">
                <a:solidFill>
                  <a:schemeClr val="tx1"/>
                </a:solidFill>
                <a:latin typeface="+mn-lt"/>
                <a:ea typeface="+mn-ea"/>
                <a:cs typeface="+mn-cs"/>
              </a:defRPr>
            </a:lvl9pPr>
          </a:lstStyle>
          <a:p>
            <a:pPr marL="0" marR="4324">
              <a:spcBef>
                <a:spcPts val="0"/>
              </a:spcBef>
              <a:spcAft>
                <a:spcPts val="0"/>
              </a:spcAft>
            </a:pPr>
            <a:fld id="{81D60167-4931-47E6-BA6A-407CBD079E47}" type="slidenum">
              <a:rPr sz="771" b="0" i="0">
                <a:solidFill>
                  <a:schemeClr val="bg2"/>
                </a:solidFill>
                <a:latin typeface="EYInterstate" panose="02000503020000020004" pitchFamily="2" charset="0"/>
              </a:rPr>
              <a:pPr marL="0" marR="4324">
                <a:spcBef>
                  <a:spcPts val="0"/>
                </a:spcBef>
                <a:spcAft>
                  <a:spcPts val="0"/>
                </a:spcAft>
              </a:pPr>
              <a:t>‹#›</a:t>
            </a:fld>
            <a:endParaRPr sz="771" b="0" i="0">
              <a:solidFill>
                <a:schemeClr val="bg2"/>
              </a:solidFill>
              <a:latin typeface="EYInterstate" panose="02000503020000020004" pitchFamily="2" charset="0"/>
            </a:endParaRPr>
          </a:p>
        </p:txBody>
      </p:sp>
    </p:spTree>
    <p:extLst>
      <p:ext uri="{BB962C8B-B14F-4D97-AF65-F5344CB8AC3E}">
        <p14:creationId xmlns:p14="http://schemas.microsoft.com/office/powerpoint/2010/main" val="1089508448"/>
      </p:ext>
    </p:extLst>
  </p:cSld>
  <p:clrMap bg1="lt1" tx1="dk1" bg2="lt2" tx2="dk2" accent1="accent1" accent2="accent2" accent3="accent3" accent4="accent4" accent5="accent5" accent6="accent6" hlink="hlink" folHlink="folHlink"/>
  <p:sldLayoutIdLst>
    <p:sldLayoutId id="2147484250" r:id="rId1"/>
    <p:sldLayoutId id="2147484251" r:id="rId2"/>
    <p:sldLayoutId id="2147484252" r:id="rId3"/>
    <p:sldLayoutId id="2147484253" r:id="rId4"/>
    <p:sldLayoutId id="2147484254" r:id="rId5"/>
    <p:sldLayoutId id="2147484255" r:id="rId6"/>
  </p:sldLayoutIdLst>
  <p:hf hdr="0" dt="0"/>
  <p:txStyles>
    <p:titleStyle>
      <a:lvl1pPr algn="l" defTabSz="1007165" rtl="0" eaLnBrk="1" latinLnBrk="0" hangingPunct="1">
        <a:lnSpc>
          <a:spcPct val="85000"/>
        </a:lnSpc>
        <a:spcBef>
          <a:spcPct val="0"/>
        </a:spcBef>
        <a:buNone/>
        <a:defRPr sz="2203" b="0" kern="1200">
          <a:solidFill>
            <a:schemeClr val="bg1"/>
          </a:solidFill>
          <a:latin typeface="EYInterstate Light" panose="02000506000000020004" pitchFamily="2" charset="0"/>
          <a:ea typeface="+mj-ea"/>
          <a:cs typeface="Arial" pitchFamily="34" charset="0"/>
        </a:defRPr>
      </a:lvl1pPr>
    </p:titleStyle>
    <p:bodyStyle>
      <a:lvl1pPr marL="392795" indent="-392795" algn="l" defTabSz="1007165" rtl="0" eaLnBrk="1" latinLnBrk="0" hangingPunct="1">
        <a:spcBef>
          <a:spcPct val="20000"/>
        </a:spcBef>
        <a:buClr>
          <a:schemeClr val="tx2"/>
        </a:buClr>
        <a:buSzPct val="110000"/>
        <a:buFont typeface="EYInterstate Light" panose="02000506000000020004" pitchFamily="2" charset="0"/>
        <a:buChar char="•"/>
        <a:defRPr sz="1982" kern="1200">
          <a:solidFill>
            <a:schemeClr val="bg1"/>
          </a:solidFill>
          <a:latin typeface="EYInterstate Light" panose="02000506000000020004" pitchFamily="2" charset="0"/>
          <a:ea typeface="+mn-ea"/>
          <a:cs typeface="+mn-cs"/>
        </a:defRPr>
      </a:lvl1pPr>
      <a:lvl2pPr marL="785588" indent="-392795" algn="l" defTabSz="1007165" rtl="0" eaLnBrk="1" latinLnBrk="0" hangingPunct="1">
        <a:spcBef>
          <a:spcPct val="20000"/>
        </a:spcBef>
        <a:buClr>
          <a:schemeClr val="tx2"/>
        </a:buClr>
        <a:buSzPct val="110000"/>
        <a:buFont typeface="EYInterstate Light" panose="02000506000000020004" pitchFamily="2" charset="0"/>
        <a:buChar char="•"/>
        <a:defRPr sz="1762" kern="1200">
          <a:solidFill>
            <a:schemeClr val="bg1"/>
          </a:solidFill>
          <a:latin typeface="EYInterstate Light" panose="02000506000000020004" pitchFamily="2" charset="0"/>
          <a:ea typeface="+mn-ea"/>
          <a:cs typeface="+mn-cs"/>
        </a:defRPr>
      </a:lvl2pPr>
      <a:lvl3pPr marL="1178383" indent="-392795" algn="l" defTabSz="1007165" rtl="0" eaLnBrk="1" latinLnBrk="0" hangingPunct="1">
        <a:spcBef>
          <a:spcPct val="20000"/>
        </a:spcBef>
        <a:buClr>
          <a:schemeClr val="tx2"/>
        </a:buClr>
        <a:buSzPct val="110000"/>
        <a:buFont typeface="EYInterstate Light" panose="02000506000000020004" pitchFamily="2" charset="0"/>
        <a:buChar char="•"/>
        <a:defRPr sz="1542" kern="1200">
          <a:solidFill>
            <a:schemeClr val="bg1"/>
          </a:solidFill>
          <a:latin typeface="EYInterstate Light" panose="02000506000000020004" pitchFamily="2" charset="0"/>
          <a:ea typeface="+mn-ea"/>
          <a:cs typeface="+mn-cs"/>
        </a:defRPr>
      </a:lvl3pPr>
      <a:lvl4pPr marL="1571178" indent="-392795" algn="l" defTabSz="1007165" rtl="0" eaLnBrk="1" latinLnBrk="0" hangingPunct="1">
        <a:spcBef>
          <a:spcPct val="20000"/>
        </a:spcBef>
        <a:buClr>
          <a:schemeClr val="tx2"/>
        </a:buClr>
        <a:buSzPct val="110000"/>
        <a:buFont typeface="EYInterstate Light" panose="02000506000000020004" pitchFamily="2" charset="0"/>
        <a:buChar char="•"/>
        <a:defRPr sz="1321" kern="1200">
          <a:solidFill>
            <a:schemeClr val="bg1"/>
          </a:solidFill>
          <a:latin typeface="EYInterstate Light" panose="02000506000000020004" pitchFamily="2" charset="0"/>
          <a:ea typeface="+mn-ea"/>
          <a:cs typeface="+mn-cs"/>
        </a:defRPr>
      </a:lvl4pPr>
      <a:lvl5pPr marL="1963971" indent="-392795" algn="l" defTabSz="1007165" rtl="0" eaLnBrk="1" latinLnBrk="0" hangingPunct="1">
        <a:spcBef>
          <a:spcPct val="20000"/>
        </a:spcBef>
        <a:buClr>
          <a:schemeClr val="tx2"/>
        </a:buClr>
        <a:buSzPct val="110000"/>
        <a:buFont typeface="EYInterstate Light" panose="02000506000000020004" pitchFamily="2" charset="0"/>
        <a:buChar char="•"/>
        <a:defRPr sz="1211" kern="1200">
          <a:solidFill>
            <a:schemeClr val="bg1"/>
          </a:solidFill>
          <a:latin typeface="EYInterstate Light" panose="02000506000000020004" pitchFamily="2" charset="0"/>
          <a:ea typeface="+mn-ea"/>
          <a:cs typeface="+mn-cs"/>
        </a:defRPr>
      </a:lvl5pPr>
      <a:lvl6pPr marL="2769704" indent="-251792" algn="l" defTabSz="1007165" rtl="0" eaLnBrk="1" latinLnBrk="0" hangingPunct="1">
        <a:spcBef>
          <a:spcPct val="20000"/>
        </a:spcBef>
        <a:buFont typeface="Arial" pitchFamily="34" charset="0"/>
        <a:buChar char="•"/>
        <a:defRPr sz="2203" kern="1200">
          <a:solidFill>
            <a:schemeClr val="tx1"/>
          </a:solidFill>
          <a:latin typeface="+mn-lt"/>
          <a:ea typeface="+mn-ea"/>
          <a:cs typeface="+mn-cs"/>
        </a:defRPr>
      </a:lvl6pPr>
      <a:lvl7pPr marL="3273286" indent="-251792" algn="l" defTabSz="1007165" rtl="0" eaLnBrk="1" latinLnBrk="0" hangingPunct="1">
        <a:spcBef>
          <a:spcPct val="20000"/>
        </a:spcBef>
        <a:buFont typeface="Arial" pitchFamily="34" charset="0"/>
        <a:buChar char="•"/>
        <a:defRPr sz="2203" kern="1200">
          <a:solidFill>
            <a:schemeClr val="tx1"/>
          </a:solidFill>
          <a:latin typeface="+mn-lt"/>
          <a:ea typeface="+mn-ea"/>
          <a:cs typeface="+mn-cs"/>
        </a:defRPr>
      </a:lvl7pPr>
      <a:lvl8pPr marL="3776869" indent="-251792" algn="l" defTabSz="1007165" rtl="0" eaLnBrk="1" latinLnBrk="0" hangingPunct="1">
        <a:spcBef>
          <a:spcPct val="20000"/>
        </a:spcBef>
        <a:buFont typeface="Arial" pitchFamily="34" charset="0"/>
        <a:buChar char="•"/>
        <a:defRPr sz="2203" kern="1200">
          <a:solidFill>
            <a:schemeClr val="tx1"/>
          </a:solidFill>
          <a:latin typeface="+mn-lt"/>
          <a:ea typeface="+mn-ea"/>
          <a:cs typeface="+mn-cs"/>
        </a:defRPr>
      </a:lvl8pPr>
      <a:lvl9pPr marL="4280451" indent="-251792" algn="l" defTabSz="1007165" rtl="0" eaLnBrk="1" latinLnBrk="0" hangingPunct="1">
        <a:spcBef>
          <a:spcPct val="20000"/>
        </a:spcBef>
        <a:buFont typeface="Arial" pitchFamily="34" charset="0"/>
        <a:buChar char="•"/>
        <a:defRPr sz="2203" kern="1200">
          <a:solidFill>
            <a:schemeClr val="tx1"/>
          </a:solidFill>
          <a:latin typeface="+mn-lt"/>
          <a:ea typeface="+mn-ea"/>
          <a:cs typeface="+mn-cs"/>
        </a:defRPr>
      </a:lvl9pPr>
    </p:bodyStyle>
    <p:otherStyle>
      <a:defPPr>
        <a:defRPr lang="en-US"/>
      </a:defPPr>
      <a:lvl1pPr marL="0" algn="l" defTabSz="1007165" rtl="0" eaLnBrk="1" latinLnBrk="0" hangingPunct="1">
        <a:defRPr sz="1982" kern="1200">
          <a:solidFill>
            <a:schemeClr val="tx1"/>
          </a:solidFill>
          <a:latin typeface="+mn-lt"/>
          <a:ea typeface="+mn-ea"/>
          <a:cs typeface="+mn-cs"/>
        </a:defRPr>
      </a:lvl1pPr>
      <a:lvl2pPr marL="503582" algn="l" defTabSz="1007165" rtl="0" eaLnBrk="1" latinLnBrk="0" hangingPunct="1">
        <a:defRPr sz="1982" kern="1200">
          <a:solidFill>
            <a:schemeClr val="tx1"/>
          </a:solidFill>
          <a:latin typeface="+mn-lt"/>
          <a:ea typeface="+mn-ea"/>
          <a:cs typeface="+mn-cs"/>
        </a:defRPr>
      </a:lvl2pPr>
      <a:lvl3pPr marL="1007165" algn="l" defTabSz="1007165" rtl="0" eaLnBrk="1" latinLnBrk="0" hangingPunct="1">
        <a:defRPr sz="1982" kern="1200">
          <a:solidFill>
            <a:schemeClr val="tx1"/>
          </a:solidFill>
          <a:latin typeface="+mn-lt"/>
          <a:ea typeface="+mn-ea"/>
          <a:cs typeface="+mn-cs"/>
        </a:defRPr>
      </a:lvl3pPr>
      <a:lvl4pPr marL="1510747" algn="l" defTabSz="1007165" rtl="0" eaLnBrk="1" latinLnBrk="0" hangingPunct="1">
        <a:defRPr sz="1982" kern="1200">
          <a:solidFill>
            <a:schemeClr val="tx1"/>
          </a:solidFill>
          <a:latin typeface="+mn-lt"/>
          <a:ea typeface="+mn-ea"/>
          <a:cs typeface="+mn-cs"/>
        </a:defRPr>
      </a:lvl4pPr>
      <a:lvl5pPr marL="2014330" algn="l" defTabSz="1007165" rtl="0" eaLnBrk="1" latinLnBrk="0" hangingPunct="1">
        <a:defRPr sz="1982" kern="1200">
          <a:solidFill>
            <a:schemeClr val="tx1"/>
          </a:solidFill>
          <a:latin typeface="+mn-lt"/>
          <a:ea typeface="+mn-ea"/>
          <a:cs typeface="+mn-cs"/>
        </a:defRPr>
      </a:lvl5pPr>
      <a:lvl6pPr marL="2517912" algn="l" defTabSz="1007165" rtl="0" eaLnBrk="1" latinLnBrk="0" hangingPunct="1">
        <a:defRPr sz="1982" kern="1200">
          <a:solidFill>
            <a:schemeClr val="tx1"/>
          </a:solidFill>
          <a:latin typeface="+mn-lt"/>
          <a:ea typeface="+mn-ea"/>
          <a:cs typeface="+mn-cs"/>
        </a:defRPr>
      </a:lvl6pPr>
      <a:lvl7pPr marL="3021494" algn="l" defTabSz="1007165" rtl="0" eaLnBrk="1" latinLnBrk="0" hangingPunct="1">
        <a:defRPr sz="1982" kern="1200">
          <a:solidFill>
            <a:schemeClr val="tx1"/>
          </a:solidFill>
          <a:latin typeface="+mn-lt"/>
          <a:ea typeface="+mn-ea"/>
          <a:cs typeface="+mn-cs"/>
        </a:defRPr>
      </a:lvl7pPr>
      <a:lvl8pPr marL="3525078" algn="l" defTabSz="1007165" rtl="0" eaLnBrk="1" latinLnBrk="0" hangingPunct="1">
        <a:defRPr sz="1982" kern="1200">
          <a:solidFill>
            <a:schemeClr val="tx1"/>
          </a:solidFill>
          <a:latin typeface="+mn-lt"/>
          <a:ea typeface="+mn-ea"/>
          <a:cs typeface="+mn-cs"/>
        </a:defRPr>
      </a:lvl8pPr>
      <a:lvl9pPr marL="4028660" algn="l" defTabSz="1007165" rtl="0" eaLnBrk="1" latinLnBrk="0" hangingPunct="1">
        <a:defRPr sz="1982"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0"/>
            </p:custDataLst>
            <p:extLst>
              <p:ext uri="{D42A27DB-BD31-4B8C-83A1-F6EECF244321}">
                <p14:modId xmlns:p14="http://schemas.microsoft.com/office/powerpoint/2010/main" val="4259631989"/>
              </p:ext>
            </p:extLst>
          </p:nvPr>
        </p:nvGraphicFramePr>
        <p:xfrm>
          <a:off x="1588" y="1589"/>
          <a:ext cx="1588" cy="1587"/>
        </p:xfrm>
        <a:graphic>
          <a:graphicData uri="http://schemas.openxmlformats.org/presentationml/2006/ole">
            <mc:AlternateContent xmlns:mc="http://schemas.openxmlformats.org/markup-compatibility/2006">
              <mc:Choice xmlns:v="urn:schemas-microsoft-com:vml" Requires="v">
                <p:oleObj spid="_x0000_s27650" name="think-cell Slide" r:id="rId12" imgW="216" imgH="216" progId="TCLayout.ActiveDocument.1">
                  <p:embed/>
                </p:oleObj>
              </mc:Choice>
              <mc:Fallback>
                <p:oleObj name="think-cell Slide" r:id="rId12" imgW="216" imgH="216" progId="TCLayout.ActiveDocument.1">
                  <p:embed/>
                  <p:pic>
                    <p:nvPicPr>
                      <p:cNvPr id="4" name="Object 3" hidden="1"/>
                      <p:cNvPicPr/>
                      <p:nvPr/>
                    </p:nvPicPr>
                    <p:blipFill>
                      <a:blip r:embed="rId13"/>
                      <a:stretch>
                        <a:fillRect/>
                      </a:stretch>
                    </p:blipFill>
                    <p:spPr>
                      <a:xfrm>
                        <a:off x="1588" y="1589"/>
                        <a:ext cx="1588"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D35BBD6-19BF-40F9-86FB-45632A655647}"/>
              </a:ext>
            </a:extLst>
          </p:cNvPr>
          <p:cNvSpPr/>
          <p:nvPr userDrawn="1">
            <p:custDataLst>
              <p:tags r:id="rId11"/>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eaLnBrk="1">
              <a:lnSpc>
                <a:spcPct val="85000"/>
              </a:lnSpc>
              <a:spcBef>
                <a:spcPct val="0"/>
              </a:spcBef>
              <a:spcAft>
                <a:spcPct val="0"/>
              </a:spcAft>
            </a:pPr>
            <a:endParaRPr lang="en-US" sz="2400" b="1" i="0" baseline="0">
              <a:solidFill>
                <a:schemeClr val="tx1"/>
              </a:solidFill>
              <a:latin typeface="EYInterstate" panose="02000503020000020004" pitchFamily="2" charset="0"/>
              <a:ea typeface="+mj-ea"/>
              <a:cs typeface="Arial" panose="020B0604020202020204" pitchFamily="34" charset="0"/>
              <a:sym typeface="EYInterstate" panose="02000503020000020004" pitchFamily="2" charset="0"/>
            </a:endParaRPr>
          </a:p>
        </p:txBody>
      </p:sp>
      <p:sp>
        <p:nvSpPr>
          <p:cNvPr id="2" name="Title Placeholder 1"/>
          <p:cNvSpPr>
            <a:spLocks noGrp="1"/>
          </p:cNvSpPr>
          <p:nvPr>
            <p:ph type="title"/>
          </p:nvPr>
        </p:nvSpPr>
        <p:spPr>
          <a:xfrm>
            <a:off x="943904" y="609597"/>
            <a:ext cx="11700000" cy="739984"/>
          </a:xfrm>
          <a:prstGeom prst="rect">
            <a:avLst/>
          </a:prstGeom>
        </p:spPr>
        <p:txBody>
          <a:bodyPr vert="horz" lIns="0" tIns="0" rIns="0" bIns="0" rtlCol="0" anchor="t" anchorCtr="0">
            <a:noAutofit/>
          </a:bodyPr>
          <a:lstStyle/>
          <a:p>
            <a:r>
              <a:rPr lang="en-US"/>
              <a:t>CLICK TO EDIT MASTER TITLE STYLE</a:t>
            </a:r>
            <a:endParaRPr lang="en-GB"/>
          </a:p>
        </p:txBody>
      </p:sp>
      <p:sp>
        <p:nvSpPr>
          <p:cNvPr id="3" name="Text Placeholder 2"/>
          <p:cNvSpPr>
            <a:spLocks noGrp="1"/>
          </p:cNvSpPr>
          <p:nvPr>
            <p:ph type="body" idx="1"/>
          </p:nvPr>
        </p:nvSpPr>
        <p:spPr>
          <a:xfrm>
            <a:off x="943904" y="1571790"/>
            <a:ext cx="11700000" cy="5181986"/>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Rectangle 12">
            <a:extLst>
              <a:ext uri="{FF2B5EF4-FFF2-40B4-BE49-F238E27FC236}">
                <a16:creationId xmlns:a16="http://schemas.microsoft.com/office/drawing/2014/main" id="{3A839B15-81E6-9045-B604-CB27BBC1C908}"/>
              </a:ext>
            </a:extLst>
          </p:cNvPr>
          <p:cNvSpPr/>
          <p:nvPr userDrawn="1"/>
        </p:nvSpPr>
        <p:spPr>
          <a:xfrm>
            <a:off x="943904" y="428151"/>
            <a:ext cx="1260000" cy="72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object 3">
            <a:extLst>
              <a:ext uri="{FF2B5EF4-FFF2-40B4-BE49-F238E27FC236}">
                <a16:creationId xmlns:a16="http://schemas.microsoft.com/office/drawing/2014/main" id="{FBEC6C36-7DE3-C04D-8FC3-90CFCCD3E4A9}"/>
              </a:ext>
            </a:extLst>
          </p:cNvPr>
          <p:cNvSpPr/>
          <p:nvPr userDrawn="1"/>
        </p:nvSpPr>
        <p:spPr>
          <a:xfrm>
            <a:off x="-5625" y="16"/>
            <a:ext cx="573553" cy="7561247"/>
          </a:xfrm>
          <a:custGeom>
            <a:avLst/>
            <a:gdLst/>
            <a:ahLst/>
            <a:cxnLst/>
            <a:rect l="l" t="t" r="r" b="b"/>
            <a:pathLst>
              <a:path w="5076190" h="7560309">
                <a:moveTo>
                  <a:pt x="0" y="7559992"/>
                </a:moveTo>
                <a:lnTo>
                  <a:pt x="5075999" y="7559992"/>
                </a:lnTo>
                <a:lnTo>
                  <a:pt x="5075999" y="0"/>
                </a:lnTo>
                <a:lnTo>
                  <a:pt x="0" y="0"/>
                </a:lnTo>
                <a:lnTo>
                  <a:pt x="0" y="7559992"/>
                </a:lnTo>
                <a:close/>
              </a:path>
            </a:pathLst>
          </a:custGeom>
          <a:solidFill>
            <a:schemeClr val="tx1"/>
          </a:solidFill>
        </p:spPr>
        <p:txBody>
          <a:bodyPr wrap="square" lIns="0" tIns="0" rIns="0" bIns="0" rtlCol="0"/>
          <a:lstStyle/>
          <a:p>
            <a:pPr algn="ctr"/>
            <a:endParaRPr>
              <a:solidFill>
                <a:prstClr val="black"/>
              </a:solidFill>
              <a:latin typeface="Calibri" panose="020F0502020204030204"/>
            </a:endParaRPr>
          </a:p>
        </p:txBody>
      </p:sp>
      <p:sp>
        <p:nvSpPr>
          <p:cNvPr id="12" name="object 14">
            <a:extLst>
              <a:ext uri="{FF2B5EF4-FFF2-40B4-BE49-F238E27FC236}">
                <a16:creationId xmlns:a16="http://schemas.microsoft.com/office/drawing/2014/main" id="{3D19E29C-B81E-B848-A185-3911687868CA}"/>
              </a:ext>
            </a:extLst>
          </p:cNvPr>
          <p:cNvSpPr/>
          <p:nvPr userDrawn="1"/>
        </p:nvSpPr>
        <p:spPr>
          <a:xfrm>
            <a:off x="146531" y="398406"/>
            <a:ext cx="269240" cy="98425"/>
          </a:xfrm>
          <a:custGeom>
            <a:avLst/>
            <a:gdLst/>
            <a:ahLst/>
            <a:cxnLst/>
            <a:rect l="l" t="t" r="r" b="b"/>
            <a:pathLst>
              <a:path w="269240" h="98425">
                <a:moveTo>
                  <a:pt x="269227" y="0"/>
                </a:moveTo>
                <a:lnTo>
                  <a:pt x="0" y="98247"/>
                </a:lnTo>
                <a:lnTo>
                  <a:pt x="269227" y="50698"/>
                </a:lnTo>
                <a:lnTo>
                  <a:pt x="269227" y="0"/>
                </a:lnTo>
                <a:close/>
              </a:path>
            </a:pathLst>
          </a:custGeom>
          <a:solidFill>
            <a:srgbClr val="FFD400"/>
          </a:solidFill>
        </p:spPr>
        <p:txBody>
          <a:bodyPr wrap="square" lIns="0" tIns="0" rIns="0" bIns="0" rtlCol="0"/>
          <a:lstStyle/>
          <a:p>
            <a:pPr algn="ctr"/>
            <a:endParaRPr>
              <a:solidFill>
                <a:prstClr val="black"/>
              </a:solidFill>
              <a:latin typeface="Calibri" panose="020F0502020204030204"/>
            </a:endParaRPr>
          </a:p>
        </p:txBody>
      </p:sp>
      <p:sp>
        <p:nvSpPr>
          <p:cNvPr id="14" name="object 15">
            <a:extLst>
              <a:ext uri="{FF2B5EF4-FFF2-40B4-BE49-F238E27FC236}">
                <a16:creationId xmlns:a16="http://schemas.microsoft.com/office/drawing/2014/main" id="{5DE69E7C-24A8-2346-869B-1BCBC7E6C6C0}"/>
              </a:ext>
            </a:extLst>
          </p:cNvPr>
          <p:cNvSpPr/>
          <p:nvPr userDrawn="1"/>
        </p:nvSpPr>
        <p:spPr>
          <a:xfrm>
            <a:off x="168134" y="537502"/>
            <a:ext cx="226034" cy="136194"/>
          </a:xfrm>
          <a:prstGeom prst="rect">
            <a:avLst/>
          </a:prstGeom>
          <a:blipFill>
            <a:blip r:embed="rId14" cstate="print"/>
            <a:stretch>
              <a:fillRect/>
            </a:stretch>
          </a:blipFill>
        </p:spPr>
        <p:txBody>
          <a:bodyPr wrap="square" lIns="0" tIns="0" rIns="0" bIns="0" rtlCol="0"/>
          <a:lstStyle/>
          <a:p>
            <a:pPr algn="ctr"/>
            <a:endParaRPr>
              <a:solidFill>
                <a:prstClr val="black"/>
              </a:solidFill>
              <a:latin typeface="Calibri" panose="020F0502020204030204"/>
            </a:endParaRPr>
          </a:p>
        </p:txBody>
      </p:sp>
      <p:grpSp>
        <p:nvGrpSpPr>
          <p:cNvPr id="16" name="Group 15">
            <a:extLst>
              <a:ext uri="{FF2B5EF4-FFF2-40B4-BE49-F238E27FC236}">
                <a16:creationId xmlns:a16="http://schemas.microsoft.com/office/drawing/2014/main" id="{0726C71A-D368-B041-8BD9-4D61AA84A144}"/>
              </a:ext>
            </a:extLst>
          </p:cNvPr>
          <p:cNvGrpSpPr/>
          <p:nvPr userDrawn="1"/>
        </p:nvGrpSpPr>
        <p:grpSpPr>
          <a:xfrm>
            <a:off x="173642" y="3095627"/>
            <a:ext cx="215019" cy="215019"/>
            <a:chOff x="147828" y="2915202"/>
            <a:chExt cx="215019" cy="215019"/>
          </a:xfrm>
        </p:grpSpPr>
        <p:sp>
          <p:nvSpPr>
            <p:cNvPr id="17" name="Oval 16">
              <a:extLst>
                <a:ext uri="{FF2B5EF4-FFF2-40B4-BE49-F238E27FC236}">
                  <a16:creationId xmlns:a16="http://schemas.microsoft.com/office/drawing/2014/main" id="{0207DA1F-1F9C-294D-97C4-C0A6F616599E}"/>
                </a:ext>
              </a:extLst>
            </p:cNvPr>
            <p:cNvSpPr/>
            <p:nvPr/>
          </p:nvSpPr>
          <p:spPr>
            <a:xfrm>
              <a:off x="147828" y="2915202"/>
              <a:ext cx="215019" cy="215019"/>
            </a:xfrm>
            <a:prstGeom prst="ellipse">
              <a:avLst/>
            </a:prstGeom>
            <a:noFill/>
            <a:ln w="9525" cap="flat" cmpd="sng" algn="ctr">
              <a:solidFill>
                <a:sysClr val="window" lastClr="FFFFFF"/>
              </a:solidFill>
              <a:prstDash val="solid"/>
              <a:miter lim="800000"/>
            </a:ln>
            <a:effectLst/>
          </p:spPr>
          <p:txBody>
            <a:bodyPr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black"/>
                </a:solidFill>
                <a:effectLst/>
                <a:uLnTx/>
                <a:uFillTx/>
                <a:latin typeface="Calibri" panose="020F0502020204030204"/>
                <a:ea typeface="+mn-ea"/>
                <a:cs typeface="+mn-cs"/>
              </a:endParaRPr>
            </a:p>
          </p:txBody>
        </p:sp>
        <p:cxnSp>
          <p:nvCxnSpPr>
            <p:cNvPr id="18" name="Straight Connector 17">
              <a:extLst>
                <a:ext uri="{FF2B5EF4-FFF2-40B4-BE49-F238E27FC236}">
                  <a16:creationId xmlns:a16="http://schemas.microsoft.com/office/drawing/2014/main" id="{CECE0C06-22D8-A04F-B592-79AFD6202C26}"/>
                </a:ext>
              </a:extLst>
            </p:cNvPr>
            <p:cNvCxnSpPr/>
            <p:nvPr/>
          </p:nvCxnSpPr>
          <p:spPr>
            <a:xfrm>
              <a:off x="193425" y="3022711"/>
              <a:ext cx="123825" cy="0"/>
            </a:xfrm>
            <a:prstGeom prst="line">
              <a:avLst/>
            </a:prstGeom>
            <a:noFill/>
            <a:ln w="9525" cap="flat" cmpd="sng" algn="ctr">
              <a:solidFill>
                <a:sysClr val="window" lastClr="FFFFFF"/>
              </a:solidFill>
              <a:prstDash val="solid"/>
              <a:miter lim="800000"/>
              <a:tailEnd type="none"/>
            </a:ln>
            <a:effectLst/>
          </p:spPr>
        </p:cxnSp>
        <p:sp>
          <p:nvSpPr>
            <p:cNvPr id="19" name="Rectangle 11">
              <a:extLst>
                <a:ext uri="{FF2B5EF4-FFF2-40B4-BE49-F238E27FC236}">
                  <a16:creationId xmlns:a16="http://schemas.microsoft.com/office/drawing/2014/main" id="{7A5DEC11-2762-9548-A7CB-2D7CAD730DF7}"/>
                </a:ext>
              </a:extLst>
            </p:cNvPr>
            <p:cNvSpPr/>
            <p:nvPr/>
          </p:nvSpPr>
          <p:spPr>
            <a:xfrm rot="18900000">
              <a:off x="231586" y="2987228"/>
              <a:ext cx="70967" cy="70967"/>
            </a:xfrm>
            <a:custGeom>
              <a:avLst/>
              <a:gdLst>
                <a:gd name="connsiteX0" fmla="*/ 0 w 149225"/>
                <a:gd name="connsiteY0" fmla="*/ 0 h 149225"/>
                <a:gd name="connsiteX1" fmla="*/ 149225 w 149225"/>
                <a:gd name="connsiteY1" fmla="*/ 0 h 149225"/>
                <a:gd name="connsiteX2" fmla="*/ 149225 w 149225"/>
                <a:gd name="connsiteY2" fmla="*/ 149225 h 149225"/>
                <a:gd name="connsiteX3" fmla="*/ 0 w 149225"/>
                <a:gd name="connsiteY3" fmla="*/ 149225 h 149225"/>
                <a:gd name="connsiteX4" fmla="*/ 0 w 149225"/>
                <a:gd name="connsiteY4" fmla="*/ 0 h 149225"/>
                <a:gd name="connsiteX0" fmla="*/ 0 w 149225"/>
                <a:gd name="connsiteY0" fmla="*/ 149225 h 149225"/>
                <a:gd name="connsiteX1" fmla="*/ 149225 w 149225"/>
                <a:gd name="connsiteY1" fmla="*/ 0 h 149225"/>
                <a:gd name="connsiteX2" fmla="*/ 149225 w 149225"/>
                <a:gd name="connsiteY2" fmla="*/ 149225 h 149225"/>
                <a:gd name="connsiteX3" fmla="*/ 0 w 149225"/>
                <a:gd name="connsiteY3" fmla="*/ 149225 h 149225"/>
                <a:gd name="connsiteX0" fmla="*/ 149225 w 240665"/>
                <a:gd name="connsiteY0" fmla="*/ 0 h 149225"/>
                <a:gd name="connsiteX1" fmla="*/ 149225 w 240665"/>
                <a:gd name="connsiteY1" fmla="*/ 149225 h 149225"/>
                <a:gd name="connsiteX2" fmla="*/ 0 w 240665"/>
                <a:gd name="connsiteY2" fmla="*/ 149225 h 149225"/>
                <a:gd name="connsiteX3" fmla="*/ 240665 w 240665"/>
                <a:gd name="connsiteY3" fmla="*/ 91440 h 149225"/>
                <a:gd name="connsiteX0" fmla="*/ 149225 w 149225"/>
                <a:gd name="connsiteY0" fmla="*/ 0 h 149225"/>
                <a:gd name="connsiteX1" fmla="*/ 149225 w 149225"/>
                <a:gd name="connsiteY1" fmla="*/ 149225 h 149225"/>
                <a:gd name="connsiteX2" fmla="*/ 0 w 149225"/>
                <a:gd name="connsiteY2" fmla="*/ 149225 h 149225"/>
              </a:gdLst>
              <a:ahLst/>
              <a:cxnLst>
                <a:cxn ang="0">
                  <a:pos x="connsiteX0" y="connsiteY0"/>
                </a:cxn>
                <a:cxn ang="0">
                  <a:pos x="connsiteX1" y="connsiteY1"/>
                </a:cxn>
                <a:cxn ang="0">
                  <a:pos x="connsiteX2" y="connsiteY2"/>
                </a:cxn>
              </a:cxnLst>
              <a:rect l="l" t="t" r="r" b="b"/>
              <a:pathLst>
                <a:path w="149225" h="149225">
                  <a:moveTo>
                    <a:pt x="149225" y="0"/>
                  </a:moveTo>
                  <a:lnTo>
                    <a:pt x="149225" y="149225"/>
                  </a:lnTo>
                  <a:lnTo>
                    <a:pt x="0" y="149225"/>
                  </a:lnTo>
                </a:path>
              </a:pathLst>
            </a:custGeom>
            <a:noFill/>
            <a:ln w="9525" cap="flat" cmpd="sng" algn="ctr">
              <a:solidFill>
                <a:sysClr val="window" lastClr="FFFFFF"/>
              </a:solidFill>
              <a:prstDash val="solid"/>
              <a:miter lim="800000"/>
            </a:ln>
            <a:effectLst/>
          </p:spPr>
          <p:txBody>
            <a:bodyPr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black"/>
                </a:solidFill>
                <a:effectLst/>
                <a:uLnTx/>
                <a:uFillTx/>
                <a:latin typeface="Calibri" panose="020F0502020204030204"/>
                <a:ea typeface="+mn-ea"/>
                <a:cs typeface="+mn-cs"/>
              </a:endParaRPr>
            </a:p>
          </p:txBody>
        </p:sp>
      </p:grpSp>
      <p:grpSp>
        <p:nvGrpSpPr>
          <p:cNvPr id="20" name="Group 19">
            <a:extLst>
              <a:ext uri="{FF2B5EF4-FFF2-40B4-BE49-F238E27FC236}">
                <a16:creationId xmlns:a16="http://schemas.microsoft.com/office/drawing/2014/main" id="{30844FBE-FCA0-234D-A1A0-DEEB814F56F7}"/>
              </a:ext>
            </a:extLst>
          </p:cNvPr>
          <p:cNvGrpSpPr/>
          <p:nvPr userDrawn="1"/>
        </p:nvGrpSpPr>
        <p:grpSpPr>
          <a:xfrm rot="10800000">
            <a:off x="173642" y="3547371"/>
            <a:ext cx="215019" cy="215019"/>
            <a:chOff x="5758249" y="7128479"/>
            <a:chExt cx="215019" cy="215019"/>
          </a:xfrm>
        </p:grpSpPr>
        <p:sp>
          <p:nvSpPr>
            <p:cNvPr id="21" name="Oval 20">
              <a:extLst>
                <a:ext uri="{FF2B5EF4-FFF2-40B4-BE49-F238E27FC236}">
                  <a16:creationId xmlns:a16="http://schemas.microsoft.com/office/drawing/2014/main" id="{A3BB17A6-DFE2-3F48-94A5-1488E1D6457D}"/>
                </a:ext>
              </a:extLst>
            </p:cNvPr>
            <p:cNvSpPr/>
            <p:nvPr/>
          </p:nvSpPr>
          <p:spPr>
            <a:xfrm>
              <a:off x="5758249" y="7128479"/>
              <a:ext cx="215019" cy="215019"/>
            </a:xfrm>
            <a:prstGeom prst="ellipse">
              <a:avLst/>
            </a:prstGeom>
            <a:noFill/>
            <a:ln w="9525" cap="flat" cmpd="sng" algn="ctr">
              <a:solidFill>
                <a:sysClr val="window" lastClr="FFFFFF"/>
              </a:solidFill>
              <a:prstDash val="solid"/>
              <a:miter lim="800000"/>
            </a:ln>
            <a:effectLst/>
          </p:spPr>
          <p:txBody>
            <a:bodyPr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black"/>
                </a:solidFill>
                <a:effectLst/>
                <a:uLnTx/>
                <a:uFillTx/>
                <a:latin typeface="Calibri" panose="020F0502020204030204"/>
                <a:ea typeface="+mn-ea"/>
                <a:cs typeface="+mn-cs"/>
              </a:endParaRPr>
            </a:p>
          </p:txBody>
        </p:sp>
        <p:cxnSp>
          <p:nvCxnSpPr>
            <p:cNvPr id="22" name="Straight Connector 21">
              <a:extLst>
                <a:ext uri="{FF2B5EF4-FFF2-40B4-BE49-F238E27FC236}">
                  <a16:creationId xmlns:a16="http://schemas.microsoft.com/office/drawing/2014/main" id="{7035876D-E7CD-8C41-8052-10A7CFE3A66B}"/>
                </a:ext>
              </a:extLst>
            </p:cNvPr>
            <p:cNvCxnSpPr/>
            <p:nvPr/>
          </p:nvCxnSpPr>
          <p:spPr>
            <a:xfrm>
              <a:off x="5803846" y="7235988"/>
              <a:ext cx="123825" cy="0"/>
            </a:xfrm>
            <a:prstGeom prst="line">
              <a:avLst/>
            </a:prstGeom>
            <a:noFill/>
            <a:ln w="9525" cap="flat" cmpd="sng" algn="ctr">
              <a:solidFill>
                <a:sysClr val="window" lastClr="FFFFFF"/>
              </a:solidFill>
              <a:prstDash val="solid"/>
              <a:miter lim="800000"/>
              <a:tailEnd type="none"/>
            </a:ln>
            <a:effectLst/>
          </p:spPr>
        </p:cxnSp>
        <p:sp>
          <p:nvSpPr>
            <p:cNvPr id="23" name="Rectangle 11">
              <a:extLst>
                <a:ext uri="{FF2B5EF4-FFF2-40B4-BE49-F238E27FC236}">
                  <a16:creationId xmlns:a16="http://schemas.microsoft.com/office/drawing/2014/main" id="{4094B3D7-0406-A540-8445-9B565193A9AC}"/>
                </a:ext>
              </a:extLst>
            </p:cNvPr>
            <p:cNvSpPr/>
            <p:nvPr/>
          </p:nvSpPr>
          <p:spPr>
            <a:xfrm rot="18900000">
              <a:off x="5842007" y="7200505"/>
              <a:ext cx="70967" cy="70967"/>
            </a:xfrm>
            <a:custGeom>
              <a:avLst/>
              <a:gdLst>
                <a:gd name="connsiteX0" fmla="*/ 0 w 149225"/>
                <a:gd name="connsiteY0" fmla="*/ 0 h 149225"/>
                <a:gd name="connsiteX1" fmla="*/ 149225 w 149225"/>
                <a:gd name="connsiteY1" fmla="*/ 0 h 149225"/>
                <a:gd name="connsiteX2" fmla="*/ 149225 w 149225"/>
                <a:gd name="connsiteY2" fmla="*/ 149225 h 149225"/>
                <a:gd name="connsiteX3" fmla="*/ 0 w 149225"/>
                <a:gd name="connsiteY3" fmla="*/ 149225 h 149225"/>
                <a:gd name="connsiteX4" fmla="*/ 0 w 149225"/>
                <a:gd name="connsiteY4" fmla="*/ 0 h 149225"/>
                <a:gd name="connsiteX0" fmla="*/ 0 w 149225"/>
                <a:gd name="connsiteY0" fmla="*/ 149225 h 149225"/>
                <a:gd name="connsiteX1" fmla="*/ 149225 w 149225"/>
                <a:gd name="connsiteY1" fmla="*/ 0 h 149225"/>
                <a:gd name="connsiteX2" fmla="*/ 149225 w 149225"/>
                <a:gd name="connsiteY2" fmla="*/ 149225 h 149225"/>
                <a:gd name="connsiteX3" fmla="*/ 0 w 149225"/>
                <a:gd name="connsiteY3" fmla="*/ 149225 h 149225"/>
                <a:gd name="connsiteX0" fmla="*/ 149225 w 240665"/>
                <a:gd name="connsiteY0" fmla="*/ 0 h 149225"/>
                <a:gd name="connsiteX1" fmla="*/ 149225 w 240665"/>
                <a:gd name="connsiteY1" fmla="*/ 149225 h 149225"/>
                <a:gd name="connsiteX2" fmla="*/ 0 w 240665"/>
                <a:gd name="connsiteY2" fmla="*/ 149225 h 149225"/>
                <a:gd name="connsiteX3" fmla="*/ 240665 w 240665"/>
                <a:gd name="connsiteY3" fmla="*/ 91440 h 149225"/>
                <a:gd name="connsiteX0" fmla="*/ 149225 w 149225"/>
                <a:gd name="connsiteY0" fmla="*/ 0 h 149225"/>
                <a:gd name="connsiteX1" fmla="*/ 149225 w 149225"/>
                <a:gd name="connsiteY1" fmla="*/ 149225 h 149225"/>
                <a:gd name="connsiteX2" fmla="*/ 0 w 149225"/>
                <a:gd name="connsiteY2" fmla="*/ 149225 h 149225"/>
              </a:gdLst>
              <a:ahLst/>
              <a:cxnLst>
                <a:cxn ang="0">
                  <a:pos x="connsiteX0" y="connsiteY0"/>
                </a:cxn>
                <a:cxn ang="0">
                  <a:pos x="connsiteX1" y="connsiteY1"/>
                </a:cxn>
                <a:cxn ang="0">
                  <a:pos x="connsiteX2" y="connsiteY2"/>
                </a:cxn>
              </a:cxnLst>
              <a:rect l="l" t="t" r="r" b="b"/>
              <a:pathLst>
                <a:path w="149225" h="149225">
                  <a:moveTo>
                    <a:pt x="149225" y="0"/>
                  </a:moveTo>
                  <a:lnTo>
                    <a:pt x="149225" y="149225"/>
                  </a:lnTo>
                  <a:lnTo>
                    <a:pt x="0" y="149225"/>
                  </a:lnTo>
                </a:path>
              </a:pathLst>
            </a:custGeom>
            <a:noFill/>
            <a:ln w="9525" cap="flat" cmpd="sng" algn="ctr">
              <a:solidFill>
                <a:sysClr val="window" lastClr="FFFFFF"/>
              </a:solidFill>
              <a:prstDash val="solid"/>
              <a:miter lim="800000"/>
            </a:ln>
            <a:effectLst/>
          </p:spPr>
          <p:txBody>
            <a:bodyPr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black"/>
                </a:solidFill>
                <a:effectLst/>
                <a:uLnTx/>
                <a:uFillTx/>
                <a:latin typeface="Calibri" panose="020F0502020204030204"/>
                <a:ea typeface="+mn-ea"/>
                <a:cs typeface="+mn-cs"/>
              </a:endParaRPr>
            </a:p>
          </p:txBody>
        </p:sp>
      </p:grpSp>
      <p:sp>
        <p:nvSpPr>
          <p:cNvPr id="24" name="Action Button: Custom 23">
            <a:hlinkClick r:id="" action="ppaction://hlinkshowjump?jump=nextslide" highlightClick="1"/>
            <a:extLst>
              <a:ext uri="{FF2B5EF4-FFF2-40B4-BE49-F238E27FC236}">
                <a16:creationId xmlns:a16="http://schemas.microsoft.com/office/drawing/2014/main" id="{98B416AA-6970-204F-9803-82312AEF99A3}"/>
              </a:ext>
            </a:extLst>
          </p:cNvPr>
          <p:cNvSpPr/>
          <p:nvPr userDrawn="1"/>
        </p:nvSpPr>
        <p:spPr>
          <a:xfrm>
            <a:off x="160546" y="3095627"/>
            <a:ext cx="241211" cy="241211"/>
          </a:xfrm>
          <a:prstGeom prst="actionButtonBlank">
            <a:avLst/>
          </a:prstGeom>
          <a:no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5" name="Action Button: Custom 24">
            <a:hlinkClick r:id="" action="ppaction://hlinkshowjump?jump=previousslide" highlightClick="1"/>
            <a:extLst>
              <a:ext uri="{FF2B5EF4-FFF2-40B4-BE49-F238E27FC236}">
                <a16:creationId xmlns:a16="http://schemas.microsoft.com/office/drawing/2014/main" id="{7A387E38-D922-FA48-996E-C4EBA78D6D4A}"/>
              </a:ext>
            </a:extLst>
          </p:cNvPr>
          <p:cNvSpPr/>
          <p:nvPr userDrawn="1"/>
        </p:nvSpPr>
        <p:spPr>
          <a:xfrm>
            <a:off x="160546" y="3534274"/>
            <a:ext cx="241211" cy="241211"/>
          </a:xfrm>
          <a:prstGeom prst="actionButtonBlank">
            <a:avLst/>
          </a:prstGeom>
          <a:no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6" name="TextBox 5"/>
          <p:cNvSpPr txBox="1"/>
          <p:nvPr userDrawn="1"/>
        </p:nvSpPr>
        <p:spPr>
          <a:xfrm>
            <a:off x="12292" y="7286208"/>
            <a:ext cx="537719" cy="153888"/>
          </a:xfrm>
          <a:prstGeom prst="rect">
            <a:avLst/>
          </a:prstGeom>
          <a:noFill/>
        </p:spPr>
        <p:txBody>
          <a:bodyPr wrap="square" lIns="0" tIns="0" rIns="0" bIns="0" rtlCol="0">
            <a:spAutoFit/>
          </a:bodyPr>
          <a:lstStyle/>
          <a:p>
            <a:pPr algn="ctr" fontAlgn="auto">
              <a:spcBef>
                <a:spcPts val="0"/>
              </a:spcBef>
              <a:spcAft>
                <a:spcPts val="0"/>
              </a:spcAft>
              <a:buClrTx/>
              <a:buSzTx/>
              <a:buFontTx/>
              <a:buNone/>
            </a:pPr>
            <a:fld id="{EE81E157-A1D1-4641-98C5-E5C73AF14974}" type="slidenum">
              <a:rPr lang="en-US" sz="1000" b="1" smtClean="0">
                <a:solidFill>
                  <a:schemeClr val="tx2"/>
                </a:solidFill>
                <a:latin typeface="EYInterstate" panose="02000503020000020004" pitchFamily="2" charset="0"/>
              </a:rPr>
              <a:pPr algn="ctr" fontAlgn="auto">
                <a:spcBef>
                  <a:spcPts val="0"/>
                </a:spcBef>
                <a:spcAft>
                  <a:spcPts val="0"/>
                </a:spcAft>
                <a:buClrTx/>
                <a:buSzTx/>
                <a:buFontTx/>
                <a:buNone/>
              </a:pPr>
              <a:t>‹#›</a:t>
            </a:fld>
            <a:endParaRPr lang="en-US" sz="1000" b="1">
              <a:solidFill>
                <a:schemeClr val="tx2"/>
              </a:solidFill>
              <a:latin typeface="EYInterstate" panose="02000503020000020004" pitchFamily="2" charset="0"/>
            </a:endParaRPr>
          </a:p>
        </p:txBody>
      </p:sp>
    </p:spTree>
    <p:extLst>
      <p:ext uri="{BB962C8B-B14F-4D97-AF65-F5344CB8AC3E}">
        <p14:creationId xmlns:p14="http://schemas.microsoft.com/office/powerpoint/2010/main" val="802589046"/>
      </p:ext>
    </p:extLst>
  </p:cSld>
  <p:clrMap bg1="lt1" tx1="dk1" bg2="lt2" tx2="dk2" accent1="accent1" accent2="accent2" accent3="accent3" accent4="accent4" accent5="accent5" accent6="accent6" hlink="hlink" folHlink="folHlink"/>
  <p:sldLayoutIdLst>
    <p:sldLayoutId id="2147484257" r:id="rId1"/>
    <p:sldLayoutId id="2147484258" r:id="rId2"/>
    <p:sldLayoutId id="2147484259" r:id="rId3"/>
    <p:sldLayoutId id="2147484260" r:id="rId4"/>
    <p:sldLayoutId id="2147484261" r:id="rId5"/>
    <p:sldLayoutId id="2147484262" r:id="rId6"/>
    <p:sldLayoutId id="2147484263" r:id="rId7"/>
  </p:sldLayoutIdLst>
  <p:hf hdr="0" ftr="0" dt="0"/>
  <p:txStyles>
    <p:titleStyle>
      <a:lvl1pPr algn="l" defTabSz="1266737" rtl="0" eaLnBrk="1" latinLnBrk="0" hangingPunct="1">
        <a:lnSpc>
          <a:spcPct val="85000"/>
        </a:lnSpc>
        <a:spcBef>
          <a:spcPct val="0"/>
        </a:spcBef>
        <a:buNone/>
        <a:defRPr sz="2400" b="1" i="0" kern="1200">
          <a:solidFill>
            <a:schemeClr val="bg1"/>
          </a:solidFill>
          <a:latin typeface="EYInterstate" panose="02000503020000020004" pitchFamily="2" charset="0"/>
          <a:ea typeface="+mj-ea"/>
          <a:cs typeface="Arial" pitchFamily="34" charset="0"/>
        </a:defRPr>
      </a:lvl1pPr>
    </p:titleStyle>
    <p:bodyStyle>
      <a:lvl1pPr marL="494029" indent="-494029" algn="l" defTabSz="1266737" rtl="0" eaLnBrk="1" latinLnBrk="0" hangingPunct="1">
        <a:spcBef>
          <a:spcPct val="20000"/>
        </a:spcBef>
        <a:buClr>
          <a:schemeClr val="tx1"/>
        </a:buClr>
        <a:buSzPct val="70000"/>
        <a:buFont typeface="Arial" pitchFamily="34" charset="0"/>
        <a:buChar char="►"/>
        <a:defRPr sz="2493" b="0" i="0" kern="1200">
          <a:solidFill>
            <a:schemeClr val="bg1"/>
          </a:solidFill>
          <a:latin typeface="EYInterstate Light" panose="02000506000000020004" pitchFamily="2" charset="0"/>
          <a:ea typeface="+mn-ea"/>
          <a:cs typeface="+mn-cs"/>
        </a:defRPr>
      </a:lvl1pPr>
      <a:lvl2pPr marL="988054" indent="-494029" algn="l" defTabSz="1266737" rtl="0" eaLnBrk="1" latinLnBrk="0" hangingPunct="1">
        <a:spcBef>
          <a:spcPct val="20000"/>
        </a:spcBef>
        <a:buClr>
          <a:schemeClr val="tx1"/>
        </a:buClr>
        <a:buSzPct val="70000"/>
        <a:buFont typeface="Arial" pitchFamily="34" charset="0"/>
        <a:buChar char="►"/>
        <a:defRPr sz="2000" b="0" i="0" kern="1200">
          <a:solidFill>
            <a:schemeClr val="bg1"/>
          </a:solidFill>
          <a:latin typeface="EYInterstate Light" panose="02000506000000020004" pitchFamily="2" charset="0"/>
          <a:ea typeface="+mn-ea"/>
          <a:cs typeface="+mn-cs"/>
        </a:defRPr>
      </a:lvl2pPr>
      <a:lvl3pPr marL="1482083" indent="-494029" algn="l" defTabSz="1266737" rtl="0" eaLnBrk="1" latinLnBrk="0" hangingPunct="1">
        <a:spcBef>
          <a:spcPct val="20000"/>
        </a:spcBef>
        <a:buClr>
          <a:schemeClr val="tx1"/>
        </a:buClr>
        <a:buSzPct val="70000"/>
        <a:buFont typeface="Arial" pitchFamily="34" charset="0"/>
        <a:buChar char="►"/>
        <a:defRPr sz="1800" b="0" i="0" kern="1200">
          <a:solidFill>
            <a:schemeClr val="bg1"/>
          </a:solidFill>
          <a:latin typeface="EYInterstate Light" panose="02000506000000020004" pitchFamily="2" charset="0"/>
          <a:ea typeface="+mn-ea"/>
          <a:cs typeface="+mn-cs"/>
        </a:defRPr>
      </a:lvl3pPr>
      <a:lvl4pPr marL="1976110" indent="-494029" algn="l" defTabSz="1266737" rtl="0" eaLnBrk="1" latinLnBrk="0" hangingPunct="1">
        <a:spcBef>
          <a:spcPct val="20000"/>
        </a:spcBef>
        <a:buClr>
          <a:schemeClr val="tx1"/>
        </a:buClr>
        <a:buSzPct val="70000"/>
        <a:buFont typeface="Arial" pitchFamily="34" charset="0"/>
        <a:buChar char="►"/>
        <a:defRPr sz="1600" b="0" i="0" kern="1200">
          <a:solidFill>
            <a:schemeClr val="bg1"/>
          </a:solidFill>
          <a:latin typeface="EYInterstate Light" panose="02000506000000020004" pitchFamily="2" charset="0"/>
          <a:ea typeface="+mn-ea"/>
          <a:cs typeface="+mn-cs"/>
        </a:defRPr>
      </a:lvl4pPr>
      <a:lvl5pPr marL="2470136" indent="-494029" algn="l" defTabSz="1266737" rtl="0" eaLnBrk="1" latinLnBrk="0" hangingPunct="1">
        <a:spcBef>
          <a:spcPct val="20000"/>
        </a:spcBef>
        <a:buClr>
          <a:schemeClr val="tx1"/>
        </a:buClr>
        <a:buSzPct val="70000"/>
        <a:buFont typeface="Arial" pitchFamily="34" charset="0"/>
        <a:buChar char="►"/>
        <a:defRPr sz="1400" b="0" i="0" kern="1200">
          <a:solidFill>
            <a:schemeClr val="bg1"/>
          </a:solidFill>
          <a:latin typeface="EYInterstate Light" panose="02000506000000020004" pitchFamily="2" charset="0"/>
          <a:ea typeface="+mn-ea"/>
          <a:cs typeface="+mn-cs"/>
        </a:defRPr>
      </a:lvl5pPr>
      <a:lvl6pPr marL="3483527" indent="-316685" algn="l" defTabSz="1266737" rtl="0" eaLnBrk="1" latinLnBrk="0" hangingPunct="1">
        <a:spcBef>
          <a:spcPct val="20000"/>
        </a:spcBef>
        <a:buFont typeface="Arial" pitchFamily="34" charset="0"/>
        <a:buChar char="•"/>
        <a:defRPr sz="2771" kern="1200">
          <a:solidFill>
            <a:schemeClr val="tx1"/>
          </a:solidFill>
          <a:latin typeface="+mn-lt"/>
          <a:ea typeface="+mn-ea"/>
          <a:cs typeface="+mn-cs"/>
        </a:defRPr>
      </a:lvl6pPr>
      <a:lvl7pPr marL="4116896" indent="-316685" algn="l" defTabSz="1266737" rtl="0" eaLnBrk="1" latinLnBrk="0" hangingPunct="1">
        <a:spcBef>
          <a:spcPct val="20000"/>
        </a:spcBef>
        <a:buFont typeface="Arial" pitchFamily="34" charset="0"/>
        <a:buChar char="•"/>
        <a:defRPr sz="2771" kern="1200">
          <a:solidFill>
            <a:schemeClr val="tx1"/>
          </a:solidFill>
          <a:latin typeface="+mn-lt"/>
          <a:ea typeface="+mn-ea"/>
          <a:cs typeface="+mn-cs"/>
        </a:defRPr>
      </a:lvl7pPr>
      <a:lvl8pPr marL="4750266" indent="-316685" algn="l" defTabSz="1266737" rtl="0" eaLnBrk="1" latinLnBrk="0" hangingPunct="1">
        <a:spcBef>
          <a:spcPct val="20000"/>
        </a:spcBef>
        <a:buFont typeface="Arial" pitchFamily="34" charset="0"/>
        <a:buChar char="•"/>
        <a:defRPr sz="2771" kern="1200">
          <a:solidFill>
            <a:schemeClr val="tx1"/>
          </a:solidFill>
          <a:latin typeface="+mn-lt"/>
          <a:ea typeface="+mn-ea"/>
          <a:cs typeface="+mn-cs"/>
        </a:defRPr>
      </a:lvl8pPr>
      <a:lvl9pPr marL="5383632" indent="-316685" algn="l" defTabSz="1266737" rtl="0" eaLnBrk="1" latinLnBrk="0" hangingPunct="1">
        <a:spcBef>
          <a:spcPct val="20000"/>
        </a:spcBef>
        <a:buFont typeface="Arial" pitchFamily="34" charset="0"/>
        <a:buChar char="•"/>
        <a:defRPr sz="2771" kern="1200">
          <a:solidFill>
            <a:schemeClr val="tx1"/>
          </a:solidFill>
          <a:latin typeface="+mn-lt"/>
          <a:ea typeface="+mn-ea"/>
          <a:cs typeface="+mn-cs"/>
        </a:defRPr>
      </a:lvl9pPr>
    </p:bodyStyle>
    <p:otherStyle>
      <a:defPPr>
        <a:defRPr lang="en-US"/>
      </a:defPPr>
      <a:lvl1pPr marL="0" algn="l" defTabSz="1266737" rtl="0" eaLnBrk="1" latinLnBrk="0" hangingPunct="1">
        <a:defRPr sz="2493" kern="1200">
          <a:solidFill>
            <a:schemeClr val="tx1"/>
          </a:solidFill>
          <a:latin typeface="+mn-lt"/>
          <a:ea typeface="+mn-ea"/>
          <a:cs typeface="+mn-cs"/>
        </a:defRPr>
      </a:lvl1pPr>
      <a:lvl2pPr marL="633367" algn="l" defTabSz="1266737" rtl="0" eaLnBrk="1" latinLnBrk="0" hangingPunct="1">
        <a:defRPr sz="2493" kern="1200">
          <a:solidFill>
            <a:schemeClr val="tx1"/>
          </a:solidFill>
          <a:latin typeface="+mn-lt"/>
          <a:ea typeface="+mn-ea"/>
          <a:cs typeface="+mn-cs"/>
        </a:defRPr>
      </a:lvl2pPr>
      <a:lvl3pPr marL="1266737" algn="l" defTabSz="1266737" rtl="0" eaLnBrk="1" latinLnBrk="0" hangingPunct="1">
        <a:defRPr sz="2493" kern="1200">
          <a:solidFill>
            <a:schemeClr val="tx1"/>
          </a:solidFill>
          <a:latin typeface="+mn-lt"/>
          <a:ea typeface="+mn-ea"/>
          <a:cs typeface="+mn-cs"/>
        </a:defRPr>
      </a:lvl3pPr>
      <a:lvl4pPr marL="1900106" algn="l" defTabSz="1266737" rtl="0" eaLnBrk="1" latinLnBrk="0" hangingPunct="1">
        <a:defRPr sz="2493" kern="1200">
          <a:solidFill>
            <a:schemeClr val="tx1"/>
          </a:solidFill>
          <a:latin typeface="+mn-lt"/>
          <a:ea typeface="+mn-ea"/>
          <a:cs typeface="+mn-cs"/>
        </a:defRPr>
      </a:lvl4pPr>
      <a:lvl5pPr marL="2533476" algn="l" defTabSz="1266737" rtl="0" eaLnBrk="1" latinLnBrk="0" hangingPunct="1">
        <a:defRPr sz="2493" kern="1200">
          <a:solidFill>
            <a:schemeClr val="tx1"/>
          </a:solidFill>
          <a:latin typeface="+mn-lt"/>
          <a:ea typeface="+mn-ea"/>
          <a:cs typeface="+mn-cs"/>
        </a:defRPr>
      </a:lvl5pPr>
      <a:lvl6pPr marL="3166843" algn="l" defTabSz="1266737" rtl="0" eaLnBrk="1" latinLnBrk="0" hangingPunct="1">
        <a:defRPr sz="2493" kern="1200">
          <a:solidFill>
            <a:schemeClr val="tx1"/>
          </a:solidFill>
          <a:latin typeface="+mn-lt"/>
          <a:ea typeface="+mn-ea"/>
          <a:cs typeface="+mn-cs"/>
        </a:defRPr>
      </a:lvl6pPr>
      <a:lvl7pPr marL="3800210" algn="l" defTabSz="1266737" rtl="0" eaLnBrk="1" latinLnBrk="0" hangingPunct="1">
        <a:defRPr sz="2493" kern="1200">
          <a:solidFill>
            <a:schemeClr val="tx1"/>
          </a:solidFill>
          <a:latin typeface="+mn-lt"/>
          <a:ea typeface="+mn-ea"/>
          <a:cs typeface="+mn-cs"/>
        </a:defRPr>
      </a:lvl7pPr>
      <a:lvl8pPr marL="4433580" algn="l" defTabSz="1266737" rtl="0" eaLnBrk="1" latinLnBrk="0" hangingPunct="1">
        <a:defRPr sz="2493" kern="1200">
          <a:solidFill>
            <a:schemeClr val="tx1"/>
          </a:solidFill>
          <a:latin typeface="+mn-lt"/>
          <a:ea typeface="+mn-ea"/>
          <a:cs typeface="+mn-cs"/>
        </a:defRPr>
      </a:lvl8pPr>
      <a:lvl9pPr marL="5066947" algn="l" defTabSz="1266737" rtl="0" eaLnBrk="1" latinLnBrk="0" hangingPunct="1">
        <a:defRPr sz="2493"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0"/>
            </p:custDataLst>
            <p:extLst>
              <p:ext uri="{D42A27DB-BD31-4B8C-83A1-F6EECF244321}">
                <p14:modId xmlns:p14="http://schemas.microsoft.com/office/powerpoint/2010/main" val="493201308"/>
              </p:ext>
            </p:extLst>
          </p:nvPr>
        </p:nvGraphicFramePr>
        <p:xfrm>
          <a:off x="1588" y="1589"/>
          <a:ext cx="1588" cy="1587"/>
        </p:xfrm>
        <a:graphic>
          <a:graphicData uri="http://schemas.openxmlformats.org/presentationml/2006/ole">
            <mc:AlternateContent xmlns:mc="http://schemas.openxmlformats.org/markup-compatibility/2006">
              <mc:Choice xmlns:v="urn:schemas-microsoft-com:vml" Requires="v">
                <p:oleObj spid="_x0000_s31746" name="think-cell Slide" r:id="rId12" imgW="216" imgH="216" progId="TCLayout.ActiveDocument.1">
                  <p:embed/>
                </p:oleObj>
              </mc:Choice>
              <mc:Fallback>
                <p:oleObj name="think-cell Slide" r:id="rId12" imgW="216" imgH="216" progId="TCLayout.ActiveDocument.1">
                  <p:embed/>
                  <p:pic>
                    <p:nvPicPr>
                      <p:cNvPr id="4" name="Object 3" hidden="1"/>
                      <p:cNvPicPr/>
                      <p:nvPr/>
                    </p:nvPicPr>
                    <p:blipFill>
                      <a:blip r:embed="rId13"/>
                      <a:stretch>
                        <a:fillRect/>
                      </a:stretch>
                    </p:blipFill>
                    <p:spPr>
                      <a:xfrm>
                        <a:off x="1588" y="1589"/>
                        <a:ext cx="1588"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D35BBD6-19BF-40F9-86FB-45632A655647}"/>
              </a:ext>
            </a:extLst>
          </p:cNvPr>
          <p:cNvSpPr/>
          <p:nvPr userDrawn="1">
            <p:custDataLst>
              <p:tags r:id="rId11"/>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eaLnBrk="1">
              <a:lnSpc>
                <a:spcPct val="85000"/>
              </a:lnSpc>
              <a:spcBef>
                <a:spcPct val="0"/>
              </a:spcBef>
              <a:spcAft>
                <a:spcPct val="0"/>
              </a:spcAft>
            </a:pPr>
            <a:endParaRPr lang="en-US" sz="2400" b="1" i="0" baseline="0">
              <a:solidFill>
                <a:schemeClr val="tx1"/>
              </a:solidFill>
              <a:latin typeface="EYInterstate" panose="02000503020000020004" pitchFamily="2" charset="0"/>
              <a:ea typeface="+mj-ea"/>
              <a:cs typeface="Arial" panose="020B0604020202020204" pitchFamily="34" charset="0"/>
              <a:sym typeface="EYInterstate" panose="02000503020000020004" pitchFamily="2" charset="0"/>
            </a:endParaRPr>
          </a:p>
        </p:txBody>
      </p:sp>
      <p:sp>
        <p:nvSpPr>
          <p:cNvPr id="2" name="Title Placeholder 1"/>
          <p:cNvSpPr>
            <a:spLocks noGrp="1"/>
          </p:cNvSpPr>
          <p:nvPr>
            <p:ph type="title"/>
          </p:nvPr>
        </p:nvSpPr>
        <p:spPr>
          <a:xfrm>
            <a:off x="943904" y="609597"/>
            <a:ext cx="11700000" cy="739984"/>
          </a:xfrm>
          <a:prstGeom prst="rect">
            <a:avLst/>
          </a:prstGeom>
        </p:spPr>
        <p:txBody>
          <a:bodyPr vert="horz" lIns="0" tIns="0" rIns="0" bIns="0" rtlCol="0" anchor="t" anchorCtr="0">
            <a:noAutofit/>
          </a:bodyPr>
          <a:lstStyle/>
          <a:p>
            <a:r>
              <a:rPr lang="en-US"/>
              <a:t>CLICK TO EDIT MASTER TITLE STYLE</a:t>
            </a:r>
            <a:endParaRPr lang="en-GB"/>
          </a:p>
        </p:txBody>
      </p:sp>
      <p:sp>
        <p:nvSpPr>
          <p:cNvPr id="3" name="Text Placeholder 2"/>
          <p:cNvSpPr>
            <a:spLocks noGrp="1"/>
          </p:cNvSpPr>
          <p:nvPr>
            <p:ph type="body" idx="1"/>
          </p:nvPr>
        </p:nvSpPr>
        <p:spPr>
          <a:xfrm>
            <a:off x="943904" y="1571790"/>
            <a:ext cx="11700000" cy="5181986"/>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Rectangle 12">
            <a:extLst>
              <a:ext uri="{FF2B5EF4-FFF2-40B4-BE49-F238E27FC236}">
                <a16:creationId xmlns:a16="http://schemas.microsoft.com/office/drawing/2014/main" id="{3A839B15-81E6-9045-B604-CB27BBC1C908}"/>
              </a:ext>
            </a:extLst>
          </p:cNvPr>
          <p:cNvSpPr/>
          <p:nvPr userDrawn="1"/>
        </p:nvSpPr>
        <p:spPr>
          <a:xfrm>
            <a:off x="943904" y="428151"/>
            <a:ext cx="1260000" cy="72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object 3">
            <a:extLst>
              <a:ext uri="{FF2B5EF4-FFF2-40B4-BE49-F238E27FC236}">
                <a16:creationId xmlns:a16="http://schemas.microsoft.com/office/drawing/2014/main" id="{FBEC6C36-7DE3-C04D-8FC3-90CFCCD3E4A9}"/>
              </a:ext>
            </a:extLst>
          </p:cNvPr>
          <p:cNvSpPr/>
          <p:nvPr userDrawn="1"/>
        </p:nvSpPr>
        <p:spPr>
          <a:xfrm>
            <a:off x="-5625" y="16"/>
            <a:ext cx="573553" cy="7561247"/>
          </a:xfrm>
          <a:custGeom>
            <a:avLst/>
            <a:gdLst/>
            <a:ahLst/>
            <a:cxnLst/>
            <a:rect l="l" t="t" r="r" b="b"/>
            <a:pathLst>
              <a:path w="5076190" h="7560309">
                <a:moveTo>
                  <a:pt x="0" y="7559992"/>
                </a:moveTo>
                <a:lnTo>
                  <a:pt x="5075999" y="7559992"/>
                </a:lnTo>
                <a:lnTo>
                  <a:pt x="5075999" y="0"/>
                </a:lnTo>
                <a:lnTo>
                  <a:pt x="0" y="0"/>
                </a:lnTo>
                <a:lnTo>
                  <a:pt x="0" y="7559992"/>
                </a:lnTo>
                <a:close/>
              </a:path>
            </a:pathLst>
          </a:custGeom>
          <a:solidFill>
            <a:schemeClr val="tx1"/>
          </a:solidFill>
        </p:spPr>
        <p:txBody>
          <a:bodyPr wrap="square" lIns="0" tIns="0" rIns="0" bIns="0" rtlCol="0"/>
          <a:lstStyle/>
          <a:p>
            <a:pPr algn="ctr"/>
            <a:endParaRPr>
              <a:solidFill>
                <a:prstClr val="black"/>
              </a:solidFill>
              <a:latin typeface="Calibri" panose="020F0502020204030204"/>
            </a:endParaRPr>
          </a:p>
        </p:txBody>
      </p:sp>
      <p:sp>
        <p:nvSpPr>
          <p:cNvPr id="12" name="object 14">
            <a:extLst>
              <a:ext uri="{FF2B5EF4-FFF2-40B4-BE49-F238E27FC236}">
                <a16:creationId xmlns:a16="http://schemas.microsoft.com/office/drawing/2014/main" id="{3D19E29C-B81E-B848-A185-3911687868CA}"/>
              </a:ext>
            </a:extLst>
          </p:cNvPr>
          <p:cNvSpPr/>
          <p:nvPr userDrawn="1"/>
        </p:nvSpPr>
        <p:spPr>
          <a:xfrm>
            <a:off x="146531" y="398406"/>
            <a:ext cx="269240" cy="98425"/>
          </a:xfrm>
          <a:custGeom>
            <a:avLst/>
            <a:gdLst/>
            <a:ahLst/>
            <a:cxnLst/>
            <a:rect l="l" t="t" r="r" b="b"/>
            <a:pathLst>
              <a:path w="269240" h="98425">
                <a:moveTo>
                  <a:pt x="269227" y="0"/>
                </a:moveTo>
                <a:lnTo>
                  <a:pt x="0" y="98247"/>
                </a:lnTo>
                <a:lnTo>
                  <a:pt x="269227" y="50698"/>
                </a:lnTo>
                <a:lnTo>
                  <a:pt x="269227" y="0"/>
                </a:lnTo>
                <a:close/>
              </a:path>
            </a:pathLst>
          </a:custGeom>
          <a:solidFill>
            <a:srgbClr val="FFD400"/>
          </a:solidFill>
        </p:spPr>
        <p:txBody>
          <a:bodyPr wrap="square" lIns="0" tIns="0" rIns="0" bIns="0" rtlCol="0"/>
          <a:lstStyle/>
          <a:p>
            <a:pPr algn="ctr"/>
            <a:endParaRPr>
              <a:solidFill>
                <a:prstClr val="black"/>
              </a:solidFill>
              <a:latin typeface="Calibri" panose="020F0502020204030204"/>
            </a:endParaRPr>
          </a:p>
        </p:txBody>
      </p:sp>
      <p:sp>
        <p:nvSpPr>
          <p:cNvPr id="14" name="object 15">
            <a:extLst>
              <a:ext uri="{FF2B5EF4-FFF2-40B4-BE49-F238E27FC236}">
                <a16:creationId xmlns:a16="http://schemas.microsoft.com/office/drawing/2014/main" id="{5DE69E7C-24A8-2346-869B-1BCBC7E6C6C0}"/>
              </a:ext>
            </a:extLst>
          </p:cNvPr>
          <p:cNvSpPr/>
          <p:nvPr userDrawn="1"/>
        </p:nvSpPr>
        <p:spPr>
          <a:xfrm>
            <a:off x="168134" y="537502"/>
            <a:ext cx="226034" cy="136194"/>
          </a:xfrm>
          <a:prstGeom prst="rect">
            <a:avLst/>
          </a:prstGeom>
          <a:blipFill>
            <a:blip r:embed="rId14" cstate="print"/>
            <a:stretch>
              <a:fillRect/>
            </a:stretch>
          </a:blipFill>
        </p:spPr>
        <p:txBody>
          <a:bodyPr wrap="square" lIns="0" tIns="0" rIns="0" bIns="0" rtlCol="0"/>
          <a:lstStyle/>
          <a:p>
            <a:pPr algn="ctr"/>
            <a:endParaRPr>
              <a:solidFill>
                <a:prstClr val="black"/>
              </a:solidFill>
              <a:latin typeface="Calibri" panose="020F0502020204030204"/>
            </a:endParaRPr>
          </a:p>
        </p:txBody>
      </p:sp>
      <p:grpSp>
        <p:nvGrpSpPr>
          <p:cNvPr id="16" name="Group 15">
            <a:extLst>
              <a:ext uri="{FF2B5EF4-FFF2-40B4-BE49-F238E27FC236}">
                <a16:creationId xmlns:a16="http://schemas.microsoft.com/office/drawing/2014/main" id="{0726C71A-D368-B041-8BD9-4D61AA84A144}"/>
              </a:ext>
            </a:extLst>
          </p:cNvPr>
          <p:cNvGrpSpPr/>
          <p:nvPr userDrawn="1"/>
        </p:nvGrpSpPr>
        <p:grpSpPr>
          <a:xfrm>
            <a:off x="173642" y="3095627"/>
            <a:ext cx="215019" cy="215019"/>
            <a:chOff x="147828" y="2915202"/>
            <a:chExt cx="215019" cy="215019"/>
          </a:xfrm>
        </p:grpSpPr>
        <p:sp>
          <p:nvSpPr>
            <p:cNvPr id="17" name="Oval 16">
              <a:extLst>
                <a:ext uri="{FF2B5EF4-FFF2-40B4-BE49-F238E27FC236}">
                  <a16:creationId xmlns:a16="http://schemas.microsoft.com/office/drawing/2014/main" id="{0207DA1F-1F9C-294D-97C4-C0A6F616599E}"/>
                </a:ext>
              </a:extLst>
            </p:cNvPr>
            <p:cNvSpPr/>
            <p:nvPr/>
          </p:nvSpPr>
          <p:spPr>
            <a:xfrm>
              <a:off x="147828" y="2915202"/>
              <a:ext cx="215019" cy="215019"/>
            </a:xfrm>
            <a:prstGeom prst="ellipse">
              <a:avLst/>
            </a:prstGeom>
            <a:noFill/>
            <a:ln w="9525" cap="flat" cmpd="sng" algn="ctr">
              <a:solidFill>
                <a:sysClr val="window" lastClr="FFFFFF"/>
              </a:solidFill>
              <a:prstDash val="solid"/>
              <a:miter lim="800000"/>
            </a:ln>
            <a:effectLst/>
          </p:spPr>
          <p:txBody>
            <a:bodyPr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black"/>
                </a:solidFill>
                <a:effectLst/>
                <a:uLnTx/>
                <a:uFillTx/>
                <a:latin typeface="Calibri" panose="020F0502020204030204"/>
                <a:ea typeface="+mn-ea"/>
                <a:cs typeface="+mn-cs"/>
              </a:endParaRPr>
            </a:p>
          </p:txBody>
        </p:sp>
        <p:cxnSp>
          <p:nvCxnSpPr>
            <p:cNvPr id="18" name="Straight Connector 17">
              <a:extLst>
                <a:ext uri="{FF2B5EF4-FFF2-40B4-BE49-F238E27FC236}">
                  <a16:creationId xmlns:a16="http://schemas.microsoft.com/office/drawing/2014/main" id="{CECE0C06-22D8-A04F-B592-79AFD6202C26}"/>
                </a:ext>
              </a:extLst>
            </p:cNvPr>
            <p:cNvCxnSpPr/>
            <p:nvPr/>
          </p:nvCxnSpPr>
          <p:spPr>
            <a:xfrm>
              <a:off x="193425" y="3022711"/>
              <a:ext cx="123825" cy="0"/>
            </a:xfrm>
            <a:prstGeom prst="line">
              <a:avLst/>
            </a:prstGeom>
            <a:noFill/>
            <a:ln w="9525" cap="flat" cmpd="sng" algn="ctr">
              <a:solidFill>
                <a:sysClr val="window" lastClr="FFFFFF"/>
              </a:solidFill>
              <a:prstDash val="solid"/>
              <a:miter lim="800000"/>
              <a:tailEnd type="none"/>
            </a:ln>
            <a:effectLst/>
          </p:spPr>
        </p:cxnSp>
        <p:sp>
          <p:nvSpPr>
            <p:cNvPr id="19" name="Rectangle 11">
              <a:extLst>
                <a:ext uri="{FF2B5EF4-FFF2-40B4-BE49-F238E27FC236}">
                  <a16:creationId xmlns:a16="http://schemas.microsoft.com/office/drawing/2014/main" id="{7A5DEC11-2762-9548-A7CB-2D7CAD730DF7}"/>
                </a:ext>
              </a:extLst>
            </p:cNvPr>
            <p:cNvSpPr/>
            <p:nvPr/>
          </p:nvSpPr>
          <p:spPr>
            <a:xfrm rot="18900000">
              <a:off x="231586" y="2987228"/>
              <a:ext cx="70967" cy="70967"/>
            </a:xfrm>
            <a:custGeom>
              <a:avLst/>
              <a:gdLst>
                <a:gd name="connsiteX0" fmla="*/ 0 w 149225"/>
                <a:gd name="connsiteY0" fmla="*/ 0 h 149225"/>
                <a:gd name="connsiteX1" fmla="*/ 149225 w 149225"/>
                <a:gd name="connsiteY1" fmla="*/ 0 h 149225"/>
                <a:gd name="connsiteX2" fmla="*/ 149225 w 149225"/>
                <a:gd name="connsiteY2" fmla="*/ 149225 h 149225"/>
                <a:gd name="connsiteX3" fmla="*/ 0 w 149225"/>
                <a:gd name="connsiteY3" fmla="*/ 149225 h 149225"/>
                <a:gd name="connsiteX4" fmla="*/ 0 w 149225"/>
                <a:gd name="connsiteY4" fmla="*/ 0 h 149225"/>
                <a:gd name="connsiteX0" fmla="*/ 0 w 149225"/>
                <a:gd name="connsiteY0" fmla="*/ 149225 h 149225"/>
                <a:gd name="connsiteX1" fmla="*/ 149225 w 149225"/>
                <a:gd name="connsiteY1" fmla="*/ 0 h 149225"/>
                <a:gd name="connsiteX2" fmla="*/ 149225 w 149225"/>
                <a:gd name="connsiteY2" fmla="*/ 149225 h 149225"/>
                <a:gd name="connsiteX3" fmla="*/ 0 w 149225"/>
                <a:gd name="connsiteY3" fmla="*/ 149225 h 149225"/>
                <a:gd name="connsiteX0" fmla="*/ 149225 w 240665"/>
                <a:gd name="connsiteY0" fmla="*/ 0 h 149225"/>
                <a:gd name="connsiteX1" fmla="*/ 149225 w 240665"/>
                <a:gd name="connsiteY1" fmla="*/ 149225 h 149225"/>
                <a:gd name="connsiteX2" fmla="*/ 0 w 240665"/>
                <a:gd name="connsiteY2" fmla="*/ 149225 h 149225"/>
                <a:gd name="connsiteX3" fmla="*/ 240665 w 240665"/>
                <a:gd name="connsiteY3" fmla="*/ 91440 h 149225"/>
                <a:gd name="connsiteX0" fmla="*/ 149225 w 149225"/>
                <a:gd name="connsiteY0" fmla="*/ 0 h 149225"/>
                <a:gd name="connsiteX1" fmla="*/ 149225 w 149225"/>
                <a:gd name="connsiteY1" fmla="*/ 149225 h 149225"/>
                <a:gd name="connsiteX2" fmla="*/ 0 w 149225"/>
                <a:gd name="connsiteY2" fmla="*/ 149225 h 149225"/>
              </a:gdLst>
              <a:ahLst/>
              <a:cxnLst>
                <a:cxn ang="0">
                  <a:pos x="connsiteX0" y="connsiteY0"/>
                </a:cxn>
                <a:cxn ang="0">
                  <a:pos x="connsiteX1" y="connsiteY1"/>
                </a:cxn>
                <a:cxn ang="0">
                  <a:pos x="connsiteX2" y="connsiteY2"/>
                </a:cxn>
              </a:cxnLst>
              <a:rect l="l" t="t" r="r" b="b"/>
              <a:pathLst>
                <a:path w="149225" h="149225">
                  <a:moveTo>
                    <a:pt x="149225" y="0"/>
                  </a:moveTo>
                  <a:lnTo>
                    <a:pt x="149225" y="149225"/>
                  </a:lnTo>
                  <a:lnTo>
                    <a:pt x="0" y="149225"/>
                  </a:lnTo>
                </a:path>
              </a:pathLst>
            </a:custGeom>
            <a:noFill/>
            <a:ln w="9525" cap="flat" cmpd="sng" algn="ctr">
              <a:solidFill>
                <a:sysClr val="window" lastClr="FFFFFF"/>
              </a:solidFill>
              <a:prstDash val="solid"/>
              <a:miter lim="800000"/>
            </a:ln>
            <a:effectLst/>
          </p:spPr>
          <p:txBody>
            <a:bodyPr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black"/>
                </a:solidFill>
                <a:effectLst/>
                <a:uLnTx/>
                <a:uFillTx/>
                <a:latin typeface="Calibri" panose="020F0502020204030204"/>
                <a:ea typeface="+mn-ea"/>
                <a:cs typeface="+mn-cs"/>
              </a:endParaRPr>
            </a:p>
          </p:txBody>
        </p:sp>
      </p:grpSp>
      <p:grpSp>
        <p:nvGrpSpPr>
          <p:cNvPr id="20" name="Group 19">
            <a:extLst>
              <a:ext uri="{FF2B5EF4-FFF2-40B4-BE49-F238E27FC236}">
                <a16:creationId xmlns:a16="http://schemas.microsoft.com/office/drawing/2014/main" id="{30844FBE-FCA0-234D-A1A0-DEEB814F56F7}"/>
              </a:ext>
            </a:extLst>
          </p:cNvPr>
          <p:cNvGrpSpPr/>
          <p:nvPr userDrawn="1"/>
        </p:nvGrpSpPr>
        <p:grpSpPr>
          <a:xfrm rot="10800000">
            <a:off x="173642" y="3547371"/>
            <a:ext cx="215019" cy="215019"/>
            <a:chOff x="5758249" y="7128479"/>
            <a:chExt cx="215019" cy="215019"/>
          </a:xfrm>
        </p:grpSpPr>
        <p:sp>
          <p:nvSpPr>
            <p:cNvPr id="21" name="Oval 20">
              <a:extLst>
                <a:ext uri="{FF2B5EF4-FFF2-40B4-BE49-F238E27FC236}">
                  <a16:creationId xmlns:a16="http://schemas.microsoft.com/office/drawing/2014/main" id="{A3BB17A6-DFE2-3F48-94A5-1488E1D6457D}"/>
                </a:ext>
              </a:extLst>
            </p:cNvPr>
            <p:cNvSpPr/>
            <p:nvPr/>
          </p:nvSpPr>
          <p:spPr>
            <a:xfrm>
              <a:off x="5758249" y="7128479"/>
              <a:ext cx="215019" cy="215019"/>
            </a:xfrm>
            <a:prstGeom prst="ellipse">
              <a:avLst/>
            </a:prstGeom>
            <a:noFill/>
            <a:ln w="9525" cap="flat" cmpd="sng" algn="ctr">
              <a:solidFill>
                <a:sysClr val="window" lastClr="FFFFFF"/>
              </a:solidFill>
              <a:prstDash val="solid"/>
              <a:miter lim="800000"/>
            </a:ln>
            <a:effectLst/>
          </p:spPr>
          <p:txBody>
            <a:bodyPr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black"/>
                </a:solidFill>
                <a:effectLst/>
                <a:uLnTx/>
                <a:uFillTx/>
                <a:latin typeface="Calibri" panose="020F0502020204030204"/>
                <a:ea typeface="+mn-ea"/>
                <a:cs typeface="+mn-cs"/>
              </a:endParaRPr>
            </a:p>
          </p:txBody>
        </p:sp>
        <p:cxnSp>
          <p:nvCxnSpPr>
            <p:cNvPr id="22" name="Straight Connector 21">
              <a:extLst>
                <a:ext uri="{FF2B5EF4-FFF2-40B4-BE49-F238E27FC236}">
                  <a16:creationId xmlns:a16="http://schemas.microsoft.com/office/drawing/2014/main" id="{7035876D-E7CD-8C41-8052-10A7CFE3A66B}"/>
                </a:ext>
              </a:extLst>
            </p:cNvPr>
            <p:cNvCxnSpPr/>
            <p:nvPr/>
          </p:nvCxnSpPr>
          <p:spPr>
            <a:xfrm>
              <a:off x="5803846" y="7235988"/>
              <a:ext cx="123825" cy="0"/>
            </a:xfrm>
            <a:prstGeom prst="line">
              <a:avLst/>
            </a:prstGeom>
            <a:noFill/>
            <a:ln w="9525" cap="flat" cmpd="sng" algn="ctr">
              <a:solidFill>
                <a:sysClr val="window" lastClr="FFFFFF"/>
              </a:solidFill>
              <a:prstDash val="solid"/>
              <a:miter lim="800000"/>
              <a:tailEnd type="none"/>
            </a:ln>
            <a:effectLst/>
          </p:spPr>
        </p:cxnSp>
        <p:sp>
          <p:nvSpPr>
            <p:cNvPr id="23" name="Rectangle 11">
              <a:extLst>
                <a:ext uri="{FF2B5EF4-FFF2-40B4-BE49-F238E27FC236}">
                  <a16:creationId xmlns:a16="http://schemas.microsoft.com/office/drawing/2014/main" id="{4094B3D7-0406-A540-8445-9B565193A9AC}"/>
                </a:ext>
              </a:extLst>
            </p:cNvPr>
            <p:cNvSpPr/>
            <p:nvPr/>
          </p:nvSpPr>
          <p:spPr>
            <a:xfrm rot="18900000">
              <a:off x="5842007" y="7200505"/>
              <a:ext cx="70967" cy="70967"/>
            </a:xfrm>
            <a:custGeom>
              <a:avLst/>
              <a:gdLst>
                <a:gd name="connsiteX0" fmla="*/ 0 w 149225"/>
                <a:gd name="connsiteY0" fmla="*/ 0 h 149225"/>
                <a:gd name="connsiteX1" fmla="*/ 149225 w 149225"/>
                <a:gd name="connsiteY1" fmla="*/ 0 h 149225"/>
                <a:gd name="connsiteX2" fmla="*/ 149225 w 149225"/>
                <a:gd name="connsiteY2" fmla="*/ 149225 h 149225"/>
                <a:gd name="connsiteX3" fmla="*/ 0 w 149225"/>
                <a:gd name="connsiteY3" fmla="*/ 149225 h 149225"/>
                <a:gd name="connsiteX4" fmla="*/ 0 w 149225"/>
                <a:gd name="connsiteY4" fmla="*/ 0 h 149225"/>
                <a:gd name="connsiteX0" fmla="*/ 0 w 149225"/>
                <a:gd name="connsiteY0" fmla="*/ 149225 h 149225"/>
                <a:gd name="connsiteX1" fmla="*/ 149225 w 149225"/>
                <a:gd name="connsiteY1" fmla="*/ 0 h 149225"/>
                <a:gd name="connsiteX2" fmla="*/ 149225 w 149225"/>
                <a:gd name="connsiteY2" fmla="*/ 149225 h 149225"/>
                <a:gd name="connsiteX3" fmla="*/ 0 w 149225"/>
                <a:gd name="connsiteY3" fmla="*/ 149225 h 149225"/>
                <a:gd name="connsiteX0" fmla="*/ 149225 w 240665"/>
                <a:gd name="connsiteY0" fmla="*/ 0 h 149225"/>
                <a:gd name="connsiteX1" fmla="*/ 149225 w 240665"/>
                <a:gd name="connsiteY1" fmla="*/ 149225 h 149225"/>
                <a:gd name="connsiteX2" fmla="*/ 0 w 240665"/>
                <a:gd name="connsiteY2" fmla="*/ 149225 h 149225"/>
                <a:gd name="connsiteX3" fmla="*/ 240665 w 240665"/>
                <a:gd name="connsiteY3" fmla="*/ 91440 h 149225"/>
                <a:gd name="connsiteX0" fmla="*/ 149225 w 149225"/>
                <a:gd name="connsiteY0" fmla="*/ 0 h 149225"/>
                <a:gd name="connsiteX1" fmla="*/ 149225 w 149225"/>
                <a:gd name="connsiteY1" fmla="*/ 149225 h 149225"/>
                <a:gd name="connsiteX2" fmla="*/ 0 w 149225"/>
                <a:gd name="connsiteY2" fmla="*/ 149225 h 149225"/>
              </a:gdLst>
              <a:ahLst/>
              <a:cxnLst>
                <a:cxn ang="0">
                  <a:pos x="connsiteX0" y="connsiteY0"/>
                </a:cxn>
                <a:cxn ang="0">
                  <a:pos x="connsiteX1" y="connsiteY1"/>
                </a:cxn>
                <a:cxn ang="0">
                  <a:pos x="connsiteX2" y="connsiteY2"/>
                </a:cxn>
              </a:cxnLst>
              <a:rect l="l" t="t" r="r" b="b"/>
              <a:pathLst>
                <a:path w="149225" h="149225">
                  <a:moveTo>
                    <a:pt x="149225" y="0"/>
                  </a:moveTo>
                  <a:lnTo>
                    <a:pt x="149225" y="149225"/>
                  </a:lnTo>
                  <a:lnTo>
                    <a:pt x="0" y="149225"/>
                  </a:lnTo>
                </a:path>
              </a:pathLst>
            </a:custGeom>
            <a:noFill/>
            <a:ln w="9525" cap="flat" cmpd="sng" algn="ctr">
              <a:solidFill>
                <a:sysClr val="window" lastClr="FFFFFF"/>
              </a:solidFill>
              <a:prstDash val="solid"/>
              <a:miter lim="800000"/>
            </a:ln>
            <a:effectLst/>
          </p:spPr>
          <p:txBody>
            <a:bodyPr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black"/>
                </a:solidFill>
                <a:effectLst/>
                <a:uLnTx/>
                <a:uFillTx/>
                <a:latin typeface="Calibri" panose="020F0502020204030204"/>
                <a:ea typeface="+mn-ea"/>
                <a:cs typeface="+mn-cs"/>
              </a:endParaRPr>
            </a:p>
          </p:txBody>
        </p:sp>
      </p:grpSp>
      <p:sp>
        <p:nvSpPr>
          <p:cNvPr id="24" name="Action Button: Custom 23">
            <a:hlinkClick r:id="" action="ppaction://hlinkshowjump?jump=nextslide" highlightClick="1"/>
            <a:extLst>
              <a:ext uri="{FF2B5EF4-FFF2-40B4-BE49-F238E27FC236}">
                <a16:creationId xmlns:a16="http://schemas.microsoft.com/office/drawing/2014/main" id="{98B416AA-6970-204F-9803-82312AEF99A3}"/>
              </a:ext>
            </a:extLst>
          </p:cNvPr>
          <p:cNvSpPr/>
          <p:nvPr userDrawn="1"/>
        </p:nvSpPr>
        <p:spPr>
          <a:xfrm>
            <a:off x="160546" y="3095627"/>
            <a:ext cx="241211" cy="241211"/>
          </a:xfrm>
          <a:prstGeom prst="actionButtonBlank">
            <a:avLst/>
          </a:prstGeom>
          <a:no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5" name="Action Button: Custom 24">
            <a:hlinkClick r:id="" action="ppaction://hlinkshowjump?jump=previousslide" highlightClick="1"/>
            <a:extLst>
              <a:ext uri="{FF2B5EF4-FFF2-40B4-BE49-F238E27FC236}">
                <a16:creationId xmlns:a16="http://schemas.microsoft.com/office/drawing/2014/main" id="{7A387E38-D922-FA48-996E-C4EBA78D6D4A}"/>
              </a:ext>
            </a:extLst>
          </p:cNvPr>
          <p:cNvSpPr/>
          <p:nvPr userDrawn="1"/>
        </p:nvSpPr>
        <p:spPr>
          <a:xfrm>
            <a:off x="160546" y="3534274"/>
            <a:ext cx="241211" cy="241211"/>
          </a:xfrm>
          <a:prstGeom prst="actionButtonBlank">
            <a:avLst/>
          </a:prstGeom>
          <a:no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6" name="TextBox 5"/>
          <p:cNvSpPr txBox="1"/>
          <p:nvPr userDrawn="1"/>
        </p:nvSpPr>
        <p:spPr>
          <a:xfrm>
            <a:off x="12292" y="7286208"/>
            <a:ext cx="537719" cy="153888"/>
          </a:xfrm>
          <a:prstGeom prst="rect">
            <a:avLst/>
          </a:prstGeom>
          <a:noFill/>
        </p:spPr>
        <p:txBody>
          <a:bodyPr wrap="square" lIns="0" tIns="0" rIns="0" bIns="0" rtlCol="0">
            <a:spAutoFit/>
          </a:bodyPr>
          <a:lstStyle/>
          <a:p>
            <a:pPr algn="ctr" fontAlgn="auto">
              <a:spcBef>
                <a:spcPts val="0"/>
              </a:spcBef>
              <a:spcAft>
                <a:spcPts val="0"/>
              </a:spcAft>
              <a:buClrTx/>
              <a:buSzTx/>
              <a:buFontTx/>
              <a:buNone/>
            </a:pPr>
            <a:fld id="{EE81E157-A1D1-4641-98C5-E5C73AF14974}" type="slidenum">
              <a:rPr lang="en-US" sz="1000" b="1" smtClean="0">
                <a:solidFill>
                  <a:schemeClr val="tx2"/>
                </a:solidFill>
                <a:latin typeface="EYInterstate" panose="02000503020000020004" pitchFamily="2" charset="0"/>
              </a:rPr>
              <a:pPr algn="ctr" fontAlgn="auto">
                <a:spcBef>
                  <a:spcPts val="0"/>
                </a:spcBef>
                <a:spcAft>
                  <a:spcPts val="0"/>
                </a:spcAft>
                <a:buClrTx/>
                <a:buSzTx/>
                <a:buFontTx/>
                <a:buNone/>
              </a:pPr>
              <a:t>‹#›</a:t>
            </a:fld>
            <a:endParaRPr lang="en-US" sz="1000" b="1">
              <a:solidFill>
                <a:schemeClr val="tx2"/>
              </a:solidFill>
              <a:latin typeface="EYInterstate" panose="02000503020000020004" pitchFamily="2" charset="0"/>
            </a:endParaRPr>
          </a:p>
        </p:txBody>
      </p:sp>
    </p:spTree>
    <p:extLst>
      <p:ext uri="{BB962C8B-B14F-4D97-AF65-F5344CB8AC3E}">
        <p14:creationId xmlns:p14="http://schemas.microsoft.com/office/powerpoint/2010/main" val="325768939"/>
      </p:ext>
    </p:extLst>
  </p:cSld>
  <p:clrMap bg1="lt1" tx1="dk1" bg2="lt2" tx2="dk2" accent1="accent1" accent2="accent2" accent3="accent3" accent4="accent4" accent5="accent5" accent6="accent6" hlink="hlink" folHlink="folHlink"/>
  <p:sldLayoutIdLst>
    <p:sldLayoutId id="2147484265" r:id="rId1"/>
    <p:sldLayoutId id="2147484266" r:id="rId2"/>
    <p:sldLayoutId id="2147484267" r:id="rId3"/>
    <p:sldLayoutId id="2147484268" r:id="rId4"/>
    <p:sldLayoutId id="2147484269" r:id="rId5"/>
    <p:sldLayoutId id="2147484270" r:id="rId6"/>
    <p:sldLayoutId id="2147484271" r:id="rId7"/>
  </p:sldLayoutIdLst>
  <p:hf hdr="0" ftr="0" dt="0"/>
  <p:txStyles>
    <p:titleStyle>
      <a:lvl1pPr algn="l" defTabSz="1266737" rtl="0" eaLnBrk="1" latinLnBrk="0" hangingPunct="1">
        <a:lnSpc>
          <a:spcPct val="85000"/>
        </a:lnSpc>
        <a:spcBef>
          <a:spcPct val="0"/>
        </a:spcBef>
        <a:buNone/>
        <a:defRPr sz="2400" b="1" i="0" kern="1200">
          <a:solidFill>
            <a:schemeClr val="bg1"/>
          </a:solidFill>
          <a:latin typeface="EYInterstate" panose="02000503020000020004" pitchFamily="2" charset="0"/>
          <a:ea typeface="+mj-ea"/>
          <a:cs typeface="Arial" pitchFamily="34" charset="0"/>
        </a:defRPr>
      </a:lvl1pPr>
    </p:titleStyle>
    <p:bodyStyle>
      <a:lvl1pPr marL="494029" indent="-494029" algn="l" defTabSz="1266737" rtl="0" eaLnBrk="1" latinLnBrk="0" hangingPunct="1">
        <a:spcBef>
          <a:spcPct val="20000"/>
        </a:spcBef>
        <a:buClr>
          <a:schemeClr val="tx1"/>
        </a:buClr>
        <a:buSzPct val="70000"/>
        <a:buFont typeface="Arial" pitchFamily="34" charset="0"/>
        <a:buChar char="►"/>
        <a:defRPr sz="2493" b="0" i="0" kern="1200">
          <a:solidFill>
            <a:schemeClr val="bg1"/>
          </a:solidFill>
          <a:latin typeface="EYInterstate Light" panose="02000506000000020004" pitchFamily="2" charset="0"/>
          <a:ea typeface="+mn-ea"/>
          <a:cs typeface="+mn-cs"/>
        </a:defRPr>
      </a:lvl1pPr>
      <a:lvl2pPr marL="988054" indent="-494029" algn="l" defTabSz="1266737" rtl="0" eaLnBrk="1" latinLnBrk="0" hangingPunct="1">
        <a:spcBef>
          <a:spcPct val="20000"/>
        </a:spcBef>
        <a:buClr>
          <a:schemeClr val="tx1"/>
        </a:buClr>
        <a:buSzPct val="70000"/>
        <a:buFont typeface="Arial" pitchFamily="34" charset="0"/>
        <a:buChar char="►"/>
        <a:defRPr sz="2000" b="0" i="0" kern="1200">
          <a:solidFill>
            <a:schemeClr val="bg1"/>
          </a:solidFill>
          <a:latin typeface="EYInterstate Light" panose="02000506000000020004" pitchFamily="2" charset="0"/>
          <a:ea typeface="+mn-ea"/>
          <a:cs typeface="+mn-cs"/>
        </a:defRPr>
      </a:lvl2pPr>
      <a:lvl3pPr marL="1482083" indent="-494029" algn="l" defTabSz="1266737" rtl="0" eaLnBrk="1" latinLnBrk="0" hangingPunct="1">
        <a:spcBef>
          <a:spcPct val="20000"/>
        </a:spcBef>
        <a:buClr>
          <a:schemeClr val="tx1"/>
        </a:buClr>
        <a:buSzPct val="70000"/>
        <a:buFont typeface="Arial" pitchFamily="34" charset="0"/>
        <a:buChar char="►"/>
        <a:defRPr sz="1800" b="0" i="0" kern="1200">
          <a:solidFill>
            <a:schemeClr val="bg1"/>
          </a:solidFill>
          <a:latin typeface="EYInterstate Light" panose="02000506000000020004" pitchFamily="2" charset="0"/>
          <a:ea typeface="+mn-ea"/>
          <a:cs typeface="+mn-cs"/>
        </a:defRPr>
      </a:lvl3pPr>
      <a:lvl4pPr marL="1976110" indent="-494029" algn="l" defTabSz="1266737" rtl="0" eaLnBrk="1" latinLnBrk="0" hangingPunct="1">
        <a:spcBef>
          <a:spcPct val="20000"/>
        </a:spcBef>
        <a:buClr>
          <a:schemeClr val="tx1"/>
        </a:buClr>
        <a:buSzPct val="70000"/>
        <a:buFont typeface="Arial" pitchFamily="34" charset="0"/>
        <a:buChar char="►"/>
        <a:defRPr sz="1600" b="0" i="0" kern="1200">
          <a:solidFill>
            <a:schemeClr val="bg1"/>
          </a:solidFill>
          <a:latin typeface="EYInterstate Light" panose="02000506000000020004" pitchFamily="2" charset="0"/>
          <a:ea typeface="+mn-ea"/>
          <a:cs typeface="+mn-cs"/>
        </a:defRPr>
      </a:lvl4pPr>
      <a:lvl5pPr marL="2470136" indent="-494029" algn="l" defTabSz="1266737" rtl="0" eaLnBrk="1" latinLnBrk="0" hangingPunct="1">
        <a:spcBef>
          <a:spcPct val="20000"/>
        </a:spcBef>
        <a:buClr>
          <a:schemeClr val="tx1"/>
        </a:buClr>
        <a:buSzPct val="70000"/>
        <a:buFont typeface="Arial" pitchFamily="34" charset="0"/>
        <a:buChar char="►"/>
        <a:defRPr sz="1400" b="0" i="0" kern="1200">
          <a:solidFill>
            <a:schemeClr val="bg1"/>
          </a:solidFill>
          <a:latin typeface="EYInterstate Light" panose="02000506000000020004" pitchFamily="2" charset="0"/>
          <a:ea typeface="+mn-ea"/>
          <a:cs typeface="+mn-cs"/>
        </a:defRPr>
      </a:lvl5pPr>
      <a:lvl6pPr marL="3483527" indent="-316685" algn="l" defTabSz="1266737" rtl="0" eaLnBrk="1" latinLnBrk="0" hangingPunct="1">
        <a:spcBef>
          <a:spcPct val="20000"/>
        </a:spcBef>
        <a:buFont typeface="Arial" pitchFamily="34" charset="0"/>
        <a:buChar char="•"/>
        <a:defRPr sz="2771" kern="1200">
          <a:solidFill>
            <a:schemeClr val="tx1"/>
          </a:solidFill>
          <a:latin typeface="+mn-lt"/>
          <a:ea typeface="+mn-ea"/>
          <a:cs typeface="+mn-cs"/>
        </a:defRPr>
      </a:lvl6pPr>
      <a:lvl7pPr marL="4116896" indent="-316685" algn="l" defTabSz="1266737" rtl="0" eaLnBrk="1" latinLnBrk="0" hangingPunct="1">
        <a:spcBef>
          <a:spcPct val="20000"/>
        </a:spcBef>
        <a:buFont typeface="Arial" pitchFamily="34" charset="0"/>
        <a:buChar char="•"/>
        <a:defRPr sz="2771" kern="1200">
          <a:solidFill>
            <a:schemeClr val="tx1"/>
          </a:solidFill>
          <a:latin typeface="+mn-lt"/>
          <a:ea typeface="+mn-ea"/>
          <a:cs typeface="+mn-cs"/>
        </a:defRPr>
      </a:lvl7pPr>
      <a:lvl8pPr marL="4750266" indent="-316685" algn="l" defTabSz="1266737" rtl="0" eaLnBrk="1" latinLnBrk="0" hangingPunct="1">
        <a:spcBef>
          <a:spcPct val="20000"/>
        </a:spcBef>
        <a:buFont typeface="Arial" pitchFamily="34" charset="0"/>
        <a:buChar char="•"/>
        <a:defRPr sz="2771" kern="1200">
          <a:solidFill>
            <a:schemeClr val="tx1"/>
          </a:solidFill>
          <a:latin typeface="+mn-lt"/>
          <a:ea typeface="+mn-ea"/>
          <a:cs typeface="+mn-cs"/>
        </a:defRPr>
      </a:lvl8pPr>
      <a:lvl9pPr marL="5383632" indent="-316685" algn="l" defTabSz="1266737" rtl="0" eaLnBrk="1" latinLnBrk="0" hangingPunct="1">
        <a:spcBef>
          <a:spcPct val="20000"/>
        </a:spcBef>
        <a:buFont typeface="Arial" pitchFamily="34" charset="0"/>
        <a:buChar char="•"/>
        <a:defRPr sz="2771" kern="1200">
          <a:solidFill>
            <a:schemeClr val="tx1"/>
          </a:solidFill>
          <a:latin typeface="+mn-lt"/>
          <a:ea typeface="+mn-ea"/>
          <a:cs typeface="+mn-cs"/>
        </a:defRPr>
      </a:lvl9pPr>
    </p:bodyStyle>
    <p:otherStyle>
      <a:defPPr>
        <a:defRPr lang="en-US"/>
      </a:defPPr>
      <a:lvl1pPr marL="0" algn="l" defTabSz="1266737" rtl="0" eaLnBrk="1" latinLnBrk="0" hangingPunct="1">
        <a:defRPr sz="2493" kern="1200">
          <a:solidFill>
            <a:schemeClr val="tx1"/>
          </a:solidFill>
          <a:latin typeface="+mn-lt"/>
          <a:ea typeface="+mn-ea"/>
          <a:cs typeface="+mn-cs"/>
        </a:defRPr>
      </a:lvl1pPr>
      <a:lvl2pPr marL="633367" algn="l" defTabSz="1266737" rtl="0" eaLnBrk="1" latinLnBrk="0" hangingPunct="1">
        <a:defRPr sz="2493" kern="1200">
          <a:solidFill>
            <a:schemeClr val="tx1"/>
          </a:solidFill>
          <a:latin typeface="+mn-lt"/>
          <a:ea typeface="+mn-ea"/>
          <a:cs typeface="+mn-cs"/>
        </a:defRPr>
      </a:lvl2pPr>
      <a:lvl3pPr marL="1266737" algn="l" defTabSz="1266737" rtl="0" eaLnBrk="1" latinLnBrk="0" hangingPunct="1">
        <a:defRPr sz="2493" kern="1200">
          <a:solidFill>
            <a:schemeClr val="tx1"/>
          </a:solidFill>
          <a:latin typeface="+mn-lt"/>
          <a:ea typeface="+mn-ea"/>
          <a:cs typeface="+mn-cs"/>
        </a:defRPr>
      </a:lvl3pPr>
      <a:lvl4pPr marL="1900106" algn="l" defTabSz="1266737" rtl="0" eaLnBrk="1" latinLnBrk="0" hangingPunct="1">
        <a:defRPr sz="2493" kern="1200">
          <a:solidFill>
            <a:schemeClr val="tx1"/>
          </a:solidFill>
          <a:latin typeface="+mn-lt"/>
          <a:ea typeface="+mn-ea"/>
          <a:cs typeface="+mn-cs"/>
        </a:defRPr>
      </a:lvl4pPr>
      <a:lvl5pPr marL="2533476" algn="l" defTabSz="1266737" rtl="0" eaLnBrk="1" latinLnBrk="0" hangingPunct="1">
        <a:defRPr sz="2493" kern="1200">
          <a:solidFill>
            <a:schemeClr val="tx1"/>
          </a:solidFill>
          <a:latin typeface="+mn-lt"/>
          <a:ea typeface="+mn-ea"/>
          <a:cs typeface="+mn-cs"/>
        </a:defRPr>
      </a:lvl5pPr>
      <a:lvl6pPr marL="3166843" algn="l" defTabSz="1266737" rtl="0" eaLnBrk="1" latinLnBrk="0" hangingPunct="1">
        <a:defRPr sz="2493" kern="1200">
          <a:solidFill>
            <a:schemeClr val="tx1"/>
          </a:solidFill>
          <a:latin typeface="+mn-lt"/>
          <a:ea typeface="+mn-ea"/>
          <a:cs typeface="+mn-cs"/>
        </a:defRPr>
      </a:lvl6pPr>
      <a:lvl7pPr marL="3800210" algn="l" defTabSz="1266737" rtl="0" eaLnBrk="1" latinLnBrk="0" hangingPunct="1">
        <a:defRPr sz="2493" kern="1200">
          <a:solidFill>
            <a:schemeClr val="tx1"/>
          </a:solidFill>
          <a:latin typeface="+mn-lt"/>
          <a:ea typeface="+mn-ea"/>
          <a:cs typeface="+mn-cs"/>
        </a:defRPr>
      </a:lvl7pPr>
      <a:lvl8pPr marL="4433580" algn="l" defTabSz="1266737" rtl="0" eaLnBrk="1" latinLnBrk="0" hangingPunct="1">
        <a:defRPr sz="2493" kern="1200">
          <a:solidFill>
            <a:schemeClr val="tx1"/>
          </a:solidFill>
          <a:latin typeface="+mn-lt"/>
          <a:ea typeface="+mn-ea"/>
          <a:cs typeface="+mn-cs"/>
        </a:defRPr>
      </a:lvl8pPr>
      <a:lvl9pPr marL="5066947" algn="l" defTabSz="1266737" rtl="0" eaLnBrk="1" latinLnBrk="0" hangingPunct="1">
        <a:defRPr sz="2493"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0"/>
            </p:custDataLst>
            <p:extLst>
              <p:ext uri="{D42A27DB-BD31-4B8C-83A1-F6EECF244321}">
                <p14:modId xmlns:p14="http://schemas.microsoft.com/office/powerpoint/2010/main" val="1494937375"/>
              </p:ext>
            </p:extLst>
          </p:nvPr>
        </p:nvGraphicFramePr>
        <p:xfrm>
          <a:off x="1588" y="1589"/>
          <a:ext cx="1588" cy="1587"/>
        </p:xfrm>
        <a:graphic>
          <a:graphicData uri="http://schemas.openxmlformats.org/presentationml/2006/ole">
            <mc:AlternateContent xmlns:mc="http://schemas.openxmlformats.org/markup-compatibility/2006">
              <mc:Choice xmlns:v="urn:schemas-microsoft-com:vml" Requires="v">
                <p:oleObj spid="_x0000_s35842" name="think-cell Slide" r:id="rId12" imgW="216" imgH="216" progId="TCLayout.ActiveDocument.1">
                  <p:embed/>
                </p:oleObj>
              </mc:Choice>
              <mc:Fallback>
                <p:oleObj name="think-cell Slide" r:id="rId12" imgW="216" imgH="216" progId="TCLayout.ActiveDocument.1">
                  <p:embed/>
                  <p:pic>
                    <p:nvPicPr>
                      <p:cNvPr id="4" name="Object 3" hidden="1"/>
                      <p:cNvPicPr/>
                      <p:nvPr/>
                    </p:nvPicPr>
                    <p:blipFill>
                      <a:blip r:embed="rId13"/>
                      <a:stretch>
                        <a:fillRect/>
                      </a:stretch>
                    </p:blipFill>
                    <p:spPr>
                      <a:xfrm>
                        <a:off x="1588" y="1589"/>
                        <a:ext cx="1588"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D35BBD6-19BF-40F9-86FB-45632A655647}"/>
              </a:ext>
            </a:extLst>
          </p:cNvPr>
          <p:cNvSpPr/>
          <p:nvPr userDrawn="1">
            <p:custDataLst>
              <p:tags r:id="rId11"/>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eaLnBrk="1">
              <a:lnSpc>
                <a:spcPct val="85000"/>
              </a:lnSpc>
              <a:spcBef>
                <a:spcPct val="0"/>
              </a:spcBef>
              <a:spcAft>
                <a:spcPct val="0"/>
              </a:spcAft>
            </a:pPr>
            <a:endParaRPr lang="en-US" sz="2400" b="1" i="0" baseline="0">
              <a:solidFill>
                <a:schemeClr val="tx1"/>
              </a:solidFill>
              <a:latin typeface="EYInterstate" panose="02000503020000020004" pitchFamily="2" charset="0"/>
              <a:ea typeface="+mj-ea"/>
              <a:cs typeface="Arial" panose="020B0604020202020204" pitchFamily="34" charset="0"/>
              <a:sym typeface="EYInterstate" panose="02000503020000020004" pitchFamily="2" charset="0"/>
            </a:endParaRPr>
          </a:p>
        </p:txBody>
      </p:sp>
      <p:sp>
        <p:nvSpPr>
          <p:cNvPr id="2" name="Title Placeholder 1"/>
          <p:cNvSpPr>
            <a:spLocks noGrp="1"/>
          </p:cNvSpPr>
          <p:nvPr>
            <p:ph type="title"/>
          </p:nvPr>
        </p:nvSpPr>
        <p:spPr>
          <a:xfrm>
            <a:off x="943904" y="609597"/>
            <a:ext cx="11700000" cy="739984"/>
          </a:xfrm>
          <a:prstGeom prst="rect">
            <a:avLst/>
          </a:prstGeom>
        </p:spPr>
        <p:txBody>
          <a:bodyPr vert="horz" lIns="0" tIns="0" rIns="0" bIns="0" rtlCol="0" anchor="t" anchorCtr="0">
            <a:noAutofit/>
          </a:bodyPr>
          <a:lstStyle/>
          <a:p>
            <a:r>
              <a:rPr lang="en-US"/>
              <a:t>CLICK TO EDIT MASTER TITLE STYLE</a:t>
            </a:r>
            <a:endParaRPr lang="en-GB"/>
          </a:p>
        </p:txBody>
      </p:sp>
      <p:sp>
        <p:nvSpPr>
          <p:cNvPr id="3" name="Text Placeholder 2"/>
          <p:cNvSpPr>
            <a:spLocks noGrp="1"/>
          </p:cNvSpPr>
          <p:nvPr>
            <p:ph type="body" idx="1"/>
          </p:nvPr>
        </p:nvSpPr>
        <p:spPr>
          <a:xfrm>
            <a:off x="943904" y="1571790"/>
            <a:ext cx="11700000" cy="5181986"/>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Rectangle 12">
            <a:extLst>
              <a:ext uri="{FF2B5EF4-FFF2-40B4-BE49-F238E27FC236}">
                <a16:creationId xmlns:a16="http://schemas.microsoft.com/office/drawing/2014/main" id="{3A839B15-81E6-9045-B604-CB27BBC1C908}"/>
              </a:ext>
            </a:extLst>
          </p:cNvPr>
          <p:cNvSpPr/>
          <p:nvPr userDrawn="1"/>
        </p:nvSpPr>
        <p:spPr>
          <a:xfrm>
            <a:off x="943904" y="428151"/>
            <a:ext cx="1260000" cy="72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object 3">
            <a:extLst>
              <a:ext uri="{FF2B5EF4-FFF2-40B4-BE49-F238E27FC236}">
                <a16:creationId xmlns:a16="http://schemas.microsoft.com/office/drawing/2014/main" id="{FBEC6C36-7DE3-C04D-8FC3-90CFCCD3E4A9}"/>
              </a:ext>
            </a:extLst>
          </p:cNvPr>
          <p:cNvSpPr/>
          <p:nvPr userDrawn="1"/>
        </p:nvSpPr>
        <p:spPr>
          <a:xfrm>
            <a:off x="-5625" y="16"/>
            <a:ext cx="573553" cy="7561247"/>
          </a:xfrm>
          <a:custGeom>
            <a:avLst/>
            <a:gdLst/>
            <a:ahLst/>
            <a:cxnLst/>
            <a:rect l="l" t="t" r="r" b="b"/>
            <a:pathLst>
              <a:path w="5076190" h="7560309">
                <a:moveTo>
                  <a:pt x="0" y="7559992"/>
                </a:moveTo>
                <a:lnTo>
                  <a:pt x="5075999" y="7559992"/>
                </a:lnTo>
                <a:lnTo>
                  <a:pt x="5075999" y="0"/>
                </a:lnTo>
                <a:lnTo>
                  <a:pt x="0" y="0"/>
                </a:lnTo>
                <a:lnTo>
                  <a:pt x="0" y="7559992"/>
                </a:lnTo>
                <a:close/>
              </a:path>
            </a:pathLst>
          </a:custGeom>
          <a:solidFill>
            <a:schemeClr val="tx1"/>
          </a:solidFill>
        </p:spPr>
        <p:txBody>
          <a:bodyPr wrap="square" lIns="0" tIns="0" rIns="0" bIns="0" rtlCol="0"/>
          <a:lstStyle/>
          <a:p>
            <a:pPr algn="ctr"/>
            <a:endParaRPr>
              <a:solidFill>
                <a:prstClr val="black"/>
              </a:solidFill>
              <a:latin typeface="Calibri" panose="020F0502020204030204"/>
            </a:endParaRPr>
          </a:p>
        </p:txBody>
      </p:sp>
      <p:sp>
        <p:nvSpPr>
          <p:cNvPr id="12" name="object 14">
            <a:extLst>
              <a:ext uri="{FF2B5EF4-FFF2-40B4-BE49-F238E27FC236}">
                <a16:creationId xmlns:a16="http://schemas.microsoft.com/office/drawing/2014/main" id="{3D19E29C-B81E-B848-A185-3911687868CA}"/>
              </a:ext>
            </a:extLst>
          </p:cNvPr>
          <p:cNvSpPr/>
          <p:nvPr userDrawn="1"/>
        </p:nvSpPr>
        <p:spPr>
          <a:xfrm>
            <a:off x="146531" y="398406"/>
            <a:ext cx="269240" cy="98425"/>
          </a:xfrm>
          <a:custGeom>
            <a:avLst/>
            <a:gdLst/>
            <a:ahLst/>
            <a:cxnLst/>
            <a:rect l="l" t="t" r="r" b="b"/>
            <a:pathLst>
              <a:path w="269240" h="98425">
                <a:moveTo>
                  <a:pt x="269227" y="0"/>
                </a:moveTo>
                <a:lnTo>
                  <a:pt x="0" y="98247"/>
                </a:lnTo>
                <a:lnTo>
                  <a:pt x="269227" y="50698"/>
                </a:lnTo>
                <a:lnTo>
                  <a:pt x="269227" y="0"/>
                </a:lnTo>
                <a:close/>
              </a:path>
            </a:pathLst>
          </a:custGeom>
          <a:solidFill>
            <a:srgbClr val="FFD400"/>
          </a:solidFill>
        </p:spPr>
        <p:txBody>
          <a:bodyPr wrap="square" lIns="0" tIns="0" rIns="0" bIns="0" rtlCol="0"/>
          <a:lstStyle/>
          <a:p>
            <a:pPr algn="ctr"/>
            <a:endParaRPr>
              <a:solidFill>
                <a:prstClr val="black"/>
              </a:solidFill>
              <a:latin typeface="Calibri" panose="020F0502020204030204"/>
            </a:endParaRPr>
          </a:p>
        </p:txBody>
      </p:sp>
      <p:sp>
        <p:nvSpPr>
          <p:cNvPr id="14" name="object 15">
            <a:extLst>
              <a:ext uri="{FF2B5EF4-FFF2-40B4-BE49-F238E27FC236}">
                <a16:creationId xmlns:a16="http://schemas.microsoft.com/office/drawing/2014/main" id="{5DE69E7C-24A8-2346-869B-1BCBC7E6C6C0}"/>
              </a:ext>
            </a:extLst>
          </p:cNvPr>
          <p:cNvSpPr/>
          <p:nvPr userDrawn="1"/>
        </p:nvSpPr>
        <p:spPr>
          <a:xfrm>
            <a:off x="168134" y="537502"/>
            <a:ext cx="226034" cy="136194"/>
          </a:xfrm>
          <a:prstGeom prst="rect">
            <a:avLst/>
          </a:prstGeom>
          <a:blipFill>
            <a:blip r:embed="rId14" cstate="print"/>
            <a:stretch>
              <a:fillRect/>
            </a:stretch>
          </a:blipFill>
        </p:spPr>
        <p:txBody>
          <a:bodyPr wrap="square" lIns="0" tIns="0" rIns="0" bIns="0" rtlCol="0"/>
          <a:lstStyle/>
          <a:p>
            <a:pPr algn="ctr"/>
            <a:endParaRPr>
              <a:solidFill>
                <a:prstClr val="black"/>
              </a:solidFill>
              <a:latin typeface="Calibri" panose="020F0502020204030204"/>
            </a:endParaRPr>
          </a:p>
        </p:txBody>
      </p:sp>
      <p:grpSp>
        <p:nvGrpSpPr>
          <p:cNvPr id="16" name="Group 15">
            <a:extLst>
              <a:ext uri="{FF2B5EF4-FFF2-40B4-BE49-F238E27FC236}">
                <a16:creationId xmlns:a16="http://schemas.microsoft.com/office/drawing/2014/main" id="{0726C71A-D368-B041-8BD9-4D61AA84A144}"/>
              </a:ext>
            </a:extLst>
          </p:cNvPr>
          <p:cNvGrpSpPr/>
          <p:nvPr userDrawn="1"/>
        </p:nvGrpSpPr>
        <p:grpSpPr>
          <a:xfrm>
            <a:off x="173642" y="3095627"/>
            <a:ext cx="215019" cy="215019"/>
            <a:chOff x="147828" y="2915202"/>
            <a:chExt cx="215019" cy="215019"/>
          </a:xfrm>
        </p:grpSpPr>
        <p:sp>
          <p:nvSpPr>
            <p:cNvPr id="17" name="Oval 16">
              <a:extLst>
                <a:ext uri="{FF2B5EF4-FFF2-40B4-BE49-F238E27FC236}">
                  <a16:creationId xmlns:a16="http://schemas.microsoft.com/office/drawing/2014/main" id="{0207DA1F-1F9C-294D-97C4-C0A6F616599E}"/>
                </a:ext>
              </a:extLst>
            </p:cNvPr>
            <p:cNvSpPr/>
            <p:nvPr/>
          </p:nvSpPr>
          <p:spPr>
            <a:xfrm>
              <a:off x="147828" y="2915202"/>
              <a:ext cx="215019" cy="215019"/>
            </a:xfrm>
            <a:prstGeom prst="ellipse">
              <a:avLst/>
            </a:prstGeom>
            <a:noFill/>
            <a:ln w="9525" cap="flat" cmpd="sng" algn="ctr">
              <a:solidFill>
                <a:sysClr val="window" lastClr="FFFFFF"/>
              </a:solidFill>
              <a:prstDash val="solid"/>
              <a:miter lim="800000"/>
            </a:ln>
            <a:effectLst/>
          </p:spPr>
          <p:txBody>
            <a:bodyPr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black"/>
                </a:solidFill>
                <a:effectLst/>
                <a:uLnTx/>
                <a:uFillTx/>
                <a:latin typeface="Calibri" panose="020F0502020204030204"/>
                <a:ea typeface="+mn-ea"/>
                <a:cs typeface="+mn-cs"/>
              </a:endParaRPr>
            </a:p>
          </p:txBody>
        </p:sp>
        <p:cxnSp>
          <p:nvCxnSpPr>
            <p:cNvPr id="18" name="Straight Connector 17">
              <a:extLst>
                <a:ext uri="{FF2B5EF4-FFF2-40B4-BE49-F238E27FC236}">
                  <a16:creationId xmlns:a16="http://schemas.microsoft.com/office/drawing/2014/main" id="{CECE0C06-22D8-A04F-B592-79AFD6202C26}"/>
                </a:ext>
              </a:extLst>
            </p:cNvPr>
            <p:cNvCxnSpPr/>
            <p:nvPr/>
          </p:nvCxnSpPr>
          <p:spPr>
            <a:xfrm>
              <a:off x="193425" y="3022711"/>
              <a:ext cx="123825" cy="0"/>
            </a:xfrm>
            <a:prstGeom prst="line">
              <a:avLst/>
            </a:prstGeom>
            <a:noFill/>
            <a:ln w="9525" cap="flat" cmpd="sng" algn="ctr">
              <a:solidFill>
                <a:sysClr val="window" lastClr="FFFFFF"/>
              </a:solidFill>
              <a:prstDash val="solid"/>
              <a:miter lim="800000"/>
              <a:tailEnd type="none"/>
            </a:ln>
            <a:effectLst/>
          </p:spPr>
        </p:cxnSp>
        <p:sp>
          <p:nvSpPr>
            <p:cNvPr id="19" name="Rectangle 11">
              <a:extLst>
                <a:ext uri="{FF2B5EF4-FFF2-40B4-BE49-F238E27FC236}">
                  <a16:creationId xmlns:a16="http://schemas.microsoft.com/office/drawing/2014/main" id="{7A5DEC11-2762-9548-A7CB-2D7CAD730DF7}"/>
                </a:ext>
              </a:extLst>
            </p:cNvPr>
            <p:cNvSpPr/>
            <p:nvPr/>
          </p:nvSpPr>
          <p:spPr>
            <a:xfrm rot="18900000">
              <a:off x="231586" y="2987228"/>
              <a:ext cx="70967" cy="70967"/>
            </a:xfrm>
            <a:custGeom>
              <a:avLst/>
              <a:gdLst>
                <a:gd name="connsiteX0" fmla="*/ 0 w 149225"/>
                <a:gd name="connsiteY0" fmla="*/ 0 h 149225"/>
                <a:gd name="connsiteX1" fmla="*/ 149225 w 149225"/>
                <a:gd name="connsiteY1" fmla="*/ 0 h 149225"/>
                <a:gd name="connsiteX2" fmla="*/ 149225 w 149225"/>
                <a:gd name="connsiteY2" fmla="*/ 149225 h 149225"/>
                <a:gd name="connsiteX3" fmla="*/ 0 w 149225"/>
                <a:gd name="connsiteY3" fmla="*/ 149225 h 149225"/>
                <a:gd name="connsiteX4" fmla="*/ 0 w 149225"/>
                <a:gd name="connsiteY4" fmla="*/ 0 h 149225"/>
                <a:gd name="connsiteX0" fmla="*/ 0 w 149225"/>
                <a:gd name="connsiteY0" fmla="*/ 149225 h 149225"/>
                <a:gd name="connsiteX1" fmla="*/ 149225 w 149225"/>
                <a:gd name="connsiteY1" fmla="*/ 0 h 149225"/>
                <a:gd name="connsiteX2" fmla="*/ 149225 w 149225"/>
                <a:gd name="connsiteY2" fmla="*/ 149225 h 149225"/>
                <a:gd name="connsiteX3" fmla="*/ 0 w 149225"/>
                <a:gd name="connsiteY3" fmla="*/ 149225 h 149225"/>
                <a:gd name="connsiteX0" fmla="*/ 149225 w 240665"/>
                <a:gd name="connsiteY0" fmla="*/ 0 h 149225"/>
                <a:gd name="connsiteX1" fmla="*/ 149225 w 240665"/>
                <a:gd name="connsiteY1" fmla="*/ 149225 h 149225"/>
                <a:gd name="connsiteX2" fmla="*/ 0 w 240665"/>
                <a:gd name="connsiteY2" fmla="*/ 149225 h 149225"/>
                <a:gd name="connsiteX3" fmla="*/ 240665 w 240665"/>
                <a:gd name="connsiteY3" fmla="*/ 91440 h 149225"/>
                <a:gd name="connsiteX0" fmla="*/ 149225 w 149225"/>
                <a:gd name="connsiteY0" fmla="*/ 0 h 149225"/>
                <a:gd name="connsiteX1" fmla="*/ 149225 w 149225"/>
                <a:gd name="connsiteY1" fmla="*/ 149225 h 149225"/>
                <a:gd name="connsiteX2" fmla="*/ 0 w 149225"/>
                <a:gd name="connsiteY2" fmla="*/ 149225 h 149225"/>
              </a:gdLst>
              <a:ahLst/>
              <a:cxnLst>
                <a:cxn ang="0">
                  <a:pos x="connsiteX0" y="connsiteY0"/>
                </a:cxn>
                <a:cxn ang="0">
                  <a:pos x="connsiteX1" y="connsiteY1"/>
                </a:cxn>
                <a:cxn ang="0">
                  <a:pos x="connsiteX2" y="connsiteY2"/>
                </a:cxn>
              </a:cxnLst>
              <a:rect l="l" t="t" r="r" b="b"/>
              <a:pathLst>
                <a:path w="149225" h="149225">
                  <a:moveTo>
                    <a:pt x="149225" y="0"/>
                  </a:moveTo>
                  <a:lnTo>
                    <a:pt x="149225" y="149225"/>
                  </a:lnTo>
                  <a:lnTo>
                    <a:pt x="0" y="149225"/>
                  </a:lnTo>
                </a:path>
              </a:pathLst>
            </a:custGeom>
            <a:noFill/>
            <a:ln w="9525" cap="flat" cmpd="sng" algn="ctr">
              <a:solidFill>
                <a:sysClr val="window" lastClr="FFFFFF"/>
              </a:solidFill>
              <a:prstDash val="solid"/>
              <a:miter lim="800000"/>
            </a:ln>
            <a:effectLst/>
          </p:spPr>
          <p:txBody>
            <a:bodyPr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black"/>
                </a:solidFill>
                <a:effectLst/>
                <a:uLnTx/>
                <a:uFillTx/>
                <a:latin typeface="Calibri" panose="020F0502020204030204"/>
                <a:ea typeface="+mn-ea"/>
                <a:cs typeface="+mn-cs"/>
              </a:endParaRPr>
            </a:p>
          </p:txBody>
        </p:sp>
      </p:grpSp>
      <p:grpSp>
        <p:nvGrpSpPr>
          <p:cNvPr id="20" name="Group 19">
            <a:extLst>
              <a:ext uri="{FF2B5EF4-FFF2-40B4-BE49-F238E27FC236}">
                <a16:creationId xmlns:a16="http://schemas.microsoft.com/office/drawing/2014/main" id="{30844FBE-FCA0-234D-A1A0-DEEB814F56F7}"/>
              </a:ext>
            </a:extLst>
          </p:cNvPr>
          <p:cNvGrpSpPr/>
          <p:nvPr userDrawn="1"/>
        </p:nvGrpSpPr>
        <p:grpSpPr>
          <a:xfrm rot="10800000">
            <a:off x="173642" y="3547371"/>
            <a:ext cx="215019" cy="215019"/>
            <a:chOff x="5758249" y="7128479"/>
            <a:chExt cx="215019" cy="215019"/>
          </a:xfrm>
        </p:grpSpPr>
        <p:sp>
          <p:nvSpPr>
            <p:cNvPr id="21" name="Oval 20">
              <a:extLst>
                <a:ext uri="{FF2B5EF4-FFF2-40B4-BE49-F238E27FC236}">
                  <a16:creationId xmlns:a16="http://schemas.microsoft.com/office/drawing/2014/main" id="{A3BB17A6-DFE2-3F48-94A5-1488E1D6457D}"/>
                </a:ext>
              </a:extLst>
            </p:cNvPr>
            <p:cNvSpPr/>
            <p:nvPr/>
          </p:nvSpPr>
          <p:spPr>
            <a:xfrm>
              <a:off x="5758249" y="7128479"/>
              <a:ext cx="215019" cy="215019"/>
            </a:xfrm>
            <a:prstGeom prst="ellipse">
              <a:avLst/>
            </a:prstGeom>
            <a:noFill/>
            <a:ln w="9525" cap="flat" cmpd="sng" algn="ctr">
              <a:solidFill>
                <a:sysClr val="window" lastClr="FFFFFF"/>
              </a:solidFill>
              <a:prstDash val="solid"/>
              <a:miter lim="800000"/>
            </a:ln>
            <a:effectLst/>
          </p:spPr>
          <p:txBody>
            <a:bodyPr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black"/>
                </a:solidFill>
                <a:effectLst/>
                <a:uLnTx/>
                <a:uFillTx/>
                <a:latin typeface="Calibri" panose="020F0502020204030204"/>
                <a:ea typeface="+mn-ea"/>
                <a:cs typeface="+mn-cs"/>
              </a:endParaRPr>
            </a:p>
          </p:txBody>
        </p:sp>
        <p:cxnSp>
          <p:nvCxnSpPr>
            <p:cNvPr id="22" name="Straight Connector 21">
              <a:extLst>
                <a:ext uri="{FF2B5EF4-FFF2-40B4-BE49-F238E27FC236}">
                  <a16:creationId xmlns:a16="http://schemas.microsoft.com/office/drawing/2014/main" id="{7035876D-E7CD-8C41-8052-10A7CFE3A66B}"/>
                </a:ext>
              </a:extLst>
            </p:cNvPr>
            <p:cNvCxnSpPr/>
            <p:nvPr/>
          </p:nvCxnSpPr>
          <p:spPr>
            <a:xfrm>
              <a:off x="5803846" y="7235988"/>
              <a:ext cx="123825" cy="0"/>
            </a:xfrm>
            <a:prstGeom prst="line">
              <a:avLst/>
            </a:prstGeom>
            <a:noFill/>
            <a:ln w="9525" cap="flat" cmpd="sng" algn="ctr">
              <a:solidFill>
                <a:sysClr val="window" lastClr="FFFFFF"/>
              </a:solidFill>
              <a:prstDash val="solid"/>
              <a:miter lim="800000"/>
              <a:tailEnd type="none"/>
            </a:ln>
            <a:effectLst/>
          </p:spPr>
        </p:cxnSp>
        <p:sp>
          <p:nvSpPr>
            <p:cNvPr id="23" name="Rectangle 11">
              <a:extLst>
                <a:ext uri="{FF2B5EF4-FFF2-40B4-BE49-F238E27FC236}">
                  <a16:creationId xmlns:a16="http://schemas.microsoft.com/office/drawing/2014/main" id="{4094B3D7-0406-A540-8445-9B565193A9AC}"/>
                </a:ext>
              </a:extLst>
            </p:cNvPr>
            <p:cNvSpPr/>
            <p:nvPr/>
          </p:nvSpPr>
          <p:spPr>
            <a:xfrm rot="18900000">
              <a:off x="5842007" y="7200505"/>
              <a:ext cx="70967" cy="70967"/>
            </a:xfrm>
            <a:custGeom>
              <a:avLst/>
              <a:gdLst>
                <a:gd name="connsiteX0" fmla="*/ 0 w 149225"/>
                <a:gd name="connsiteY0" fmla="*/ 0 h 149225"/>
                <a:gd name="connsiteX1" fmla="*/ 149225 w 149225"/>
                <a:gd name="connsiteY1" fmla="*/ 0 h 149225"/>
                <a:gd name="connsiteX2" fmla="*/ 149225 w 149225"/>
                <a:gd name="connsiteY2" fmla="*/ 149225 h 149225"/>
                <a:gd name="connsiteX3" fmla="*/ 0 w 149225"/>
                <a:gd name="connsiteY3" fmla="*/ 149225 h 149225"/>
                <a:gd name="connsiteX4" fmla="*/ 0 w 149225"/>
                <a:gd name="connsiteY4" fmla="*/ 0 h 149225"/>
                <a:gd name="connsiteX0" fmla="*/ 0 w 149225"/>
                <a:gd name="connsiteY0" fmla="*/ 149225 h 149225"/>
                <a:gd name="connsiteX1" fmla="*/ 149225 w 149225"/>
                <a:gd name="connsiteY1" fmla="*/ 0 h 149225"/>
                <a:gd name="connsiteX2" fmla="*/ 149225 w 149225"/>
                <a:gd name="connsiteY2" fmla="*/ 149225 h 149225"/>
                <a:gd name="connsiteX3" fmla="*/ 0 w 149225"/>
                <a:gd name="connsiteY3" fmla="*/ 149225 h 149225"/>
                <a:gd name="connsiteX0" fmla="*/ 149225 w 240665"/>
                <a:gd name="connsiteY0" fmla="*/ 0 h 149225"/>
                <a:gd name="connsiteX1" fmla="*/ 149225 w 240665"/>
                <a:gd name="connsiteY1" fmla="*/ 149225 h 149225"/>
                <a:gd name="connsiteX2" fmla="*/ 0 w 240665"/>
                <a:gd name="connsiteY2" fmla="*/ 149225 h 149225"/>
                <a:gd name="connsiteX3" fmla="*/ 240665 w 240665"/>
                <a:gd name="connsiteY3" fmla="*/ 91440 h 149225"/>
                <a:gd name="connsiteX0" fmla="*/ 149225 w 149225"/>
                <a:gd name="connsiteY0" fmla="*/ 0 h 149225"/>
                <a:gd name="connsiteX1" fmla="*/ 149225 w 149225"/>
                <a:gd name="connsiteY1" fmla="*/ 149225 h 149225"/>
                <a:gd name="connsiteX2" fmla="*/ 0 w 149225"/>
                <a:gd name="connsiteY2" fmla="*/ 149225 h 149225"/>
              </a:gdLst>
              <a:ahLst/>
              <a:cxnLst>
                <a:cxn ang="0">
                  <a:pos x="connsiteX0" y="connsiteY0"/>
                </a:cxn>
                <a:cxn ang="0">
                  <a:pos x="connsiteX1" y="connsiteY1"/>
                </a:cxn>
                <a:cxn ang="0">
                  <a:pos x="connsiteX2" y="connsiteY2"/>
                </a:cxn>
              </a:cxnLst>
              <a:rect l="l" t="t" r="r" b="b"/>
              <a:pathLst>
                <a:path w="149225" h="149225">
                  <a:moveTo>
                    <a:pt x="149225" y="0"/>
                  </a:moveTo>
                  <a:lnTo>
                    <a:pt x="149225" y="149225"/>
                  </a:lnTo>
                  <a:lnTo>
                    <a:pt x="0" y="149225"/>
                  </a:lnTo>
                </a:path>
              </a:pathLst>
            </a:custGeom>
            <a:noFill/>
            <a:ln w="9525" cap="flat" cmpd="sng" algn="ctr">
              <a:solidFill>
                <a:sysClr val="window" lastClr="FFFFFF"/>
              </a:solidFill>
              <a:prstDash val="solid"/>
              <a:miter lim="800000"/>
            </a:ln>
            <a:effectLst/>
          </p:spPr>
          <p:txBody>
            <a:bodyPr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black"/>
                </a:solidFill>
                <a:effectLst/>
                <a:uLnTx/>
                <a:uFillTx/>
                <a:latin typeface="Calibri" panose="020F0502020204030204"/>
                <a:ea typeface="+mn-ea"/>
                <a:cs typeface="+mn-cs"/>
              </a:endParaRPr>
            </a:p>
          </p:txBody>
        </p:sp>
      </p:grpSp>
      <p:sp>
        <p:nvSpPr>
          <p:cNvPr id="24" name="Action Button: Custom 23">
            <a:hlinkClick r:id="" action="ppaction://hlinkshowjump?jump=nextslide" highlightClick="1"/>
            <a:extLst>
              <a:ext uri="{FF2B5EF4-FFF2-40B4-BE49-F238E27FC236}">
                <a16:creationId xmlns:a16="http://schemas.microsoft.com/office/drawing/2014/main" id="{98B416AA-6970-204F-9803-82312AEF99A3}"/>
              </a:ext>
            </a:extLst>
          </p:cNvPr>
          <p:cNvSpPr/>
          <p:nvPr userDrawn="1"/>
        </p:nvSpPr>
        <p:spPr>
          <a:xfrm>
            <a:off x="160546" y="3095627"/>
            <a:ext cx="241211" cy="241211"/>
          </a:xfrm>
          <a:prstGeom prst="actionButtonBlank">
            <a:avLst/>
          </a:prstGeom>
          <a:no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5" name="Action Button: Custom 24">
            <a:hlinkClick r:id="" action="ppaction://hlinkshowjump?jump=previousslide" highlightClick="1"/>
            <a:extLst>
              <a:ext uri="{FF2B5EF4-FFF2-40B4-BE49-F238E27FC236}">
                <a16:creationId xmlns:a16="http://schemas.microsoft.com/office/drawing/2014/main" id="{7A387E38-D922-FA48-996E-C4EBA78D6D4A}"/>
              </a:ext>
            </a:extLst>
          </p:cNvPr>
          <p:cNvSpPr/>
          <p:nvPr userDrawn="1"/>
        </p:nvSpPr>
        <p:spPr>
          <a:xfrm>
            <a:off x="160546" y="3534274"/>
            <a:ext cx="241211" cy="241211"/>
          </a:xfrm>
          <a:prstGeom prst="actionButtonBlank">
            <a:avLst/>
          </a:prstGeom>
          <a:no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6" name="TextBox 5"/>
          <p:cNvSpPr txBox="1"/>
          <p:nvPr userDrawn="1"/>
        </p:nvSpPr>
        <p:spPr>
          <a:xfrm>
            <a:off x="12292" y="7286208"/>
            <a:ext cx="537719" cy="153888"/>
          </a:xfrm>
          <a:prstGeom prst="rect">
            <a:avLst/>
          </a:prstGeom>
          <a:noFill/>
        </p:spPr>
        <p:txBody>
          <a:bodyPr wrap="square" lIns="0" tIns="0" rIns="0" bIns="0" rtlCol="0">
            <a:spAutoFit/>
          </a:bodyPr>
          <a:lstStyle/>
          <a:p>
            <a:pPr algn="ctr" fontAlgn="auto">
              <a:spcBef>
                <a:spcPts val="0"/>
              </a:spcBef>
              <a:spcAft>
                <a:spcPts val="0"/>
              </a:spcAft>
              <a:buClrTx/>
              <a:buSzTx/>
              <a:buFontTx/>
              <a:buNone/>
            </a:pPr>
            <a:fld id="{EE81E157-A1D1-4641-98C5-E5C73AF14974}" type="slidenum">
              <a:rPr lang="en-US" sz="1000" b="1" smtClean="0">
                <a:solidFill>
                  <a:schemeClr val="tx2"/>
                </a:solidFill>
                <a:latin typeface="EYInterstate" panose="02000503020000020004" pitchFamily="2" charset="0"/>
              </a:rPr>
              <a:pPr algn="ctr" fontAlgn="auto">
                <a:spcBef>
                  <a:spcPts val="0"/>
                </a:spcBef>
                <a:spcAft>
                  <a:spcPts val="0"/>
                </a:spcAft>
                <a:buClrTx/>
                <a:buSzTx/>
                <a:buFontTx/>
                <a:buNone/>
              </a:pPr>
              <a:t>‹#›</a:t>
            </a:fld>
            <a:endParaRPr lang="en-US" sz="1000" b="1">
              <a:solidFill>
                <a:schemeClr val="tx2"/>
              </a:solidFill>
              <a:latin typeface="EYInterstate" panose="02000503020000020004" pitchFamily="2" charset="0"/>
            </a:endParaRPr>
          </a:p>
        </p:txBody>
      </p:sp>
    </p:spTree>
    <p:extLst>
      <p:ext uri="{BB962C8B-B14F-4D97-AF65-F5344CB8AC3E}">
        <p14:creationId xmlns:p14="http://schemas.microsoft.com/office/powerpoint/2010/main" val="2071473280"/>
      </p:ext>
    </p:extLst>
  </p:cSld>
  <p:clrMap bg1="lt1" tx1="dk1" bg2="lt2" tx2="dk2" accent1="accent1" accent2="accent2" accent3="accent3" accent4="accent4" accent5="accent5" accent6="accent6" hlink="hlink" folHlink="folHlink"/>
  <p:sldLayoutIdLst>
    <p:sldLayoutId id="2147484273" r:id="rId1"/>
    <p:sldLayoutId id="2147484274" r:id="rId2"/>
    <p:sldLayoutId id="2147484275" r:id="rId3"/>
    <p:sldLayoutId id="2147484276" r:id="rId4"/>
    <p:sldLayoutId id="2147484277" r:id="rId5"/>
    <p:sldLayoutId id="2147484278" r:id="rId6"/>
    <p:sldLayoutId id="2147484279" r:id="rId7"/>
  </p:sldLayoutIdLst>
  <p:hf hdr="0" ftr="0" dt="0"/>
  <p:txStyles>
    <p:titleStyle>
      <a:lvl1pPr algn="l" defTabSz="1266737" rtl="0" eaLnBrk="1" latinLnBrk="0" hangingPunct="1">
        <a:lnSpc>
          <a:spcPct val="85000"/>
        </a:lnSpc>
        <a:spcBef>
          <a:spcPct val="0"/>
        </a:spcBef>
        <a:buNone/>
        <a:defRPr sz="2400" b="1" i="0" kern="1200">
          <a:solidFill>
            <a:schemeClr val="bg1"/>
          </a:solidFill>
          <a:latin typeface="EYInterstate" panose="02000503020000020004" pitchFamily="2" charset="0"/>
          <a:ea typeface="+mj-ea"/>
          <a:cs typeface="Arial" pitchFamily="34" charset="0"/>
        </a:defRPr>
      </a:lvl1pPr>
    </p:titleStyle>
    <p:bodyStyle>
      <a:lvl1pPr marL="494029" indent="-494029" algn="l" defTabSz="1266737" rtl="0" eaLnBrk="1" latinLnBrk="0" hangingPunct="1">
        <a:spcBef>
          <a:spcPct val="20000"/>
        </a:spcBef>
        <a:buClr>
          <a:schemeClr val="tx1"/>
        </a:buClr>
        <a:buSzPct val="70000"/>
        <a:buFont typeface="Arial" pitchFamily="34" charset="0"/>
        <a:buChar char="►"/>
        <a:defRPr sz="2493" b="0" i="0" kern="1200">
          <a:solidFill>
            <a:schemeClr val="bg1"/>
          </a:solidFill>
          <a:latin typeface="EYInterstate Light" panose="02000506000000020004" pitchFamily="2" charset="0"/>
          <a:ea typeface="+mn-ea"/>
          <a:cs typeface="+mn-cs"/>
        </a:defRPr>
      </a:lvl1pPr>
      <a:lvl2pPr marL="988054" indent="-494029" algn="l" defTabSz="1266737" rtl="0" eaLnBrk="1" latinLnBrk="0" hangingPunct="1">
        <a:spcBef>
          <a:spcPct val="20000"/>
        </a:spcBef>
        <a:buClr>
          <a:schemeClr val="tx1"/>
        </a:buClr>
        <a:buSzPct val="70000"/>
        <a:buFont typeface="Arial" pitchFamily="34" charset="0"/>
        <a:buChar char="►"/>
        <a:defRPr sz="2000" b="0" i="0" kern="1200">
          <a:solidFill>
            <a:schemeClr val="bg1"/>
          </a:solidFill>
          <a:latin typeface="EYInterstate Light" panose="02000506000000020004" pitchFamily="2" charset="0"/>
          <a:ea typeface="+mn-ea"/>
          <a:cs typeface="+mn-cs"/>
        </a:defRPr>
      </a:lvl2pPr>
      <a:lvl3pPr marL="1482083" indent="-494029" algn="l" defTabSz="1266737" rtl="0" eaLnBrk="1" latinLnBrk="0" hangingPunct="1">
        <a:spcBef>
          <a:spcPct val="20000"/>
        </a:spcBef>
        <a:buClr>
          <a:schemeClr val="tx1"/>
        </a:buClr>
        <a:buSzPct val="70000"/>
        <a:buFont typeface="Arial" pitchFamily="34" charset="0"/>
        <a:buChar char="►"/>
        <a:defRPr sz="1800" b="0" i="0" kern="1200">
          <a:solidFill>
            <a:schemeClr val="bg1"/>
          </a:solidFill>
          <a:latin typeface="EYInterstate Light" panose="02000506000000020004" pitchFamily="2" charset="0"/>
          <a:ea typeface="+mn-ea"/>
          <a:cs typeface="+mn-cs"/>
        </a:defRPr>
      </a:lvl3pPr>
      <a:lvl4pPr marL="1976110" indent="-494029" algn="l" defTabSz="1266737" rtl="0" eaLnBrk="1" latinLnBrk="0" hangingPunct="1">
        <a:spcBef>
          <a:spcPct val="20000"/>
        </a:spcBef>
        <a:buClr>
          <a:schemeClr val="tx1"/>
        </a:buClr>
        <a:buSzPct val="70000"/>
        <a:buFont typeface="Arial" pitchFamily="34" charset="0"/>
        <a:buChar char="►"/>
        <a:defRPr sz="1600" b="0" i="0" kern="1200">
          <a:solidFill>
            <a:schemeClr val="bg1"/>
          </a:solidFill>
          <a:latin typeface="EYInterstate Light" panose="02000506000000020004" pitchFamily="2" charset="0"/>
          <a:ea typeface="+mn-ea"/>
          <a:cs typeface="+mn-cs"/>
        </a:defRPr>
      </a:lvl4pPr>
      <a:lvl5pPr marL="2470136" indent="-494029" algn="l" defTabSz="1266737" rtl="0" eaLnBrk="1" latinLnBrk="0" hangingPunct="1">
        <a:spcBef>
          <a:spcPct val="20000"/>
        </a:spcBef>
        <a:buClr>
          <a:schemeClr val="tx1"/>
        </a:buClr>
        <a:buSzPct val="70000"/>
        <a:buFont typeface="Arial" pitchFamily="34" charset="0"/>
        <a:buChar char="►"/>
        <a:defRPr sz="1400" b="0" i="0" kern="1200">
          <a:solidFill>
            <a:schemeClr val="bg1"/>
          </a:solidFill>
          <a:latin typeface="EYInterstate Light" panose="02000506000000020004" pitchFamily="2" charset="0"/>
          <a:ea typeface="+mn-ea"/>
          <a:cs typeface="+mn-cs"/>
        </a:defRPr>
      </a:lvl5pPr>
      <a:lvl6pPr marL="3483527" indent="-316685" algn="l" defTabSz="1266737" rtl="0" eaLnBrk="1" latinLnBrk="0" hangingPunct="1">
        <a:spcBef>
          <a:spcPct val="20000"/>
        </a:spcBef>
        <a:buFont typeface="Arial" pitchFamily="34" charset="0"/>
        <a:buChar char="•"/>
        <a:defRPr sz="2771" kern="1200">
          <a:solidFill>
            <a:schemeClr val="tx1"/>
          </a:solidFill>
          <a:latin typeface="+mn-lt"/>
          <a:ea typeface="+mn-ea"/>
          <a:cs typeface="+mn-cs"/>
        </a:defRPr>
      </a:lvl6pPr>
      <a:lvl7pPr marL="4116896" indent="-316685" algn="l" defTabSz="1266737" rtl="0" eaLnBrk="1" latinLnBrk="0" hangingPunct="1">
        <a:spcBef>
          <a:spcPct val="20000"/>
        </a:spcBef>
        <a:buFont typeface="Arial" pitchFamily="34" charset="0"/>
        <a:buChar char="•"/>
        <a:defRPr sz="2771" kern="1200">
          <a:solidFill>
            <a:schemeClr val="tx1"/>
          </a:solidFill>
          <a:latin typeface="+mn-lt"/>
          <a:ea typeface="+mn-ea"/>
          <a:cs typeface="+mn-cs"/>
        </a:defRPr>
      </a:lvl7pPr>
      <a:lvl8pPr marL="4750266" indent="-316685" algn="l" defTabSz="1266737" rtl="0" eaLnBrk="1" latinLnBrk="0" hangingPunct="1">
        <a:spcBef>
          <a:spcPct val="20000"/>
        </a:spcBef>
        <a:buFont typeface="Arial" pitchFamily="34" charset="0"/>
        <a:buChar char="•"/>
        <a:defRPr sz="2771" kern="1200">
          <a:solidFill>
            <a:schemeClr val="tx1"/>
          </a:solidFill>
          <a:latin typeface="+mn-lt"/>
          <a:ea typeface="+mn-ea"/>
          <a:cs typeface="+mn-cs"/>
        </a:defRPr>
      </a:lvl8pPr>
      <a:lvl9pPr marL="5383632" indent="-316685" algn="l" defTabSz="1266737" rtl="0" eaLnBrk="1" latinLnBrk="0" hangingPunct="1">
        <a:spcBef>
          <a:spcPct val="20000"/>
        </a:spcBef>
        <a:buFont typeface="Arial" pitchFamily="34" charset="0"/>
        <a:buChar char="•"/>
        <a:defRPr sz="2771" kern="1200">
          <a:solidFill>
            <a:schemeClr val="tx1"/>
          </a:solidFill>
          <a:latin typeface="+mn-lt"/>
          <a:ea typeface="+mn-ea"/>
          <a:cs typeface="+mn-cs"/>
        </a:defRPr>
      </a:lvl9pPr>
    </p:bodyStyle>
    <p:otherStyle>
      <a:defPPr>
        <a:defRPr lang="en-US"/>
      </a:defPPr>
      <a:lvl1pPr marL="0" algn="l" defTabSz="1266737" rtl="0" eaLnBrk="1" latinLnBrk="0" hangingPunct="1">
        <a:defRPr sz="2493" kern="1200">
          <a:solidFill>
            <a:schemeClr val="tx1"/>
          </a:solidFill>
          <a:latin typeface="+mn-lt"/>
          <a:ea typeface="+mn-ea"/>
          <a:cs typeface="+mn-cs"/>
        </a:defRPr>
      </a:lvl1pPr>
      <a:lvl2pPr marL="633367" algn="l" defTabSz="1266737" rtl="0" eaLnBrk="1" latinLnBrk="0" hangingPunct="1">
        <a:defRPr sz="2493" kern="1200">
          <a:solidFill>
            <a:schemeClr val="tx1"/>
          </a:solidFill>
          <a:latin typeface="+mn-lt"/>
          <a:ea typeface="+mn-ea"/>
          <a:cs typeface="+mn-cs"/>
        </a:defRPr>
      </a:lvl2pPr>
      <a:lvl3pPr marL="1266737" algn="l" defTabSz="1266737" rtl="0" eaLnBrk="1" latinLnBrk="0" hangingPunct="1">
        <a:defRPr sz="2493" kern="1200">
          <a:solidFill>
            <a:schemeClr val="tx1"/>
          </a:solidFill>
          <a:latin typeface="+mn-lt"/>
          <a:ea typeface="+mn-ea"/>
          <a:cs typeface="+mn-cs"/>
        </a:defRPr>
      </a:lvl3pPr>
      <a:lvl4pPr marL="1900106" algn="l" defTabSz="1266737" rtl="0" eaLnBrk="1" latinLnBrk="0" hangingPunct="1">
        <a:defRPr sz="2493" kern="1200">
          <a:solidFill>
            <a:schemeClr val="tx1"/>
          </a:solidFill>
          <a:latin typeface="+mn-lt"/>
          <a:ea typeface="+mn-ea"/>
          <a:cs typeface="+mn-cs"/>
        </a:defRPr>
      </a:lvl4pPr>
      <a:lvl5pPr marL="2533476" algn="l" defTabSz="1266737" rtl="0" eaLnBrk="1" latinLnBrk="0" hangingPunct="1">
        <a:defRPr sz="2493" kern="1200">
          <a:solidFill>
            <a:schemeClr val="tx1"/>
          </a:solidFill>
          <a:latin typeface="+mn-lt"/>
          <a:ea typeface="+mn-ea"/>
          <a:cs typeface="+mn-cs"/>
        </a:defRPr>
      </a:lvl5pPr>
      <a:lvl6pPr marL="3166843" algn="l" defTabSz="1266737" rtl="0" eaLnBrk="1" latinLnBrk="0" hangingPunct="1">
        <a:defRPr sz="2493" kern="1200">
          <a:solidFill>
            <a:schemeClr val="tx1"/>
          </a:solidFill>
          <a:latin typeface="+mn-lt"/>
          <a:ea typeface="+mn-ea"/>
          <a:cs typeface="+mn-cs"/>
        </a:defRPr>
      </a:lvl6pPr>
      <a:lvl7pPr marL="3800210" algn="l" defTabSz="1266737" rtl="0" eaLnBrk="1" latinLnBrk="0" hangingPunct="1">
        <a:defRPr sz="2493" kern="1200">
          <a:solidFill>
            <a:schemeClr val="tx1"/>
          </a:solidFill>
          <a:latin typeface="+mn-lt"/>
          <a:ea typeface="+mn-ea"/>
          <a:cs typeface="+mn-cs"/>
        </a:defRPr>
      </a:lvl7pPr>
      <a:lvl8pPr marL="4433580" algn="l" defTabSz="1266737" rtl="0" eaLnBrk="1" latinLnBrk="0" hangingPunct="1">
        <a:defRPr sz="2493" kern="1200">
          <a:solidFill>
            <a:schemeClr val="tx1"/>
          </a:solidFill>
          <a:latin typeface="+mn-lt"/>
          <a:ea typeface="+mn-ea"/>
          <a:cs typeface="+mn-cs"/>
        </a:defRPr>
      </a:lvl8pPr>
      <a:lvl9pPr marL="5066947" algn="l" defTabSz="1266737" rtl="0" eaLnBrk="1" latinLnBrk="0" hangingPunct="1">
        <a:defRPr sz="2493"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0"/>
            </p:custDataLst>
            <p:extLst>
              <p:ext uri="{D42A27DB-BD31-4B8C-83A1-F6EECF244321}">
                <p14:modId xmlns:p14="http://schemas.microsoft.com/office/powerpoint/2010/main" val="775755814"/>
              </p:ext>
            </p:extLst>
          </p:nvPr>
        </p:nvGraphicFramePr>
        <p:xfrm>
          <a:off x="1588" y="1589"/>
          <a:ext cx="1588" cy="1587"/>
        </p:xfrm>
        <a:graphic>
          <a:graphicData uri="http://schemas.openxmlformats.org/presentationml/2006/ole">
            <mc:AlternateContent xmlns:mc="http://schemas.openxmlformats.org/markup-compatibility/2006">
              <mc:Choice xmlns:v="urn:schemas-microsoft-com:vml" Requires="v">
                <p:oleObj spid="_x0000_s4098" name="think-cell Slide" r:id="rId12" imgW="216" imgH="216" progId="TCLayout.ActiveDocument.1">
                  <p:embed/>
                </p:oleObj>
              </mc:Choice>
              <mc:Fallback>
                <p:oleObj name="think-cell Slide" r:id="rId12" imgW="216" imgH="216" progId="TCLayout.ActiveDocument.1">
                  <p:embed/>
                  <p:pic>
                    <p:nvPicPr>
                      <p:cNvPr id="4" name="Object 3" hidden="1"/>
                      <p:cNvPicPr/>
                      <p:nvPr/>
                    </p:nvPicPr>
                    <p:blipFill>
                      <a:blip r:embed="rId13"/>
                      <a:stretch>
                        <a:fillRect/>
                      </a:stretch>
                    </p:blipFill>
                    <p:spPr>
                      <a:xfrm>
                        <a:off x="1588" y="1589"/>
                        <a:ext cx="1588"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D35BBD6-19BF-40F9-86FB-45632A655647}"/>
              </a:ext>
            </a:extLst>
          </p:cNvPr>
          <p:cNvSpPr/>
          <p:nvPr userDrawn="1">
            <p:custDataLst>
              <p:tags r:id="rId11"/>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eaLnBrk="1">
              <a:lnSpc>
                <a:spcPct val="85000"/>
              </a:lnSpc>
              <a:spcBef>
                <a:spcPct val="0"/>
              </a:spcBef>
              <a:spcAft>
                <a:spcPct val="0"/>
              </a:spcAft>
            </a:pPr>
            <a:endParaRPr lang="en-US" sz="2400" b="1" i="0" baseline="0">
              <a:solidFill>
                <a:schemeClr val="tx1"/>
              </a:solidFill>
              <a:latin typeface="EYInterstate" panose="02000503020000020004" pitchFamily="2" charset="0"/>
              <a:ea typeface="+mj-ea"/>
              <a:cs typeface="Arial" panose="020B0604020202020204" pitchFamily="34" charset="0"/>
              <a:sym typeface="EYInterstate" panose="02000503020000020004" pitchFamily="2" charset="0"/>
            </a:endParaRPr>
          </a:p>
        </p:txBody>
      </p:sp>
      <p:sp>
        <p:nvSpPr>
          <p:cNvPr id="2" name="Title Placeholder 1"/>
          <p:cNvSpPr>
            <a:spLocks noGrp="1"/>
          </p:cNvSpPr>
          <p:nvPr>
            <p:ph type="title"/>
          </p:nvPr>
        </p:nvSpPr>
        <p:spPr>
          <a:xfrm>
            <a:off x="943904" y="609597"/>
            <a:ext cx="11700000" cy="739984"/>
          </a:xfrm>
          <a:prstGeom prst="rect">
            <a:avLst/>
          </a:prstGeom>
        </p:spPr>
        <p:txBody>
          <a:bodyPr vert="horz" lIns="0" tIns="0" rIns="0" bIns="0" rtlCol="0" anchor="t" anchorCtr="0">
            <a:noAutofit/>
          </a:bodyPr>
          <a:lstStyle/>
          <a:p>
            <a:r>
              <a:rPr lang="en-US"/>
              <a:t>CLICK TO EDIT MASTER TITLE STYLE</a:t>
            </a:r>
            <a:endParaRPr lang="en-GB"/>
          </a:p>
        </p:txBody>
      </p:sp>
      <p:sp>
        <p:nvSpPr>
          <p:cNvPr id="3" name="Text Placeholder 2"/>
          <p:cNvSpPr>
            <a:spLocks noGrp="1"/>
          </p:cNvSpPr>
          <p:nvPr>
            <p:ph type="body" idx="1"/>
          </p:nvPr>
        </p:nvSpPr>
        <p:spPr>
          <a:xfrm>
            <a:off x="943904" y="1571790"/>
            <a:ext cx="11700000" cy="5181986"/>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Rectangle 12">
            <a:extLst>
              <a:ext uri="{FF2B5EF4-FFF2-40B4-BE49-F238E27FC236}">
                <a16:creationId xmlns:a16="http://schemas.microsoft.com/office/drawing/2014/main" id="{3A839B15-81E6-9045-B604-CB27BBC1C908}"/>
              </a:ext>
            </a:extLst>
          </p:cNvPr>
          <p:cNvSpPr/>
          <p:nvPr userDrawn="1"/>
        </p:nvSpPr>
        <p:spPr>
          <a:xfrm>
            <a:off x="943904" y="428151"/>
            <a:ext cx="1260000" cy="72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object 3">
            <a:extLst>
              <a:ext uri="{FF2B5EF4-FFF2-40B4-BE49-F238E27FC236}">
                <a16:creationId xmlns:a16="http://schemas.microsoft.com/office/drawing/2014/main" id="{FBEC6C36-7DE3-C04D-8FC3-90CFCCD3E4A9}"/>
              </a:ext>
            </a:extLst>
          </p:cNvPr>
          <p:cNvSpPr/>
          <p:nvPr userDrawn="1"/>
        </p:nvSpPr>
        <p:spPr>
          <a:xfrm>
            <a:off x="-5625" y="16"/>
            <a:ext cx="573553" cy="7561247"/>
          </a:xfrm>
          <a:custGeom>
            <a:avLst/>
            <a:gdLst/>
            <a:ahLst/>
            <a:cxnLst/>
            <a:rect l="l" t="t" r="r" b="b"/>
            <a:pathLst>
              <a:path w="5076190" h="7560309">
                <a:moveTo>
                  <a:pt x="0" y="7559992"/>
                </a:moveTo>
                <a:lnTo>
                  <a:pt x="5075999" y="7559992"/>
                </a:lnTo>
                <a:lnTo>
                  <a:pt x="5075999" y="0"/>
                </a:lnTo>
                <a:lnTo>
                  <a:pt x="0" y="0"/>
                </a:lnTo>
                <a:lnTo>
                  <a:pt x="0" y="7559992"/>
                </a:lnTo>
                <a:close/>
              </a:path>
            </a:pathLst>
          </a:custGeom>
          <a:solidFill>
            <a:schemeClr val="tx1"/>
          </a:solidFill>
        </p:spPr>
        <p:txBody>
          <a:bodyPr wrap="square" lIns="0" tIns="0" rIns="0" bIns="0" rtlCol="0"/>
          <a:lstStyle/>
          <a:p>
            <a:pPr algn="ctr"/>
            <a:endParaRPr>
              <a:solidFill>
                <a:prstClr val="black"/>
              </a:solidFill>
              <a:latin typeface="Calibri" panose="020F0502020204030204"/>
            </a:endParaRPr>
          </a:p>
        </p:txBody>
      </p:sp>
      <p:sp>
        <p:nvSpPr>
          <p:cNvPr id="12" name="object 14">
            <a:extLst>
              <a:ext uri="{FF2B5EF4-FFF2-40B4-BE49-F238E27FC236}">
                <a16:creationId xmlns:a16="http://schemas.microsoft.com/office/drawing/2014/main" id="{3D19E29C-B81E-B848-A185-3911687868CA}"/>
              </a:ext>
            </a:extLst>
          </p:cNvPr>
          <p:cNvSpPr/>
          <p:nvPr userDrawn="1"/>
        </p:nvSpPr>
        <p:spPr>
          <a:xfrm>
            <a:off x="146531" y="398406"/>
            <a:ext cx="269240" cy="98425"/>
          </a:xfrm>
          <a:custGeom>
            <a:avLst/>
            <a:gdLst/>
            <a:ahLst/>
            <a:cxnLst/>
            <a:rect l="l" t="t" r="r" b="b"/>
            <a:pathLst>
              <a:path w="269240" h="98425">
                <a:moveTo>
                  <a:pt x="269227" y="0"/>
                </a:moveTo>
                <a:lnTo>
                  <a:pt x="0" y="98247"/>
                </a:lnTo>
                <a:lnTo>
                  <a:pt x="269227" y="50698"/>
                </a:lnTo>
                <a:lnTo>
                  <a:pt x="269227" y="0"/>
                </a:lnTo>
                <a:close/>
              </a:path>
            </a:pathLst>
          </a:custGeom>
          <a:solidFill>
            <a:srgbClr val="FFD400"/>
          </a:solidFill>
        </p:spPr>
        <p:txBody>
          <a:bodyPr wrap="square" lIns="0" tIns="0" rIns="0" bIns="0" rtlCol="0"/>
          <a:lstStyle/>
          <a:p>
            <a:pPr algn="ctr"/>
            <a:endParaRPr>
              <a:solidFill>
                <a:prstClr val="black"/>
              </a:solidFill>
              <a:latin typeface="Calibri" panose="020F0502020204030204"/>
            </a:endParaRPr>
          </a:p>
        </p:txBody>
      </p:sp>
      <p:sp>
        <p:nvSpPr>
          <p:cNvPr id="14" name="object 15">
            <a:extLst>
              <a:ext uri="{FF2B5EF4-FFF2-40B4-BE49-F238E27FC236}">
                <a16:creationId xmlns:a16="http://schemas.microsoft.com/office/drawing/2014/main" id="{5DE69E7C-24A8-2346-869B-1BCBC7E6C6C0}"/>
              </a:ext>
            </a:extLst>
          </p:cNvPr>
          <p:cNvSpPr/>
          <p:nvPr userDrawn="1"/>
        </p:nvSpPr>
        <p:spPr>
          <a:xfrm>
            <a:off x="168134" y="537502"/>
            <a:ext cx="226034" cy="136194"/>
          </a:xfrm>
          <a:prstGeom prst="rect">
            <a:avLst/>
          </a:prstGeom>
          <a:blipFill>
            <a:blip r:embed="rId14" cstate="print"/>
            <a:stretch>
              <a:fillRect/>
            </a:stretch>
          </a:blipFill>
        </p:spPr>
        <p:txBody>
          <a:bodyPr wrap="square" lIns="0" tIns="0" rIns="0" bIns="0" rtlCol="0"/>
          <a:lstStyle/>
          <a:p>
            <a:pPr algn="ctr"/>
            <a:endParaRPr>
              <a:solidFill>
                <a:prstClr val="black"/>
              </a:solidFill>
              <a:latin typeface="Calibri" panose="020F0502020204030204"/>
            </a:endParaRPr>
          </a:p>
        </p:txBody>
      </p:sp>
      <p:grpSp>
        <p:nvGrpSpPr>
          <p:cNvPr id="16" name="Group 15">
            <a:extLst>
              <a:ext uri="{FF2B5EF4-FFF2-40B4-BE49-F238E27FC236}">
                <a16:creationId xmlns:a16="http://schemas.microsoft.com/office/drawing/2014/main" id="{0726C71A-D368-B041-8BD9-4D61AA84A144}"/>
              </a:ext>
            </a:extLst>
          </p:cNvPr>
          <p:cNvGrpSpPr/>
          <p:nvPr userDrawn="1"/>
        </p:nvGrpSpPr>
        <p:grpSpPr>
          <a:xfrm>
            <a:off x="173642" y="3095627"/>
            <a:ext cx="215019" cy="215019"/>
            <a:chOff x="147828" y="2915202"/>
            <a:chExt cx="215019" cy="215019"/>
          </a:xfrm>
        </p:grpSpPr>
        <p:sp>
          <p:nvSpPr>
            <p:cNvPr id="17" name="Oval 16">
              <a:extLst>
                <a:ext uri="{FF2B5EF4-FFF2-40B4-BE49-F238E27FC236}">
                  <a16:creationId xmlns:a16="http://schemas.microsoft.com/office/drawing/2014/main" id="{0207DA1F-1F9C-294D-97C4-C0A6F616599E}"/>
                </a:ext>
              </a:extLst>
            </p:cNvPr>
            <p:cNvSpPr/>
            <p:nvPr/>
          </p:nvSpPr>
          <p:spPr>
            <a:xfrm>
              <a:off x="147828" y="2915202"/>
              <a:ext cx="215019" cy="215019"/>
            </a:xfrm>
            <a:prstGeom prst="ellipse">
              <a:avLst/>
            </a:prstGeom>
            <a:noFill/>
            <a:ln w="9525" cap="flat" cmpd="sng" algn="ctr">
              <a:solidFill>
                <a:sysClr val="window" lastClr="FFFFFF"/>
              </a:solidFill>
              <a:prstDash val="solid"/>
              <a:miter lim="800000"/>
            </a:ln>
            <a:effectLst/>
          </p:spPr>
          <p:txBody>
            <a:bodyPr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black"/>
                </a:solidFill>
                <a:effectLst/>
                <a:uLnTx/>
                <a:uFillTx/>
                <a:latin typeface="Calibri" panose="020F0502020204030204"/>
                <a:ea typeface="+mn-ea"/>
                <a:cs typeface="+mn-cs"/>
              </a:endParaRPr>
            </a:p>
          </p:txBody>
        </p:sp>
        <p:cxnSp>
          <p:nvCxnSpPr>
            <p:cNvPr id="18" name="Straight Connector 17">
              <a:extLst>
                <a:ext uri="{FF2B5EF4-FFF2-40B4-BE49-F238E27FC236}">
                  <a16:creationId xmlns:a16="http://schemas.microsoft.com/office/drawing/2014/main" id="{CECE0C06-22D8-A04F-B592-79AFD6202C26}"/>
                </a:ext>
              </a:extLst>
            </p:cNvPr>
            <p:cNvCxnSpPr/>
            <p:nvPr/>
          </p:nvCxnSpPr>
          <p:spPr>
            <a:xfrm>
              <a:off x="193425" y="3022711"/>
              <a:ext cx="123825" cy="0"/>
            </a:xfrm>
            <a:prstGeom prst="line">
              <a:avLst/>
            </a:prstGeom>
            <a:noFill/>
            <a:ln w="9525" cap="flat" cmpd="sng" algn="ctr">
              <a:solidFill>
                <a:sysClr val="window" lastClr="FFFFFF"/>
              </a:solidFill>
              <a:prstDash val="solid"/>
              <a:miter lim="800000"/>
              <a:tailEnd type="none"/>
            </a:ln>
            <a:effectLst/>
          </p:spPr>
        </p:cxnSp>
        <p:sp>
          <p:nvSpPr>
            <p:cNvPr id="19" name="Rectangle 11">
              <a:extLst>
                <a:ext uri="{FF2B5EF4-FFF2-40B4-BE49-F238E27FC236}">
                  <a16:creationId xmlns:a16="http://schemas.microsoft.com/office/drawing/2014/main" id="{7A5DEC11-2762-9548-A7CB-2D7CAD730DF7}"/>
                </a:ext>
              </a:extLst>
            </p:cNvPr>
            <p:cNvSpPr/>
            <p:nvPr/>
          </p:nvSpPr>
          <p:spPr>
            <a:xfrm rot="18900000">
              <a:off x="231586" y="2987228"/>
              <a:ext cx="70967" cy="70967"/>
            </a:xfrm>
            <a:custGeom>
              <a:avLst/>
              <a:gdLst>
                <a:gd name="connsiteX0" fmla="*/ 0 w 149225"/>
                <a:gd name="connsiteY0" fmla="*/ 0 h 149225"/>
                <a:gd name="connsiteX1" fmla="*/ 149225 w 149225"/>
                <a:gd name="connsiteY1" fmla="*/ 0 h 149225"/>
                <a:gd name="connsiteX2" fmla="*/ 149225 w 149225"/>
                <a:gd name="connsiteY2" fmla="*/ 149225 h 149225"/>
                <a:gd name="connsiteX3" fmla="*/ 0 w 149225"/>
                <a:gd name="connsiteY3" fmla="*/ 149225 h 149225"/>
                <a:gd name="connsiteX4" fmla="*/ 0 w 149225"/>
                <a:gd name="connsiteY4" fmla="*/ 0 h 149225"/>
                <a:gd name="connsiteX0" fmla="*/ 0 w 149225"/>
                <a:gd name="connsiteY0" fmla="*/ 149225 h 149225"/>
                <a:gd name="connsiteX1" fmla="*/ 149225 w 149225"/>
                <a:gd name="connsiteY1" fmla="*/ 0 h 149225"/>
                <a:gd name="connsiteX2" fmla="*/ 149225 w 149225"/>
                <a:gd name="connsiteY2" fmla="*/ 149225 h 149225"/>
                <a:gd name="connsiteX3" fmla="*/ 0 w 149225"/>
                <a:gd name="connsiteY3" fmla="*/ 149225 h 149225"/>
                <a:gd name="connsiteX0" fmla="*/ 149225 w 240665"/>
                <a:gd name="connsiteY0" fmla="*/ 0 h 149225"/>
                <a:gd name="connsiteX1" fmla="*/ 149225 w 240665"/>
                <a:gd name="connsiteY1" fmla="*/ 149225 h 149225"/>
                <a:gd name="connsiteX2" fmla="*/ 0 w 240665"/>
                <a:gd name="connsiteY2" fmla="*/ 149225 h 149225"/>
                <a:gd name="connsiteX3" fmla="*/ 240665 w 240665"/>
                <a:gd name="connsiteY3" fmla="*/ 91440 h 149225"/>
                <a:gd name="connsiteX0" fmla="*/ 149225 w 149225"/>
                <a:gd name="connsiteY0" fmla="*/ 0 h 149225"/>
                <a:gd name="connsiteX1" fmla="*/ 149225 w 149225"/>
                <a:gd name="connsiteY1" fmla="*/ 149225 h 149225"/>
                <a:gd name="connsiteX2" fmla="*/ 0 w 149225"/>
                <a:gd name="connsiteY2" fmla="*/ 149225 h 149225"/>
              </a:gdLst>
              <a:ahLst/>
              <a:cxnLst>
                <a:cxn ang="0">
                  <a:pos x="connsiteX0" y="connsiteY0"/>
                </a:cxn>
                <a:cxn ang="0">
                  <a:pos x="connsiteX1" y="connsiteY1"/>
                </a:cxn>
                <a:cxn ang="0">
                  <a:pos x="connsiteX2" y="connsiteY2"/>
                </a:cxn>
              </a:cxnLst>
              <a:rect l="l" t="t" r="r" b="b"/>
              <a:pathLst>
                <a:path w="149225" h="149225">
                  <a:moveTo>
                    <a:pt x="149225" y="0"/>
                  </a:moveTo>
                  <a:lnTo>
                    <a:pt x="149225" y="149225"/>
                  </a:lnTo>
                  <a:lnTo>
                    <a:pt x="0" y="149225"/>
                  </a:lnTo>
                </a:path>
              </a:pathLst>
            </a:custGeom>
            <a:noFill/>
            <a:ln w="9525" cap="flat" cmpd="sng" algn="ctr">
              <a:solidFill>
                <a:sysClr val="window" lastClr="FFFFFF"/>
              </a:solidFill>
              <a:prstDash val="solid"/>
              <a:miter lim="800000"/>
            </a:ln>
            <a:effectLst/>
          </p:spPr>
          <p:txBody>
            <a:bodyPr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black"/>
                </a:solidFill>
                <a:effectLst/>
                <a:uLnTx/>
                <a:uFillTx/>
                <a:latin typeface="Calibri" panose="020F0502020204030204"/>
                <a:ea typeface="+mn-ea"/>
                <a:cs typeface="+mn-cs"/>
              </a:endParaRPr>
            </a:p>
          </p:txBody>
        </p:sp>
      </p:grpSp>
      <p:grpSp>
        <p:nvGrpSpPr>
          <p:cNvPr id="20" name="Group 19">
            <a:extLst>
              <a:ext uri="{FF2B5EF4-FFF2-40B4-BE49-F238E27FC236}">
                <a16:creationId xmlns:a16="http://schemas.microsoft.com/office/drawing/2014/main" id="{30844FBE-FCA0-234D-A1A0-DEEB814F56F7}"/>
              </a:ext>
            </a:extLst>
          </p:cNvPr>
          <p:cNvGrpSpPr/>
          <p:nvPr userDrawn="1"/>
        </p:nvGrpSpPr>
        <p:grpSpPr>
          <a:xfrm rot="10800000">
            <a:off x="173642" y="3547371"/>
            <a:ext cx="215019" cy="215019"/>
            <a:chOff x="5758249" y="7128479"/>
            <a:chExt cx="215019" cy="215019"/>
          </a:xfrm>
        </p:grpSpPr>
        <p:sp>
          <p:nvSpPr>
            <p:cNvPr id="21" name="Oval 20">
              <a:extLst>
                <a:ext uri="{FF2B5EF4-FFF2-40B4-BE49-F238E27FC236}">
                  <a16:creationId xmlns:a16="http://schemas.microsoft.com/office/drawing/2014/main" id="{A3BB17A6-DFE2-3F48-94A5-1488E1D6457D}"/>
                </a:ext>
              </a:extLst>
            </p:cNvPr>
            <p:cNvSpPr/>
            <p:nvPr/>
          </p:nvSpPr>
          <p:spPr>
            <a:xfrm>
              <a:off x="5758249" y="7128479"/>
              <a:ext cx="215019" cy="215019"/>
            </a:xfrm>
            <a:prstGeom prst="ellipse">
              <a:avLst/>
            </a:prstGeom>
            <a:noFill/>
            <a:ln w="9525" cap="flat" cmpd="sng" algn="ctr">
              <a:solidFill>
                <a:sysClr val="window" lastClr="FFFFFF"/>
              </a:solidFill>
              <a:prstDash val="solid"/>
              <a:miter lim="800000"/>
            </a:ln>
            <a:effectLst/>
          </p:spPr>
          <p:txBody>
            <a:bodyPr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black"/>
                </a:solidFill>
                <a:effectLst/>
                <a:uLnTx/>
                <a:uFillTx/>
                <a:latin typeface="Calibri" panose="020F0502020204030204"/>
                <a:ea typeface="+mn-ea"/>
                <a:cs typeface="+mn-cs"/>
              </a:endParaRPr>
            </a:p>
          </p:txBody>
        </p:sp>
        <p:cxnSp>
          <p:nvCxnSpPr>
            <p:cNvPr id="22" name="Straight Connector 21">
              <a:extLst>
                <a:ext uri="{FF2B5EF4-FFF2-40B4-BE49-F238E27FC236}">
                  <a16:creationId xmlns:a16="http://schemas.microsoft.com/office/drawing/2014/main" id="{7035876D-E7CD-8C41-8052-10A7CFE3A66B}"/>
                </a:ext>
              </a:extLst>
            </p:cNvPr>
            <p:cNvCxnSpPr/>
            <p:nvPr/>
          </p:nvCxnSpPr>
          <p:spPr>
            <a:xfrm>
              <a:off x="5803846" y="7235988"/>
              <a:ext cx="123825" cy="0"/>
            </a:xfrm>
            <a:prstGeom prst="line">
              <a:avLst/>
            </a:prstGeom>
            <a:noFill/>
            <a:ln w="9525" cap="flat" cmpd="sng" algn="ctr">
              <a:solidFill>
                <a:sysClr val="window" lastClr="FFFFFF"/>
              </a:solidFill>
              <a:prstDash val="solid"/>
              <a:miter lim="800000"/>
              <a:tailEnd type="none"/>
            </a:ln>
            <a:effectLst/>
          </p:spPr>
        </p:cxnSp>
        <p:sp>
          <p:nvSpPr>
            <p:cNvPr id="23" name="Rectangle 11">
              <a:extLst>
                <a:ext uri="{FF2B5EF4-FFF2-40B4-BE49-F238E27FC236}">
                  <a16:creationId xmlns:a16="http://schemas.microsoft.com/office/drawing/2014/main" id="{4094B3D7-0406-A540-8445-9B565193A9AC}"/>
                </a:ext>
              </a:extLst>
            </p:cNvPr>
            <p:cNvSpPr/>
            <p:nvPr/>
          </p:nvSpPr>
          <p:spPr>
            <a:xfrm rot="18900000">
              <a:off x="5842007" y="7200505"/>
              <a:ext cx="70967" cy="70967"/>
            </a:xfrm>
            <a:custGeom>
              <a:avLst/>
              <a:gdLst>
                <a:gd name="connsiteX0" fmla="*/ 0 w 149225"/>
                <a:gd name="connsiteY0" fmla="*/ 0 h 149225"/>
                <a:gd name="connsiteX1" fmla="*/ 149225 w 149225"/>
                <a:gd name="connsiteY1" fmla="*/ 0 h 149225"/>
                <a:gd name="connsiteX2" fmla="*/ 149225 w 149225"/>
                <a:gd name="connsiteY2" fmla="*/ 149225 h 149225"/>
                <a:gd name="connsiteX3" fmla="*/ 0 w 149225"/>
                <a:gd name="connsiteY3" fmla="*/ 149225 h 149225"/>
                <a:gd name="connsiteX4" fmla="*/ 0 w 149225"/>
                <a:gd name="connsiteY4" fmla="*/ 0 h 149225"/>
                <a:gd name="connsiteX0" fmla="*/ 0 w 149225"/>
                <a:gd name="connsiteY0" fmla="*/ 149225 h 149225"/>
                <a:gd name="connsiteX1" fmla="*/ 149225 w 149225"/>
                <a:gd name="connsiteY1" fmla="*/ 0 h 149225"/>
                <a:gd name="connsiteX2" fmla="*/ 149225 w 149225"/>
                <a:gd name="connsiteY2" fmla="*/ 149225 h 149225"/>
                <a:gd name="connsiteX3" fmla="*/ 0 w 149225"/>
                <a:gd name="connsiteY3" fmla="*/ 149225 h 149225"/>
                <a:gd name="connsiteX0" fmla="*/ 149225 w 240665"/>
                <a:gd name="connsiteY0" fmla="*/ 0 h 149225"/>
                <a:gd name="connsiteX1" fmla="*/ 149225 w 240665"/>
                <a:gd name="connsiteY1" fmla="*/ 149225 h 149225"/>
                <a:gd name="connsiteX2" fmla="*/ 0 w 240665"/>
                <a:gd name="connsiteY2" fmla="*/ 149225 h 149225"/>
                <a:gd name="connsiteX3" fmla="*/ 240665 w 240665"/>
                <a:gd name="connsiteY3" fmla="*/ 91440 h 149225"/>
                <a:gd name="connsiteX0" fmla="*/ 149225 w 149225"/>
                <a:gd name="connsiteY0" fmla="*/ 0 h 149225"/>
                <a:gd name="connsiteX1" fmla="*/ 149225 w 149225"/>
                <a:gd name="connsiteY1" fmla="*/ 149225 h 149225"/>
                <a:gd name="connsiteX2" fmla="*/ 0 w 149225"/>
                <a:gd name="connsiteY2" fmla="*/ 149225 h 149225"/>
              </a:gdLst>
              <a:ahLst/>
              <a:cxnLst>
                <a:cxn ang="0">
                  <a:pos x="connsiteX0" y="connsiteY0"/>
                </a:cxn>
                <a:cxn ang="0">
                  <a:pos x="connsiteX1" y="connsiteY1"/>
                </a:cxn>
                <a:cxn ang="0">
                  <a:pos x="connsiteX2" y="connsiteY2"/>
                </a:cxn>
              </a:cxnLst>
              <a:rect l="l" t="t" r="r" b="b"/>
              <a:pathLst>
                <a:path w="149225" h="149225">
                  <a:moveTo>
                    <a:pt x="149225" y="0"/>
                  </a:moveTo>
                  <a:lnTo>
                    <a:pt x="149225" y="149225"/>
                  </a:lnTo>
                  <a:lnTo>
                    <a:pt x="0" y="149225"/>
                  </a:lnTo>
                </a:path>
              </a:pathLst>
            </a:custGeom>
            <a:noFill/>
            <a:ln w="9525" cap="flat" cmpd="sng" algn="ctr">
              <a:solidFill>
                <a:sysClr val="window" lastClr="FFFFFF"/>
              </a:solidFill>
              <a:prstDash val="solid"/>
              <a:miter lim="800000"/>
            </a:ln>
            <a:effectLst/>
          </p:spPr>
          <p:txBody>
            <a:bodyPr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black"/>
                </a:solidFill>
                <a:effectLst/>
                <a:uLnTx/>
                <a:uFillTx/>
                <a:latin typeface="Calibri" panose="020F0502020204030204"/>
                <a:ea typeface="+mn-ea"/>
                <a:cs typeface="+mn-cs"/>
              </a:endParaRPr>
            </a:p>
          </p:txBody>
        </p:sp>
      </p:grpSp>
      <p:sp>
        <p:nvSpPr>
          <p:cNvPr id="24" name="Action Button: Custom 23">
            <a:hlinkClick r:id="" action="ppaction://hlinkshowjump?jump=nextslide" highlightClick="1"/>
            <a:extLst>
              <a:ext uri="{FF2B5EF4-FFF2-40B4-BE49-F238E27FC236}">
                <a16:creationId xmlns:a16="http://schemas.microsoft.com/office/drawing/2014/main" id="{98B416AA-6970-204F-9803-82312AEF99A3}"/>
              </a:ext>
            </a:extLst>
          </p:cNvPr>
          <p:cNvSpPr/>
          <p:nvPr userDrawn="1"/>
        </p:nvSpPr>
        <p:spPr>
          <a:xfrm>
            <a:off x="160546" y="3095627"/>
            <a:ext cx="241211" cy="241211"/>
          </a:xfrm>
          <a:prstGeom prst="actionButtonBlank">
            <a:avLst/>
          </a:prstGeom>
          <a:no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5" name="Action Button: Custom 24">
            <a:hlinkClick r:id="" action="ppaction://hlinkshowjump?jump=previousslide" highlightClick="1"/>
            <a:extLst>
              <a:ext uri="{FF2B5EF4-FFF2-40B4-BE49-F238E27FC236}">
                <a16:creationId xmlns:a16="http://schemas.microsoft.com/office/drawing/2014/main" id="{7A387E38-D922-FA48-996E-C4EBA78D6D4A}"/>
              </a:ext>
            </a:extLst>
          </p:cNvPr>
          <p:cNvSpPr/>
          <p:nvPr userDrawn="1"/>
        </p:nvSpPr>
        <p:spPr>
          <a:xfrm>
            <a:off x="160546" y="3534274"/>
            <a:ext cx="241211" cy="241211"/>
          </a:xfrm>
          <a:prstGeom prst="actionButtonBlank">
            <a:avLst/>
          </a:prstGeom>
          <a:no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6" name="TextBox 5"/>
          <p:cNvSpPr txBox="1"/>
          <p:nvPr userDrawn="1"/>
        </p:nvSpPr>
        <p:spPr>
          <a:xfrm>
            <a:off x="12292" y="7286208"/>
            <a:ext cx="537719" cy="153888"/>
          </a:xfrm>
          <a:prstGeom prst="rect">
            <a:avLst/>
          </a:prstGeom>
          <a:noFill/>
        </p:spPr>
        <p:txBody>
          <a:bodyPr wrap="square" lIns="0" tIns="0" rIns="0" bIns="0" rtlCol="0">
            <a:spAutoFit/>
          </a:bodyPr>
          <a:lstStyle/>
          <a:p>
            <a:pPr algn="ctr" fontAlgn="auto">
              <a:spcBef>
                <a:spcPts val="0"/>
              </a:spcBef>
              <a:spcAft>
                <a:spcPts val="0"/>
              </a:spcAft>
              <a:buClrTx/>
              <a:buSzTx/>
              <a:buFontTx/>
              <a:buNone/>
            </a:pPr>
            <a:fld id="{EE81E157-A1D1-4641-98C5-E5C73AF14974}" type="slidenum">
              <a:rPr lang="en-US" sz="1000" b="1" smtClean="0">
                <a:solidFill>
                  <a:schemeClr val="tx2"/>
                </a:solidFill>
                <a:latin typeface="EYInterstate" panose="02000503020000020004" pitchFamily="2" charset="0"/>
              </a:rPr>
              <a:pPr algn="ctr" fontAlgn="auto">
                <a:spcBef>
                  <a:spcPts val="0"/>
                </a:spcBef>
                <a:spcAft>
                  <a:spcPts val="0"/>
                </a:spcAft>
                <a:buClrTx/>
                <a:buSzTx/>
                <a:buFontTx/>
                <a:buNone/>
              </a:pPr>
              <a:t>‹#›</a:t>
            </a:fld>
            <a:endParaRPr lang="en-US" sz="1000" b="1">
              <a:solidFill>
                <a:schemeClr val="tx2"/>
              </a:solidFill>
              <a:latin typeface="EYInterstate" panose="02000503020000020004" pitchFamily="2" charset="0"/>
            </a:endParaRPr>
          </a:p>
        </p:txBody>
      </p:sp>
    </p:spTree>
    <p:extLst>
      <p:ext uri="{BB962C8B-B14F-4D97-AF65-F5344CB8AC3E}">
        <p14:creationId xmlns:p14="http://schemas.microsoft.com/office/powerpoint/2010/main" val="694100276"/>
      </p:ext>
    </p:extLst>
  </p:cSld>
  <p:clrMap bg1="lt1" tx1="dk1" bg2="lt2" tx2="dk2" accent1="accent1" accent2="accent2" accent3="accent3" accent4="accent4" accent5="accent5" accent6="accent6" hlink="hlink" folHlink="folHlink"/>
  <p:sldLayoutIdLst>
    <p:sldLayoutId id="2147484118" r:id="rId1"/>
    <p:sldLayoutId id="2147484119" r:id="rId2"/>
    <p:sldLayoutId id="2147484120" r:id="rId3"/>
    <p:sldLayoutId id="2147484121" r:id="rId4"/>
    <p:sldLayoutId id="2147484122" r:id="rId5"/>
    <p:sldLayoutId id="2147484123" r:id="rId6"/>
    <p:sldLayoutId id="2147484125" r:id="rId7"/>
  </p:sldLayoutIdLst>
  <p:hf hdr="0" ftr="0" dt="0"/>
  <p:txStyles>
    <p:titleStyle>
      <a:lvl1pPr algn="l" defTabSz="1266737" rtl="0" eaLnBrk="1" latinLnBrk="0" hangingPunct="1">
        <a:lnSpc>
          <a:spcPct val="85000"/>
        </a:lnSpc>
        <a:spcBef>
          <a:spcPct val="0"/>
        </a:spcBef>
        <a:buNone/>
        <a:defRPr sz="2400" b="1" i="0" kern="1200">
          <a:solidFill>
            <a:schemeClr val="bg1"/>
          </a:solidFill>
          <a:latin typeface="EYInterstate" panose="02000503020000020004" pitchFamily="2" charset="0"/>
          <a:ea typeface="+mj-ea"/>
          <a:cs typeface="Arial" pitchFamily="34" charset="0"/>
        </a:defRPr>
      </a:lvl1pPr>
    </p:titleStyle>
    <p:bodyStyle>
      <a:lvl1pPr marL="494029" indent="-494029" algn="l" defTabSz="1266737" rtl="0" eaLnBrk="1" latinLnBrk="0" hangingPunct="1">
        <a:spcBef>
          <a:spcPct val="20000"/>
        </a:spcBef>
        <a:buClr>
          <a:schemeClr val="tx1"/>
        </a:buClr>
        <a:buSzPct val="70000"/>
        <a:buFont typeface="Arial" pitchFamily="34" charset="0"/>
        <a:buChar char="►"/>
        <a:defRPr sz="2493" b="0" i="0" kern="1200">
          <a:solidFill>
            <a:schemeClr val="bg1"/>
          </a:solidFill>
          <a:latin typeface="EYInterstate Light" panose="02000506000000020004" pitchFamily="2" charset="0"/>
          <a:ea typeface="+mn-ea"/>
          <a:cs typeface="+mn-cs"/>
        </a:defRPr>
      </a:lvl1pPr>
      <a:lvl2pPr marL="988054" indent="-494029" algn="l" defTabSz="1266737" rtl="0" eaLnBrk="1" latinLnBrk="0" hangingPunct="1">
        <a:spcBef>
          <a:spcPct val="20000"/>
        </a:spcBef>
        <a:buClr>
          <a:schemeClr val="tx1"/>
        </a:buClr>
        <a:buSzPct val="70000"/>
        <a:buFont typeface="Arial" pitchFamily="34" charset="0"/>
        <a:buChar char="►"/>
        <a:defRPr sz="2000" b="0" i="0" kern="1200">
          <a:solidFill>
            <a:schemeClr val="bg1"/>
          </a:solidFill>
          <a:latin typeface="EYInterstate Light" panose="02000506000000020004" pitchFamily="2" charset="0"/>
          <a:ea typeface="+mn-ea"/>
          <a:cs typeface="+mn-cs"/>
        </a:defRPr>
      </a:lvl2pPr>
      <a:lvl3pPr marL="1482083" indent="-494029" algn="l" defTabSz="1266737" rtl="0" eaLnBrk="1" latinLnBrk="0" hangingPunct="1">
        <a:spcBef>
          <a:spcPct val="20000"/>
        </a:spcBef>
        <a:buClr>
          <a:schemeClr val="tx1"/>
        </a:buClr>
        <a:buSzPct val="70000"/>
        <a:buFont typeface="Arial" pitchFamily="34" charset="0"/>
        <a:buChar char="►"/>
        <a:defRPr sz="1800" b="0" i="0" kern="1200">
          <a:solidFill>
            <a:schemeClr val="bg1"/>
          </a:solidFill>
          <a:latin typeface="EYInterstate Light" panose="02000506000000020004" pitchFamily="2" charset="0"/>
          <a:ea typeface="+mn-ea"/>
          <a:cs typeface="+mn-cs"/>
        </a:defRPr>
      </a:lvl3pPr>
      <a:lvl4pPr marL="1976110" indent="-494029" algn="l" defTabSz="1266737" rtl="0" eaLnBrk="1" latinLnBrk="0" hangingPunct="1">
        <a:spcBef>
          <a:spcPct val="20000"/>
        </a:spcBef>
        <a:buClr>
          <a:schemeClr val="tx1"/>
        </a:buClr>
        <a:buSzPct val="70000"/>
        <a:buFont typeface="Arial" pitchFamily="34" charset="0"/>
        <a:buChar char="►"/>
        <a:defRPr sz="1600" b="0" i="0" kern="1200">
          <a:solidFill>
            <a:schemeClr val="bg1"/>
          </a:solidFill>
          <a:latin typeface="EYInterstate Light" panose="02000506000000020004" pitchFamily="2" charset="0"/>
          <a:ea typeface="+mn-ea"/>
          <a:cs typeface="+mn-cs"/>
        </a:defRPr>
      </a:lvl4pPr>
      <a:lvl5pPr marL="2470136" indent="-494029" algn="l" defTabSz="1266737" rtl="0" eaLnBrk="1" latinLnBrk="0" hangingPunct="1">
        <a:spcBef>
          <a:spcPct val="20000"/>
        </a:spcBef>
        <a:buClr>
          <a:schemeClr val="tx1"/>
        </a:buClr>
        <a:buSzPct val="70000"/>
        <a:buFont typeface="Arial" pitchFamily="34" charset="0"/>
        <a:buChar char="►"/>
        <a:defRPr sz="1400" b="0" i="0" kern="1200">
          <a:solidFill>
            <a:schemeClr val="bg1"/>
          </a:solidFill>
          <a:latin typeface="EYInterstate Light" panose="02000506000000020004" pitchFamily="2" charset="0"/>
          <a:ea typeface="+mn-ea"/>
          <a:cs typeface="+mn-cs"/>
        </a:defRPr>
      </a:lvl5pPr>
      <a:lvl6pPr marL="3483527" indent="-316685" algn="l" defTabSz="1266737" rtl="0" eaLnBrk="1" latinLnBrk="0" hangingPunct="1">
        <a:spcBef>
          <a:spcPct val="20000"/>
        </a:spcBef>
        <a:buFont typeface="Arial" pitchFamily="34" charset="0"/>
        <a:buChar char="•"/>
        <a:defRPr sz="2771" kern="1200">
          <a:solidFill>
            <a:schemeClr val="tx1"/>
          </a:solidFill>
          <a:latin typeface="+mn-lt"/>
          <a:ea typeface="+mn-ea"/>
          <a:cs typeface="+mn-cs"/>
        </a:defRPr>
      </a:lvl6pPr>
      <a:lvl7pPr marL="4116896" indent="-316685" algn="l" defTabSz="1266737" rtl="0" eaLnBrk="1" latinLnBrk="0" hangingPunct="1">
        <a:spcBef>
          <a:spcPct val="20000"/>
        </a:spcBef>
        <a:buFont typeface="Arial" pitchFamily="34" charset="0"/>
        <a:buChar char="•"/>
        <a:defRPr sz="2771" kern="1200">
          <a:solidFill>
            <a:schemeClr val="tx1"/>
          </a:solidFill>
          <a:latin typeface="+mn-lt"/>
          <a:ea typeface="+mn-ea"/>
          <a:cs typeface="+mn-cs"/>
        </a:defRPr>
      </a:lvl7pPr>
      <a:lvl8pPr marL="4750266" indent="-316685" algn="l" defTabSz="1266737" rtl="0" eaLnBrk="1" latinLnBrk="0" hangingPunct="1">
        <a:spcBef>
          <a:spcPct val="20000"/>
        </a:spcBef>
        <a:buFont typeface="Arial" pitchFamily="34" charset="0"/>
        <a:buChar char="•"/>
        <a:defRPr sz="2771" kern="1200">
          <a:solidFill>
            <a:schemeClr val="tx1"/>
          </a:solidFill>
          <a:latin typeface="+mn-lt"/>
          <a:ea typeface="+mn-ea"/>
          <a:cs typeface="+mn-cs"/>
        </a:defRPr>
      </a:lvl8pPr>
      <a:lvl9pPr marL="5383632" indent="-316685" algn="l" defTabSz="1266737" rtl="0" eaLnBrk="1" latinLnBrk="0" hangingPunct="1">
        <a:spcBef>
          <a:spcPct val="20000"/>
        </a:spcBef>
        <a:buFont typeface="Arial" pitchFamily="34" charset="0"/>
        <a:buChar char="•"/>
        <a:defRPr sz="2771" kern="1200">
          <a:solidFill>
            <a:schemeClr val="tx1"/>
          </a:solidFill>
          <a:latin typeface="+mn-lt"/>
          <a:ea typeface="+mn-ea"/>
          <a:cs typeface="+mn-cs"/>
        </a:defRPr>
      </a:lvl9pPr>
    </p:bodyStyle>
    <p:otherStyle>
      <a:defPPr>
        <a:defRPr lang="en-US"/>
      </a:defPPr>
      <a:lvl1pPr marL="0" algn="l" defTabSz="1266737" rtl="0" eaLnBrk="1" latinLnBrk="0" hangingPunct="1">
        <a:defRPr sz="2493" kern="1200">
          <a:solidFill>
            <a:schemeClr val="tx1"/>
          </a:solidFill>
          <a:latin typeface="+mn-lt"/>
          <a:ea typeface="+mn-ea"/>
          <a:cs typeface="+mn-cs"/>
        </a:defRPr>
      </a:lvl1pPr>
      <a:lvl2pPr marL="633367" algn="l" defTabSz="1266737" rtl="0" eaLnBrk="1" latinLnBrk="0" hangingPunct="1">
        <a:defRPr sz="2493" kern="1200">
          <a:solidFill>
            <a:schemeClr val="tx1"/>
          </a:solidFill>
          <a:latin typeface="+mn-lt"/>
          <a:ea typeface="+mn-ea"/>
          <a:cs typeface="+mn-cs"/>
        </a:defRPr>
      </a:lvl2pPr>
      <a:lvl3pPr marL="1266737" algn="l" defTabSz="1266737" rtl="0" eaLnBrk="1" latinLnBrk="0" hangingPunct="1">
        <a:defRPr sz="2493" kern="1200">
          <a:solidFill>
            <a:schemeClr val="tx1"/>
          </a:solidFill>
          <a:latin typeface="+mn-lt"/>
          <a:ea typeface="+mn-ea"/>
          <a:cs typeface="+mn-cs"/>
        </a:defRPr>
      </a:lvl3pPr>
      <a:lvl4pPr marL="1900106" algn="l" defTabSz="1266737" rtl="0" eaLnBrk="1" latinLnBrk="0" hangingPunct="1">
        <a:defRPr sz="2493" kern="1200">
          <a:solidFill>
            <a:schemeClr val="tx1"/>
          </a:solidFill>
          <a:latin typeface="+mn-lt"/>
          <a:ea typeface="+mn-ea"/>
          <a:cs typeface="+mn-cs"/>
        </a:defRPr>
      </a:lvl4pPr>
      <a:lvl5pPr marL="2533476" algn="l" defTabSz="1266737" rtl="0" eaLnBrk="1" latinLnBrk="0" hangingPunct="1">
        <a:defRPr sz="2493" kern="1200">
          <a:solidFill>
            <a:schemeClr val="tx1"/>
          </a:solidFill>
          <a:latin typeface="+mn-lt"/>
          <a:ea typeface="+mn-ea"/>
          <a:cs typeface="+mn-cs"/>
        </a:defRPr>
      </a:lvl5pPr>
      <a:lvl6pPr marL="3166843" algn="l" defTabSz="1266737" rtl="0" eaLnBrk="1" latinLnBrk="0" hangingPunct="1">
        <a:defRPr sz="2493" kern="1200">
          <a:solidFill>
            <a:schemeClr val="tx1"/>
          </a:solidFill>
          <a:latin typeface="+mn-lt"/>
          <a:ea typeface="+mn-ea"/>
          <a:cs typeface="+mn-cs"/>
        </a:defRPr>
      </a:lvl6pPr>
      <a:lvl7pPr marL="3800210" algn="l" defTabSz="1266737" rtl="0" eaLnBrk="1" latinLnBrk="0" hangingPunct="1">
        <a:defRPr sz="2493" kern="1200">
          <a:solidFill>
            <a:schemeClr val="tx1"/>
          </a:solidFill>
          <a:latin typeface="+mn-lt"/>
          <a:ea typeface="+mn-ea"/>
          <a:cs typeface="+mn-cs"/>
        </a:defRPr>
      </a:lvl7pPr>
      <a:lvl8pPr marL="4433580" algn="l" defTabSz="1266737" rtl="0" eaLnBrk="1" latinLnBrk="0" hangingPunct="1">
        <a:defRPr sz="2493" kern="1200">
          <a:solidFill>
            <a:schemeClr val="tx1"/>
          </a:solidFill>
          <a:latin typeface="+mn-lt"/>
          <a:ea typeface="+mn-ea"/>
          <a:cs typeface="+mn-cs"/>
        </a:defRPr>
      </a:lvl8pPr>
      <a:lvl9pPr marL="5066947" algn="l" defTabSz="1266737" rtl="0" eaLnBrk="1" latinLnBrk="0" hangingPunct="1">
        <a:defRPr sz="2493"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292929"/>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CFBD0FE-2988-478E-8592-E6271312F2C0}"/>
              </a:ext>
            </a:extLst>
          </p:cNvPr>
          <p:cNvGraphicFramePr>
            <a:graphicFrameLocks noChangeAspect="1"/>
          </p:cNvGraphicFramePr>
          <p:nvPr userDrawn="1">
            <p:custDataLst>
              <p:tags r:id="rId15"/>
            </p:custDataLst>
            <p:extLst>
              <p:ext uri="{D42A27DB-BD31-4B8C-83A1-F6EECF244321}">
                <p14:modId xmlns:p14="http://schemas.microsoft.com/office/powerpoint/2010/main" val="36525846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4" name="think-cell Slide" r:id="rId16" imgW="395" imgH="396" progId="TCLayout.ActiveDocument.1">
                  <p:embed/>
                </p:oleObj>
              </mc:Choice>
              <mc:Fallback>
                <p:oleObj name="think-cell Slide" r:id="rId16" imgW="395" imgH="396" progId="TCLayout.ActiveDocument.1">
                  <p:embed/>
                  <p:pic>
                    <p:nvPicPr>
                      <p:cNvPr id="2" name="Object 1" hidden="1">
                        <a:extLst>
                          <a:ext uri="{FF2B5EF4-FFF2-40B4-BE49-F238E27FC236}">
                            <a16:creationId xmlns:a16="http://schemas.microsoft.com/office/drawing/2014/main" id="{CCFBD0FE-2988-478E-8592-E6271312F2C0}"/>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pic>
        <p:nvPicPr>
          <p:cNvPr id="16" name="Picture 15"/>
          <p:cNvPicPr>
            <a:picLocks noChangeAspect="1"/>
          </p:cNvPicPr>
          <p:nvPr userDrawn="1"/>
        </p:nvPicPr>
        <p:blipFill>
          <a:blip r:embed="rId18" cstate="email">
            <a:extLst>
              <a:ext uri="{28A0092B-C50C-407E-A947-70E740481C1C}">
                <a14:useLocalDpi xmlns:a14="http://schemas.microsoft.com/office/drawing/2010/main"/>
              </a:ext>
            </a:extLst>
          </a:blip>
          <a:stretch>
            <a:fillRect/>
          </a:stretch>
        </p:blipFill>
        <p:spPr>
          <a:xfrm>
            <a:off x="3365986" y="0"/>
            <a:ext cx="10076964" cy="7561263"/>
          </a:xfrm>
          <a:prstGeom prst="rect">
            <a:avLst/>
          </a:prstGeom>
        </p:spPr>
      </p:pic>
      <p:pic>
        <p:nvPicPr>
          <p:cNvPr id="3" name="Picture 2"/>
          <p:cNvPicPr>
            <a:picLocks noChangeAspect="1"/>
          </p:cNvPicPr>
          <p:nvPr userDrawn="1"/>
        </p:nvPicPr>
        <p:blipFill>
          <a:blip r:embed="rId19" cstate="email">
            <a:extLst>
              <a:ext uri="{28A0092B-C50C-407E-A947-70E740481C1C}">
                <a14:useLocalDpi xmlns:a14="http://schemas.microsoft.com/office/drawing/2010/main"/>
              </a:ext>
            </a:extLst>
          </a:blip>
          <a:stretch>
            <a:fillRect/>
          </a:stretch>
        </p:blipFill>
        <p:spPr>
          <a:xfrm>
            <a:off x="3086071" y="0"/>
            <a:ext cx="10367038" cy="7561263"/>
          </a:xfrm>
          <a:prstGeom prst="rect">
            <a:avLst/>
          </a:prstGeom>
        </p:spPr>
      </p:pic>
      <p:grpSp>
        <p:nvGrpSpPr>
          <p:cNvPr id="5" name="Group 4"/>
          <p:cNvGrpSpPr>
            <a:grpSpLocks noChangeAspect="1"/>
          </p:cNvGrpSpPr>
          <p:nvPr userDrawn="1"/>
        </p:nvGrpSpPr>
        <p:grpSpPr bwMode="auto">
          <a:xfrm>
            <a:off x="12816642" y="336056"/>
            <a:ext cx="328901" cy="336056"/>
            <a:chOff x="7326" y="192"/>
            <a:chExt cx="188" cy="192"/>
          </a:xfrm>
        </p:grpSpPr>
        <p:sp>
          <p:nvSpPr>
            <p:cNvPr id="6" name="AutoShape 3"/>
            <p:cNvSpPr>
              <a:spLocks noChangeAspect="1" noChangeArrowheads="1" noTextEdit="1"/>
            </p:cNvSpPr>
            <p:nvPr userDrawn="1"/>
          </p:nvSpPr>
          <p:spPr bwMode="auto">
            <a:xfrm>
              <a:off x="7326" y="192"/>
              <a:ext cx="188" cy="1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979">
                <a:latin typeface="EYInterstate Light" panose="02000506000000020004" pitchFamily="2" charset="0"/>
              </a:endParaRPr>
            </a:p>
          </p:txBody>
        </p:sp>
        <p:sp>
          <p:nvSpPr>
            <p:cNvPr id="7" name="Freeform 5"/>
            <p:cNvSpPr>
              <a:spLocks/>
            </p:cNvSpPr>
            <p:nvPr userDrawn="1"/>
          </p:nvSpPr>
          <p:spPr bwMode="auto">
            <a:xfrm>
              <a:off x="7328" y="289"/>
              <a:ext cx="76" cy="95"/>
            </a:xfrm>
            <a:custGeom>
              <a:avLst/>
              <a:gdLst>
                <a:gd name="T0" fmla="*/ 342 w 913"/>
                <a:gd name="T1" fmla="*/ 690 h 1140"/>
                <a:gd name="T2" fmla="*/ 755 w 913"/>
                <a:gd name="T3" fmla="*/ 690 h 1140"/>
                <a:gd name="T4" fmla="*/ 755 w 913"/>
                <a:gd name="T5" fmla="*/ 450 h 1140"/>
                <a:gd name="T6" fmla="*/ 342 w 913"/>
                <a:gd name="T7" fmla="*/ 450 h 1140"/>
                <a:gd name="T8" fmla="*/ 342 w 913"/>
                <a:gd name="T9" fmla="*/ 262 h 1140"/>
                <a:gd name="T10" fmla="*/ 798 w 913"/>
                <a:gd name="T11" fmla="*/ 262 h 1140"/>
                <a:gd name="T12" fmla="*/ 647 w 913"/>
                <a:gd name="T13" fmla="*/ 0 h 1140"/>
                <a:gd name="T14" fmla="*/ 0 w 913"/>
                <a:gd name="T15" fmla="*/ 0 h 1140"/>
                <a:gd name="T16" fmla="*/ 0 w 913"/>
                <a:gd name="T17" fmla="*/ 1140 h 1140"/>
                <a:gd name="T18" fmla="*/ 913 w 913"/>
                <a:gd name="T19" fmla="*/ 1140 h 1140"/>
                <a:gd name="T20" fmla="*/ 913 w 913"/>
                <a:gd name="T21" fmla="*/ 878 h 1140"/>
                <a:gd name="T22" fmla="*/ 342 w 913"/>
                <a:gd name="T23" fmla="*/ 878 h 1140"/>
                <a:gd name="T24" fmla="*/ 342 w 913"/>
                <a:gd name="T25" fmla="*/ 690 h 1140"/>
                <a:gd name="T26" fmla="*/ 342 w 913"/>
                <a:gd name="T27" fmla="*/ 690 h 1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13" h="1140">
                  <a:moveTo>
                    <a:pt x="342" y="690"/>
                  </a:moveTo>
                  <a:lnTo>
                    <a:pt x="755" y="690"/>
                  </a:lnTo>
                  <a:lnTo>
                    <a:pt x="755" y="450"/>
                  </a:lnTo>
                  <a:lnTo>
                    <a:pt x="342" y="450"/>
                  </a:lnTo>
                  <a:lnTo>
                    <a:pt x="342" y="262"/>
                  </a:lnTo>
                  <a:lnTo>
                    <a:pt x="798" y="262"/>
                  </a:lnTo>
                  <a:lnTo>
                    <a:pt x="647" y="0"/>
                  </a:lnTo>
                  <a:lnTo>
                    <a:pt x="0" y="0"/>
                  </a:lnTo>
                  <a:lnTo>
                    <a:pt x="0" y="1140"/>
                  </a:lnTo>
                  <a:lnTo>
                    <a:pt x="913" y="1140"/>
                  </a:lnTo>
                  <a:lnTo>
                    <a:pt x="913" y="878"/>
                  </a:lnTo>
                  <a:lnTo>
                    <a:pt x="342" y="878"/>
                  </a:lnTo>
                  <a:lnTo>
                    <a:pt x="342" y="690"/>
                  </a:lnTo>
                  <a:lnTo>
                    <a:pt x="342" y="690"/>
                  </a:lnTo>
                  <a:close/>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979">
                <a:latin typeface="EYInterstate Light" panose="02000506000000020004" pitchFamily="2" charset="0"/>
              </a:endParaRPr>
            </a:p>
          </p:txBody>
        </p:sp>
        <p:sp>
          <p:nvSpPr>
            <p:cNvPr id="8" name="Freeform 6"/>
            <p:cNvSpPr>
              <a:spLocks/>
            </p:cNvSpPr>
            <p:nvPr userDrawn="1"/>
          </p:nvSpPr>
          <p:spPr bwMode="auto">
            <a:xfrm>
              <a:off x="7391" y="289"/>
              <a:ext cx="94" cy="95"/>
            </a:xfrm>
            <a:custGeom>
              <a:avLst/>
              <a:gdLst>
                <a:gd name="T0" fmla="*/ 766 w 1139"/>
                <a:gd name="T1" fmla="*/ 0 h 1140"/>
                <a:gd name="T2" fmla="*/ 571 w 1139"/>
                <a:gd name="T3" fmla="*/ 372 h 1140"/>
                <a:gd name="T4" fmla="*/ 378 w 1139"/>
                <a:gd name="T5" fmla="*/ 0 h 1140"/>
                <a:gd name="T6" fmla="*/ 0 w 1139"/>
                <a:gd name="T7" fmla="*/ 0 h 1140"/>
                <a:gd name="T8" fmla="*/ 398 w 1139"/>
                <a:gd name="T9" fmla="*/ 690 h 1140"/>
                <a:gd name="T10" fmla="*/ 398 w 1139"/>
                <a:gd name="T11" fmla="*/ 1140 h 1140"/>
                <a:gd name="T12" fmla="*/ 739 w 1139"/>
                <a:gd name="T13" fmla="*/ 1140 h 1140"/>
                <a:gd name="T14" fmla="*/ 739 w 1139"/>
                <a:gd name="T15" fmla="*/ 690 h 1140"/>
                <a:gd name="T16" fmla="*/ 1139 w 1139"/>
                <a:gd name="T17" fmla="*/ 0 h 1140"/>
                <a:gd name="T18" fmla="*/ 766 w 1139"/>
                <a:gd name="T19" fmla="*/ 0 h 1140"/>
                <a:gd name="T20" fmla="*/ 766 w 1139"/>
                <a:gd name="T21" fmla="*/ 0 h 1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39" h="1140">
                  <a:moveTo>
                    <a:pt x="766" y="0"/>
                  </a:moveTo>
                  <a:lnTo>
                    <a:pt x="571" y="372"/>
                  </a:lnTo>
                  <a:lnTo>
                    <a:pt x="378" y="0"/>
                  </a:lnTo>
                  <a:lnTo>
                    <a:pt x="0" y="0"/>
                  </a:lnTo>
                  <a:lnTo>
                    <a:pt x="398" y="690"/>
                  </a:lnTo>
                  <a:lnTo>
                    <a:pt x="398" y="1140"/>
                  </a:lnTo>
                  <a:lnTo>
                    <a:pt x="739" y="1140"/>
                  </a:lnTo>
                  <a:lnTo>
                    <a:pt x="739" y="690"/>
                  </a:lnTo>
                  <a:lnTo>
                    <a:pt x="1139" y="0"/>
                  </a:lnTo>
                  <a:lnTo>
                    <a:pt x="766" y="0"/>
                  </a:lnTo>
                  <a:lnTo>
                    <a:pt x="766" y="0"/>
                  </a:lnTo>
                  <a:close/>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979">
                <a:latin typeface="EYInterstate Light" panose="02000506000000020004" pitchFamily="2" charset="0"/>
              </a:endParaRPr>
            </a:p>
          </p:txBody>
        </p:sp>
        <p:sp>
          <p:nvSpPr>
            <p:cNvPr id="9" name="Freeform 7"/>
            <p:cNvSpPr>
              <a:spLocks/>
            </p:cNvSpPr>
            <p:nvPr userDrawn="1"/>
          </p:nvSpPr>
          <p:spPr bwMode="auto">
            <a:xfrm>
              <a:off x="7326" y="192"/>
              <a:ext cx="188" cy="69"/>
            </a:xfrm>
            <a:custGeom>
              <a:avLst/>
              <a:gdLst>
                <a:gd name="T0" fmla="*/ 2256 w 2256"/>
                <a:gd name="T1" fmla="*/ 0 h 822"/>
                <a:gd name="T2" fmla="*/ 0 w 2256"/>
                <a:gd name="T3" fmla="*/ 822 h 822"/>
                <a:gd name="T4" fmla="*/ 2256 w 2256"/>
                <a:gd name="T5" fmla="*/ 424 h 822"/>
                <a:gd name="T6" fmla="*/ 2256 w 2256"/>
                <a:gd name="T7" fmla="*/ 0 h 822"/>
                <a:gd name="T8" fmla="*/ 2256 w 2256"/>
                <a:gd name="T9" fmla="*/ 0 h 822"/>
              </a:gdLst>
              <a:ahLst/>
              <a:cxnLst>
                <a:cxn ang="0">
                  <a:pos x="T0" y="T1"/>
                </a:cxn>
                <a:cxn ang="0">
                  <a:pos x="T2" y="T3"/>
                </a:cxn>
                <a:cxn ang="0">
                  <a:pos x="T4" y="T5"/>
                </a:cxn>
                <a:cxn ang="0">
                  <a:pos x="T6" y="T7"/>
                </a:cxn>
                <a:cxn ang="0">
                  <a:pos x="T8" y="T9"/>
                </a:cxn>
              </a:cxnLst>
              <a:rect l="0" t="0" r="r" b="b"/>
              <a:pathLst>
                <a:path w="2256" h="822">
                  <a:moveTo>
                    <a:pt x="2256" y="0"/>
                  </a:moveTo>
                  <a:lnTo>
                    <a:pt x="0" y="822"/>
                  </a:lnTo>
                  <a:lnTo>
                    <a:pt x="2256" y="424"/>
                  </a:lnTo>
                  <a:lnTo>
                    <a:pt x="2256" y="0"/>
                  </a:lnTo>
                  <a:lnTo>
                    <a:pt x="2256" y="0"/>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979">
                <a:latin typeface="EYInterstate Light" panose="02000506000000020004" pitchFamily="2" charset="0"/>
              </a:endParaRPr>
            </a:p>
          </p:txBody>
        </p:sp>
      </p:grpSp>
      <p:sp>
        <p:nvSpPr>
          <p:cNvPr id="10" name="TextBox 9"/>
          <p:cNvSpPr txBox="1"/>
          <p:nvPr userDrawn="1"/>
        </p:nvSpPr>
        <p:spPr>
          <a:xfrm>
            <a:off x="12881423" y="7011444"/>
            <a:ext cx="195524" cy="170122"/>
          </a:xfrm>
          <a:prstGeom prst="rect">
            <a:avLst/>
          </a:prstGeom>
          <a:noFill/>
        </p:spPr>
        <p:txBody>
          <a:bodyPr wrap="square" lIns="0" tIns="40207" rIns="0" bIns="0" rtlCol="0">
            <a:spAutoFit/>
          </a:bodyPr>
          <a:lstStyle/>
          <a:p>
            <a:pPr marL="0" indent="0" algn="ctr">
              <a:lnSpc>
                <a:spcPct val="85000"/>
              </a:lnSpc>
              <a:spcAft>
                <a:spcPts val="660"/>
              </a:spcAft>
              <a:buClr>
                <a:schemeClr val="accent2"/>
              </a:buClr>
              <a:buSzPct val="70000"/>
              <a:buFont typeface="Arial" pitchFamily="34" charset="0"/>
              <a:buNone/>
            </a:pPr>
            <a:fld id="{76945EB4-FEC5-42E9-A015-7F9892B7BD8F}" type="slidenum">
              <a:rPr lang="en-US" sz="990" smtClean="0">
                <a:solidFill>
                  <a:schemeClr val="bg1"/>
                </a:solidFill>
                <a:latin typeface="EYInterstate" panose="02000503020000020004" pitchFamily="2" charset="0"/>
              </a:rPr>
              <a:pPr marL="0" indent="0" algn="ctr">
                <a:lnSpc>
                  <a:spcPct val="85000"/>
                </a:lnSpc>
                <a:spcAft>
                  <a:spcPts val="660"/>
                </a:spcAft>
                <a:buClr>
                  <a:schemeClr val="accent2"/>
                </a:buClr>
                <a:buSzPct val="70000"/>
                <a:buFont typeface="Arial" pitchFamily="34" charset="0"/>
                <a:buNone/>
              </a:pPr>
              <a:t>‹#›</a:t>
            </a:fld>
            <a:endParaRPr lang="en-US" sz="1319">
              <a:solidFill>
                <a:schemeClr val="bg1"/>
              </a:solidFill>
              <a:latin typeface="EYInterstate" panose="02000503020000020004" pitchFamily="2" charset="0"/>
            </a:endParaRPr>
          </a:p>
        </p:txBody>
      </p:sp>
    </p:spTree>
    <p:extLst>
      <p:ext uri="{BB962C8B-B14F-4D97-AF65-F5344CB8AC3E}">
        <p14:creationId xmlns:p14="http://schemas.microsoft.com/office/powerpoint/2010/main" val="2368283102"/>
      </p:ext>
    </p:extLst>
  </p:cSld>
  <p:clrMap bg1="lt1" tx1="dk1" bg2="lt2" tx2="dk2" accent1="accent1" accent2="accent2" accent3="accent3" accent4="accent4" accent5="accent5" accent6="accent6" hlink="hlink" folHlink="folHlink"/>
  <p:sldLayoutIdLst>
    <p:sldLayoutId id="2147484128" r:id="rId1"/>
    <p:sldLayoutId id="2147484130" r:id="rId2"/>
    <p:sldLayoutId id="2147484131" r:id="rId3"/>
    <p:sldLayoutId id="2147484132" r:id="rId4"/>
    <p:sldLayoutId id="2147484133" r:id="rId5"/>
    <p:sldLayoutId id="2147484134" r:id="rId6"/>
    <p:sldLayoutId id="2147484135" r:id="rId7"/>
    <p:sldLayoutId id="2147484136" r:id="rId8"/>
    <p:sldLayoutId id="2147484137" r:id="rId9"/>
    <p:sldLayoutId id="2147484138" r:id="rId10"/>
    <p:sldLayoutId id="2147484139" r:id="rId11"/>
    <p:sldLayoutId id="2147484141" r:id="rId12"/>
  </p:sldLayoutIdLst>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hdr="0" ftr="0" dt="0"/>
  <p:txStyles>
    <p:titleStyle>
      <a:lvl1pPr algn="l" defTabSz="1005102" rtl="0" eaLnBrk="1" latinLnBrk="0" hangingPunct="1">
        <a:lnSpc>
          <a:spcPct val="90000"/>
        </a:lnSpc>
        <a:spcBef>
          <a:spcPct val="0"/>
        </a:spcBef>
        <a:buNone/>
        <a:defRPr sz="2638" b="0" kern="1200" baseline="0">
          <a:solidFill>
            <a:schemeClr val="tx1"/>
          </a:solidFill>
          <a:latin typeface="EYInterstate Light" panose="02000506000000020004" pitchFamily="2" charset="0"/>
          <a:ea typeface="+mj-ea"/>
          <a:cs typeface="Arial" pitchFamily="34" charset="0"/>
        </a:defRPr>
      </a:lvl1pPr>
    </p:titleStyle>
    <p:bodyStyle>
      <a:lvl1pPr marL="0" indent="0" algn="l" defTabSz="1005102" rtl="0" eaLnBrk="1" latinLnBrk="0" hangingPunct="1">
        <a:spcBef>
          <a:spcPct val="20000"/>
        </a:spcBef>
        <a:buClr>
          <a:schemeClr val="accent2"/>
        </a:buClr>
        <a:buSzPct val="70000"/>
        <a:buFont typeface="Arial" pitchFamily="34" charset="0"/>
        <a:buNone/>
        <a:defRPr sz="1319" kern="1200">
          <a:solidFill>
            <a:schemeClr val="tx1"/>
          </a:solidFill>
          <a:latin typeface="+mn-lt"/>
          <a:ea typeface="+mn-ea"/>
          <a:cs typeface="+mn-cs"/>
        </a:defRPr>
      </a:lvl1pPr>
      <a:lvl2pPr marL="184968" indent="0" algn="l" defTabSz="1005102" rtl="0" eaLnBrk="1" latinLnBrk="0" hangingPunct="1">
        <a:spcBef>
          <a:spcPct val="20000"/>
        </a:spcBef>
        <a:buClr>
          <a:schemeClr val="accent2"/>
        </a:buClr>
        <a:buSzPct val="70000"/>
        <a:buFont typeface="Arial" pitchFamily="34" charset="0"/>
        <a:buNone/>
        <a:defRPr sz="1319" kern="1200">
          <a:solidFill>
            <a:schemeClr val="tx1"/>
          </a:solidFill>
          <a:latin typeface="+mn-lt"/>
          <a:ea typeface="+mn-ea"/>
          <a:cs typeface="+mn-cs"/>
        </a:defRPr>
      </a:lvl2pPr>
      <a:lvl3pPr marL="380403" indent="0" algn="l" defTabSz="1005102" rtl="0" eaLnBrk="1" latinLnBrk="0" hangingPunct="1">
        <a:spcBef>
          <a:spcPct val="20000"/>
        </a:spcBef>
        <a:buClr>
          <a:schemeClr val="accent2"/>
        </a:buClr>
        <a:buSzPct val="70000"/>
        <a:buFont typeface="Arial" pitchFamily="34" charset="0"/>
        <a:buNone/>
        <a:defRPr sz="1319" kern="1200">
          <a:solidFill>
            <a:schemeClr val="tx1"/>
          </a:solidFill>
          <a:latin typeface="+mn-lt"/>
          <a:ea typeface="+mn-ea"/>
          <a:cs typeface="+mn-cs"/>
        </a:defRPr>
      </a:lvl3pPr>
      <a:lvl4pPr marL="1567960" indent="-391991" algn="l" defTabSz="1005102" rtl="0" eaLnBrk="1" latinLnBrk="0" hangingPunct="1">
        <a:spcBef>
          <a:spcPct val="20000"/>
        </a:spcBef>
        <a:buClr>
          <a:schemeClr val="accent2"/>
        </a:buClr>
        <a:buSzPct val="70000"/>
        <a:buFont typeface="Arial" pitchFamily="34" charset="0"/>
        <a:buChar char="►"/>
        <a:defRPr sz="1319" kern="1200">
          <a:solidFill>
            <a:schemeClr val="tx1"/>
          </a:solidFill>
          <a:latin typeface="+mn-lt"/>
          <a:ea typeface="+mn-ea"/>
          <a:cs typeface="+mn-cs"/>
        </a:defRPr>
      </a:lvl4pPr>
      <a:lvl5pPr marL="1959950" indent="-391991" algn="l" defTabSz="1005102" rtl="0" eaLnBrk="1" latinLnBrk="0" hangingPunct="1">
        <a:spcBef>
          <a:spcPct val="20000"/>
        </a:spcBef>
        <a:buClr>
          <a:schemeClr val="accent2"/>
        </a:buClr>
        <a:buSzPct val="70000"/>
        <a:buFont typeface="Arial" pitchFamily="34" charset="0"/>
        <a:buChar char="►"/>
        <a:defRPr sz="1319" kern="1200">
          <a:solidFill>
            <a:schemeClr val="tx1"/>
          </a:solidFill>
          <a:latin typeface="+mn-lt"/>
          <a:ea typeface="+mn-ea"/>
          <a:cs typeface="+mn-cs"/>
        </a:defRPr>
      </a:lvl5pPr>
      <a:lvl6pPr marL="2764031" indent="-251276" algn="l" defTabSz="1005102" rtl="0" eaLnBrk="1" latinLnBrk="0" hangingPunct="1">
        <a:spcBef>
          <a:spcPct val="20000"/>
        </a:spcBef>
        <a:buFont typeface="Arial" pitchFamily="34" charset="0"/>
        <a:buChar char="•"/>
        <a:defRPr sz="2198" kern="1200">
          <a:solidFill>
            <a:schemeClr val="tx1"/>
          </a:solidFill>
          <a:latin typeface="+mn-lt"/>
          <a:ea typeface="+mn-ea"/>
          <a:cs typeface="+mn-cs"/>
        </a:defRPr>
      </a:lvl6pPr>
      <a:lvl7pPr marL="3266583" indent="-251276" algn="l" defTabSz="1005102" rtl="0" eaLnBrk="1" latinLnBrk="0" hangingPunct="1">
        <a:spcBef>
          <a:spcPct val="20000"/>
        </a:spcBef>
        <a:buFont typeface="Arial" pitchFamily="34" charset="0"/>
        <a:buChar char="•"/>
        <a:defRPr sz="2198" kern="1200">
          <a:solidFill>
            <a:schemeClr val="tx1"/>
          </a:solidFill>
          <a:latin typeface="+mn-lt"/>
          <a:ea typeface="+mn-ea"/>
          <a:cs typeface="+mn-cs"/>
        </a:defRPr>
      </a:lvl7pPr>
      <a:lvl8pPr marL="3769134" indent="-251276" algn="l" defTabSz="1005102" rtl="0" eaLnBrk="1" latinLnBrk="0" hangingPunct="1">
        <a:spcBef>
          <a:spcPct val="20000"/>
        </a:spcBef>
        <a:buFont typeface="Arial" pitchFamily="34" charset="0"/>
        <a:buChar char="•"/>
        <a:defRPr sz="2198" kern="1200">
          <a:solidFill>
            <a:schemeClr val="tx1"/>
          </a:solidFill>
          <a:latin typeface="+mn-lt"/>
          <a:ea typeface="+mn-ea"/>
          <a:cs typeface="+mn-cs"/>
        </a:defRPr>
      </a:lvl8pPr>
      <a:lvl9pPr marL="4271684" indent="-251276" algn="l" defTabSz="1005102" rtl="0" eaLnBrk="1" latinLnBrk="0" hangingPunct="1">
        <a:spcBef>
          <a:spcPct val="20000"/>
        </a:spcBef>
        <a:buFont typeface="Arial" pitchFamily="34" charset="0"/>
        <a:buChar char="•"/>
        <a:defRPr sz="2198" kern="1200">
          <a:solidFill>
            <a:schemeClr val="tx1"/>
          </a:solidFill>
          <a:latin typeface="+mn-lt"/>
          <a:ea typeface="+mn-ea"/>
          <a:cs typeface="+mn-cs"/>
        </a:defRPr>
      </a:lvl9pPr>
    </p:bodyStyle>
    <p:otherStyle>
      <a:defPPr>
        <a:defRPr lang="en-US"/>
      </a:defPPr>
      <a:lvl1pPr marL="0" algn="l" defTabSz="1005102" rtl="0" eaLnBrk="1" latinLnBrk="0" hangingPunct="1">
        <a:defRPr sz="1979" kern="1200">
          <a:solidFill>
            <a:schemeClr val="tx1"/>
          </a:solidFill>
          <a:latin typeface="+mn-lt"/>
          <a:ea typeface="+mn-ea"/>
          <a:cs typeface="+mn-cs"/>
        </a:defRPr>
      </a:lvl1pPr>
      <a:lvl2pPr marL="502550" algn="l" defTabSz="1005102" rtl="0" eaLnBrk="1" latinLnBrk="0" hangingPunct="1">
        <a:defRPr sz="1979" kern="1200">
          <a:solidFill>
            <a:schemeClr val="tx1"/>
          </a:solidFill>
          <a:latin typeface="+mn-lt"/>
          <a:ea typeface="+mn-ea"/>
          <a:cs typeface="+mn-cs"/>
        </a:defRPr>
      </a:lvl2pPr>
      <a:lvl3pPr marL="1005102" algn="l" defTabSz="1005102" rtl="0" eaLnBrk="1" latinLnBrk="0" hangingPunct="1">
        <a:defRPr sz="1979" kern="1200">
          <a:solidFill>
            <a:schemeClr val="tx1"/>
          </a:solidFill>
          <a:latin typeface="+mn-lt"/>
          <a:ea typeface="+mn-ea"/>
          <a:cs typeface="+mn-cs"/>
        </a:defRPr>
      </a:lvl3pPr>
      <a:lvl4pPr marL="1507653" algn="l" defTabSz="1005102" rtl="0" eaLnBrk="1" latinLnBrk="0" hangingPunct="1">
        <a:defRPr sz="1979" kern="1200">
          <a:solidFill>
            <a:schemeClr val="tx1"/>
          </a:solidFill>
          <a:latin typeface="+mn-lt"/>
          <a:ea typeface="+mn-ea"/>
          <a:cs typeface="+mn-cs"/>
        </a:defRPr>
      </a:lvl4pPr>
      <a:lvl5pPr marL="2010205" algn="l" defTabSz="1005102" rtl="0" eaLnBrk="1" latinLnBrk="0" hangingPunct="1">
        <a:defRPr sz="1979" kern="1200">
          <a:solidFill>
            <a:schemeClr val="tx1"/>
          </a:solidFill>
          <a:latin typeface="+mn-lt"/>
          <a:ea typeface="+mn-ea"/>
          <a:cs typeface="+mn-cs"/>
        </a:defRPr>
      </a:lvl5pPr>
      <a:lvl6pPr marL="2512755" algn="l" defTabSz="1005102" rtl="0" eaLnBrk="1" latinLnBrk="0" hangingPunct="1">
        <a:defRPr sz="1979" kern="1200">
          <a:solidFill>
            <a:schemeClr val="tx1"/>
          </a:solidFill>
          <a:latin typeface="+mn-lt"/>
          <a:ea typeface="+mn-ea"/>
          <a:cs typeface="+mn-cs"/>
        </a:defRPr>
      </a:lvl6pPr>
      <a:lvl7pPr marL="3015306" algn="l" defTabSz="1005102" rtl="0" eaLnBrk="1" latinLnBrk="0" hangingPunct="1">
        <a:defRPr sz="1979" kern="1200">
          <a:solidFill>
            <a:schemeClr val="tx1"/>
          </a:solidFill>
          <a:latin typeface="+mn-lt"/>
          <a:ea typeface="+mn-ea"/>
          <a:cs typeface="+mn-cs"/>
        </a:defRPr>
      </a:lvl7pPr>
      <a:lvl8pPr marL="3517858" algn="l" defTabSz="1005102" rtl="0" eaLnBrk="1" latinLnBrk="0" hangingPunct="1">
        <a:defRPr sz="1979" kern="1200">
          <a:solidFill>
            <a:schemeClr val="tx1"/>
          </a:solidFill>
          <a:latin typeface="+mn-lt"/>
          <a:ea typeface="+mn-ea"/>
          <a:cs typeface="+mn-cs"/>
        </a:defRPr>
      </a:lvl8pPr>
      <a:lvl9pPr marL="4020410" algn="l" defTabSz="1005102" rtl="0" eaLnBrk="1" latinLnBrk="0" hangingPunct="1">
        <a:defRPr sz="1979"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94">
          <p15:clr>
            <a:srgbClr val="F26B43"/>
          </p15:clr>
        </p15:guide>
        <p15:guide id="2" orient="horz" pos="4152">
          <p15:clr>
            <a:srgbClr val="F26B43"/>
          </p15:clr>
        </p15:guide>
        <p15:guide id="3" pos="2273">
          <p15:clr>
            <a:srgbClr val="F26B43"/>
          </p15:clr>
        </p15:guide>
        <p15:guide id="4" pos="5736">
          <p15:clr>
            <a:srgbClr val="F26B43"/>
          </p15:clr>
        </p15:guide>
        <p15:guide id="5" pos="3974">
          <p15:clr>
            <a:srgbClr val="F26B43"/>
          </p15:clr>
        </p15:guide>
        <p15:guide id="6" pos="7510">
          <p15:clr>
            <a:srgbClr val="F26B43"/>
          </p15:clr>
        </p15:guide>
        <p15:guide id="7" pos="506">
          <p15:clr>
            <a:srgbClr val="F26B43"/>
          </p15:clr>
        </p15:guide>
        <p15:guide id="8" pos="4043">
          <p15:clr>
            <a:srgbClr val="F26B43"/>
          </p15:clr>
        </p15:guide>
        <p15:guide id="9" pos="5814">
          <p15:clr>
            <a:srgbClr val="F26B43"/>
          </p15:clr>
        </p15:guide>
        <p15:guide id="10" orient="horz" pos="192">
          <p15:clr>
            <a:srgbClr val="F26B43"/>
          </p15:clr>
        </p15:guide>
        <p15:guide id="11" pos="2205">
          <p15:clr>
            <a:srgbClr val="F26B43"/>
          </p15:clr>
        </p15:guide>
        <p15:guide id="12" orient="horz" pos="768">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292929"/>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CC66332-CEE3-41D2-8C87-79D65F84C3DA}"/>
              </a:ext>
            </a:extLst>
          </p:cNvPr>
          <p:cNvGraphicFramePr>
            <a:graphicFrameLocks noChangeAspect="1"/>
          </p:cNvGraphicFramePr>
          <p:nvPr userDrawn="1">
            <p:custDataLst>
              <p:tags r:id="rId10"/>
            </p:custDataLst>
            <p:extLst>
              <p:ext uri="{D42A27DB-BD31-4B8C-83A1-F6EECF244321}">
                <p14:modId xmlns:p14="http://schemas.microsoft.com/office/powerpoint/2010/main" val="2278771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2" name="think-cell Slide" r:id="rId11" imgW="395" imgH="396" progId="TCLayout.ActiveDocument.1">
                  <p:embed/>
                </p:oleObj>
              </mc:Choice>
              <mc:Fallback>
                <p:oleObj name="think-cell Slide" r:id="rId11" imgW="395" imgH="396" progId="TCLayout.ActiveDocument.1">
                  <p:embed/>
                  <p:pic>
                    <p:nvPicPr>
                      <p:cNvPr id="2" name="Object 1" hidden="1">
                        <a:extLst>
                          <a:ext uri="{FF2B5EF4-FFF2-40B4-BE49-F238E27FC236}">
                            <a16:creationId xmlns:a16="http://schemas.microsoft.com/office/drawing/2014/main" id="{2CC66332-CEE3-41D2-8C87-79D65F84C3DA}"/>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pic>
        <p:nvPicPr>
          <p:cNvPr id="16" name="Picture 15"/>
          <p:cNvPicPr>
            <a:picLocks noChangeAspect="1"/>
          </p:cNvPicPr>
          <p:nvPr userDrawn="1"/>
        </p:nvPicPr>
        <p:blipFill>
          <a:blip r:embed="rId13" cstate="email">
            <a:extLst>
              <a:ext uri="{28A0092B-C50C-407E-A947-70E740481C1C}">
                <a14:useLocalDpi xmlns:a14="http://schemas.microsoft.com/office/drawing/2010/main"/>
              </a:ext>
            </a:extLst>
          </a:blip>
          <a:stretch>
            <a:fillRect/>
          </a:stretch>
        </p:blipFill>
        <p:spPr>
          <a:xfrm>
            <a:off x="3365986" y="0"/>
            <a:ext cx="10076964" cy="7561263"/>
          </a:xfrm>
          <a:prstGeom prst="rect">
            <a:avLst/>
          </a:prstGeom>
        </p:spPr>
      </p:pic>
      <p:pic>
        <p:nvPicPr>
          <p:cNvPr id="3" name="Picture 2"/>
          <p:cNvPicPr>
            <a:picLocks noChangeAspect="1"/>
          </p:cNvPicPr>
          <p:nvPr userDrawn="1"/>
        </p:nvPicPr>
        <p:blipFill>
          <a:blip r:embed="rId14" cstate="email">
            <a:extLst>
              <a:ext uri="{28A0092B-C50C-407E-A947-70E740481C1C}">
                <a14:useLocalDpi xmlns:a14="http://schemas.microsoft.com/office/drawing/2010/main"/>
              </a:ext>
            </a:extLst>
          </a:blip>
          <a:stretch>
            <a:fillRect/>
          </a:stretch>
        </p:blipFill>
        <p:spPr>
          <a:xfrm>
            <a:off x="3086071" y="0"/>
            <a:ext cx="10367038" cy="7561263"/>
          </a:xfrm>
          <a:prstGeom prst="rect">
            <a:avLst/>
          </a:prstGeom>
        </p:spPr>
      </p:pic>
      <p:grpSp>
        <p:nvGrpSpPr>
          <p:cNvPr id="5" name="Group 4"/>
          <p:cNvGrpSpPr>
            <a:grpSpLocks noChangeAspect="1"/>
          </p:cNvGrpSpPr>
          <p:nvPr userDrawn="1"/>
        </p:nvGrpSpPr>
        <p:grpSpPr bwMode="auto">
          <a:xfrm>
            <a:off x="12816642" y="336056"/>
            <a:ext cx="328901" cy="336056"/>
            <a:chOff x="7326" y="192"/>
            <a:chExt cx="188" cy="192"/>
          </a:xfrm>
        </p:grpSpPr>
        <p:sp>
          <p:nvSpPr>
            <p:cNvPr id="6" name="AutoShape 3"/>
            <p:cNvSpPr>
              <a:spLocks noChangeAspect="1" noChangeArrowheads="1" noTextEdit="1"/>
            </p:cNvSpPr>
            <p:nvPr userDrawn="1"/>
          </p:nvSpPr>
          <p:spPr bwMode="auto">
            <a:xfrm>
              <a:off x="7326" y="192"/>
              <a:ext cx="188" cy="1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979">
                <a:latin typeface="EYInterstate Light" panose="02000506000000020004" pitchFamily="2" charset="0"/>
              </a:endParaRPr>
            </a:p>
          </p:txBody>
        </p:sp>
        <p:sp>
          <p:nvSpPr>
            <p:cNvPr id="7" name="Freeform 5"/>
            <p:cNvSpPr>
              <a:spLocks/>
            </p:cNvSpPr>
            <p:nvPr userDrawn="1"/>
          </p:nvSpPr>
          <p:spPr bwMode="auto">
            <a:xfrm>
              <a:off x="7328" y="289"/>
              <a:ext cx="76" cy="95"/>
            </a:xfrm>
            <a:custGeom>
              <a:avLst/>
              <a:gdLst>
                <a:gd name="T0" fmla="*/ 342 w 913"/>
                <a:gd name="T1" fmla="*/ 690 h 1140"/>
                <a:gd name="T2" fmla="*/ 755 w 913"/>
                <a:gd name="T3" fmla="*/ 690 h 1140"/>
                <a:gd name="T4" fmla="*/ 755 w 913"/>
                <a:gd name="T5" fmla="*/ 450 h 1140"/>
                <a:gd name="T6" fmla="*/ 342 w 913"/>
                <a:gd name="T7" fmla="*/ 450 h 1140"/>
                <a:gd name="T8" fmla="*/ 342 w 913"/>
                <a:gd name="T9" fmla="*/ 262 h 1140"/>
                <a:gd name="T10" fmla="*/ 798 w 913"/>
                <a:gd name="T11" fmla="*/ 262 h 1140"/>
                <a:gd name="T12" fmla="*/ 647 w 913"/>
                <a:gd name="T13" fmla="*/ 0 h 1140"/>
                <a:gd name="T14" fmla="*/ 0 w 913"/>
                <a:gd name="T15" fmla="*/ 0 h 1140"/>
                <a:gd name="T16" fmla="*/ 0 w 913"/>
                <a:gd name="T17" fmla="*/ 1140 h 1140"/>
                <a:gd name="T18" fmla="*/ 913 w 913"/>
                <a:gd name="T19" fmla="*/ 1140 h 1140"/>
                <a:gd name="T20" fmla="*/ 913 w 913"/>
                <a:gd name="T21" fmla="*/ 878 h 1140"/>
                <a:gd name="T22" fmla="*/ 342 w 913"/>
                <a:gd name="T23" fmla="*/ 878 h 1140"/>
                <a:gd name="T24" fmla="*/ 342 w 913"/>
                <a:gd name="T25" fmla="*/ 690 h 1140"/>
                <a:gd name="T26" fmla="*/ 342 w 913"/>
                <a:gd name="T27" fmla="*/ 690 h 1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13" h="1140">
                  <a:moveTo>
                    <a:pt x="342" y="690"/>
                  </a:moveTo>
                  <a:lnTo>
                    <a:pt x="755" y="690"/>
                  </a:lnTo>
                  <a:lnTo>
                    <a:pt x="755" y="450"/>
                  </a:lnTo>
                  <a:lnTo>
                    <a:pt x="342" y="450"/>
                  </a:lnTo>
                  <a:lnTo>
                    <a:pt x="342" y="262"/>
                  </a:lnTo>
                  <a:lnTo>
                    <a:pt x="798" y="262"/>
                  </a:lnTo>
                  <a:lnTo>
                    <a:pt x="647" y="0"/>
                  </a:lnTo>
                  <a:lnTo>
                    <a:pt x="0" y="0"/>
                  </a:lnTo>
                  <a:lnTo>
                    <a:pt x="0" y="1140"/>
                  </a:lnTo>
                  <a:lnTo>
                    <a:pt x="913" y="1140"/>
                  </a:lnTo>
                  <a:lnTo>
                    <a:pt x="913" y="878"/>
                  </a:lnTo>
                  <a:lnTo>
                    <a:pt x="342" y="878"/>
                  </a:lnTo>
                  <a:lnTo>
                    <a:pt x="342" y="690"/>
                  </a:lnTo>
                  <a:lnTo>
                    <a:pt x="342" y="690"/>
                  </a:lnTo>
                  <a:close/>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979">
                <a:latin typeface="EYInterstate Light" panose="02000506000000020004" pitchFamily="2" charset="0"/>
              </a:endParaRPr>
            </a:p>
          </p:txBody>
        </p:sp>
        <p:sp>
          <p:nvSpPr>
            <p:cNvPr id="8" name="Freeform 6"/>
            <p:cNvSpPr>
              <a:spLocks/>
            </p:cNvSpPr>
            <p:nvPr userDrawn="1"/>
          </p:nvSpPr>
          <p:spPr bwMode="auto">
            <a:xfrm>
              <a:off x="7391" y="289"/>
              <a:ext cx="94" cy="95"/>
            </a:xfrm>
            <a:custGeom>
              <a:avLst/>
              <a:gdLst>
                <a:gd name="T0" fmla="*/ 766 w 1139"/>
                <a:gd name="T1" fmla="*/ 0 h 1140"/>
                <a:gd name="T2" fmla="*/ 571 w 1139"/>
                <a:gd name="T3" fmla="*/ 372 h 1140"/>
                <a:gd name="T4" fmla="*/ 378 w 1139"/>
                <a:gd name="T5" fmla="*/ 0 h 1140"/>
                <a:gd name="T6" fmla="*/ 0 w 1139"/>
                <a:gd name="T7" fmla="*/ 0 h 1140"/>
                <a:gd name="T8" fmla="*/ 398 w 1139"/>
                <a:gd name="T9" fmla="*/ 690 h 1140"/>
                <a:gd name="T10" fmla="*/ 398 w 1139"/>
                <a:gd name="T11" fmla="*/ 1140 h 1140"/>
                <a:gd name="T12" fmla="*/ 739 w 1139"/>
                <a:gd name="T13" fmla="*/ 1140 h 1140"/>
                <a:gd name="T14" fmla="*/ 739 w 1139"/>
                <a:gd name="T15" fmla="*/ 690 h 1140"/>
                <a:gd name="T16" fmla="*/ 1139 w 1139"/>
                <a:gd name="T17" fmla="*/ 0 h 1140"/>
                <a:gd name="T18" fmla="*/ 766 w 1139"/>
                <a:gd name="T19" fmla="*/ 0 h 1140"/>
                <a:gd name="T20" fmla="*/ 766 w 1139"/>
                <a:gd name="T21" fmla="*/ 0 h 1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39" h="1140">
                  <a:moveTo>
                    <a:pt x="766" y="0"/>
                  </a:moveTo>
                  <a:lnTo>
                    <a:pt x="571" y="372"/>
                  </a:lnTo>
                  <a:lnTo>
                    <a:pt x="378" y="0"/>
                  </a:lnTo>
                  <a:lnTo>
                    <a:pt x="0" y="0"/>
                  </a:lnTo>
                  <a:lnTo>
                    <a:pt x="398" y="690"/>
                  </a:lnTo>
                  <a:lnTo>
                    <a:pt x="398" y="1140"/>
                  </a:lnTo>
                  <a:lnTo>
                    <a:pt x="739" y="1140"/>
                  </a:lnTo>
                  <a:lnTo>
                    <a:pt x="739" y="690"/>
                  </a:lnTo>
                  <a:lnTo>
                    <a:pt x="1139" y="0"/>
                  </a:lnTo>
                  <a:lnTo>
                    <a:pt x="766" y="0"/>
                  </a:lnTo>
                  <a:lnTo>
                    <a:pt x="766" y="0"/>
                  </a:lnTo>
                  <a:close/>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979">
                <a:latin typeface="EYInterstate Light" panose="02000506000000020004" pitchFamily="2" charset="0"/>
              </a:endParaRPr>
            </a:p>
          </p:txBody>
        </p:sp>
        <p:sp>
          <p:nvSpPr>
            <p:cNvPr id="9" name="Freeform 7"/>
            <p:cNvSpPr>
              <a:spLocks/>
            </p:cNvSpPr>
            <p:nvPr userDrawn="1"/>
          </p:nvSpPr>
          <p:spPr bwMode="auto">
            <a:xfrm>
              <a:off x="7326" y="192"/>
              <a:ext cx="188" cy="69"/>
            </a:xfrm>
            <a:custGeom>
              <a:avLst/>
              <a:gdLst>
                <a:gd name="T0" fmla="*/ 2256 w 2256"/>
                <a:gd name="T1" fmla="*/ 0 h 822"/>
                <a:gd name="T2" fmla="*/ 0 w 2256"/>
                <a:gd name="T3" fmla="*/ 822 h 822"/>
                <a:gd name="T4" fmla="*/ 2256 w 2256"/>
                <a:gd name="T5" fmla="*/ 424 h 822"/>
                <a:gd name="T6" fmla="*/ 2256 w 2256"/>
                <a:gd name="T7" fmla="*/ 0 h 822"/>
                <a:gd name="T8" fmla="*/ 2256 w 2256"/>
                <a:gd name="T9" fmla="*/ 0 h 822"/>
              </a:gdLst>
              <a:ahLst/>
              <a:cxnLst>
                <a:cxn ang="0">
                  <a:pos x="T0" y="T1"/>
                </a:cxn>
                <a:cxn ang="0">
                  <a:pos x="T2" y="T3"/>
                </a:cxn>
                <a:cxn ang="0">
                  <a:pos x="T4" y="T5"/>
                </a:cxn>
                <a:cxn ang="0">
                  <a:pos x="T6" y="T7"/>
                </a:cxn>
                <a:cxn ang="0">
                  <a:pos x="T8" y="T9"/>
                </a:cxn>
              </a:cxnLst>
              <a:rect l="0" t="0" r="r" b="b"/>
              <a:pathLst>
                <a:path w="2256" h="822">
                  <a:moveTo>
                    <a:pt x="2256" y="0"/>
                  </a:moveTo>
                  <a:lnTo>
                    <a:pt x="0" y="822"/>
                  </a:lnTo>
                  <a:lnTo>
                    <a:pt x="2256" y="424"/>
                  </a:lnTo>
                  <a:lnTo>
                    <a:pt x="2256" y="0"/>
                  </a:lnTo>
                  <a:lnTo>
                    <a:pt x="2256" y="0"/>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979">
                <a:latin typeface="EYInterstate Light" panose="02000506000000020004" pitchFamily="2" charset="0"/>
              </a:endParaRPr>
            </a:p>
          </p:txBody>
        </p:sp>
      </p:grpSp>
      <p:sp>
        <p:nvSpPr>
          <p:cNvPr id="10" name="TextBox 9"/>
          <p:cNvSpPr txBox="1"/>
          <p:nvPr userDrawn="1"/>
        </p:nvSpPr>
        <p:spPr>
          <a:xfrm>
            <a:off x="12881423" y="7011444"/>
            <a:ext cx="195524" cy="170122"/>
          </a:xfrm>
          <a:prstGeom prst="rect">
            <a:avLst/>
          </a:prstGeom>
          <a:noFill/>
        </p:spPr>
        <p:txBody>
          <a:bodyPr wrap="square" lIns="0" tIns="40207" rIns="0" bIns="0" rtlCol="0">
            <a:spAutoFit/>
          </a:bodyPr>
          <a:lstStyle/>
          <a:p>
            <a:pPr marL="0" indent="0" algn="ctr">
              <a:lnSpc>
                <a:spcPct val="85000"/>
              </a:lnSpc>
              <a:spcAft>
                <a:spcPts val="660"/>
              </a:spcAft>
              <a:buClr>
                <a:schemeClr val="accent2"/>
              </a:buClr>
              <a:buSzPct val="70000"/>
              <a:buFont typeface="Arial" pitchFamily="34" charset="0"/>
              <a:buNone/>
            </a:pPr>
            <a:fld id="{76945EB4-FEC5-42E9-A015-7F9892B7BD8F}" type="slidenum">
              <a:rPr lang="en-US" sz="990" smtClean="0">
                <a:solidFill>
                  <a:schemeClr val="bg1"/>
                </a:solidFill>
                <a:latin typeface="EYInterstate" panose="02000503020000020004" pitchFamily="2" charset="0"/>
              </a:rPr>
              <a:pPr marL="0" indent="0" algn="ctr">
                <a:lnSpc>
                  <a:spcPct val="85000"/>
                </a:lnSpc>
                <a:spcAft>
                  <a:spcPts val="660"/>
                </a:spcAft>
                <a:buClr>
                  <a:schemeClr val="accent2"/>
                </a:buClr>
                <a:buSzPct val="70000"/>
                <a:buFont typeface="Arial" pitchFamily="34" charset="0"/>
                <a:buNone/>
              </a:pPr>
              <a:t>‹#›</a:t>
            </a:fld>
            <a:endParaRPr lang="en-US" sz="1319">
              <a:solidFill>
                <a:schemeClr val="bg1"/>
              </a:solidFill>
              <a:latin typeface="EYInterstate" panose="02000503020000020004" pitchFamily="2" charset="0"/>
            </a:endParaRPr>
          </a:p>
        </p:txBody>
      </p:sp>
    </p:spTree>
    <p:extLst>
      <p:ext uri="{BB962C8B-B14F-4D97-AF65-F5344CB8AC3E}">
        <p14:creationId xmlns:p14="http://schemas.microsoft.com/office/powerpoint/2010/main" val="870603269"/>
      </p:ext>
    </p:extLst>
  </p:cSld>
  <p:clrMap bg1="lt1" tx1="dk1" bg2="lt2" tx2="dk2" accent1="accent1" accent2="accent2" accent3="accent3" accent4="accent4" accent5="accent5" accent6="accent6" hlink="hlink" folHlink="folHlink"/>
  <p:sldLayoutIdLst>
    <p:sldLayoutId id="2147484151" r:id="rId1"/>
    <p:sldLayoutId id="2147484152" r:id="rId2"/>
    <p:sldLayoutId id="2147484153" r:id="rId3"/>
    <p:sldLayoutId id="2147484154" r:id="rId4"/>
    <p:sldLayoutId id="2147484155" r:id="rId5"/>
    <p:sldLayoutId id="2147484156" r:id="rId6"/>
    <p:sldLayoutId id="2147484158" r:id="rId7"/>
  </p:sldLayoutIdLst>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hdr="0" ftr="0" dt="0"/>
  <p:txStyles>
    <p:titleStyle>
      <a:lvl1pPr algn="l" defTabSz="1005102" rtl="0" eaLnBrk="1" latinLnBrk="0" hangingPunct="1">
        <a:lnSpc>
          <a:spcPct val="90000"/>
        </a:lnSpc>
        <a:spcBef>
          <a:spcPct val="0"/>
        </a:spcBef>
        <a:buNone/>
        <a:defRPr sz="2638" b="0" kern="1200" baseline="0">
          <a:solidFill>
            <a:schemeClr val="tx1"/>
          </a:solidFill>
          <a:latin typeface="EYInterstate Light" panose="02000506000000020004" pitchFamily="2" charset="0"/>
          <a:ea typeface="+mj-ea"/>
          <a:cs typeface="Arial" pitchFamily="34" charset="0"/>
        </a:defRPr>
      </a:lvl1pPr>
    </p:titleStyle>
    <p:bodyStyle>
      <a:lvl1pPr marL="0" indent="0" algn="l" defTabSz="1005102" rtl="0" eaLnBrk="1" latinLnBrk="0" hangingPunct="1">
        <a:spcBef>
          <a:spcPct val="20000"/>
        </a:spcBef>
        <a:buClr>
          <a:schemeClr val="accent2"/>
        </a:buClr>
        <a:buSzPct val="70000"/>
        <a:buFont typeface="Arial" pitchFamily="34" charset="0"/>
        <a:buNone/>
        <a:defRPr sz="1319" kern="1200">
          <a:solidFill>
            <a:schemeClr val="tx1"/>
          </a:solidFill>
          <a:latin typeface="+mn-lt"/>
          <a:ea typeface="+mn-ea"/>
          <a:cs typeface="+mn-cs"/>
        </a:defRPr>
      </a:lvl1pPr>
      <a:lvl2pPr marL="184968" indent="0" algn="l" defTabSz="1005102" rtl="0" eaLnBrk="1" latinLnBrk="0" hangingPunct="1">
        <a:spcBef>
          <a:spcPct val="20000"/>
        </a:spcBef>
        <a:buClr>
          <a:schemeClr val="accent2"/>
        </a:buClr>
        <a:buSzPct val="70000"/>
        <a:buFont typeface="Arial" pitchFamily="34" charset="0"/>
        <a:buNone/>
        <a:defRPr sz="1319" kern="1200">
          <a:solidFill>
            <a:schemeClr val="tx1"/>
          </a:solidFill>
          <a:latin typeface="+mn-lt"/>
          <a:ea typeface="+mn-ea"/>
          <a:cs typeface="+mn-cs"/>
        </a:defRPr>
      </a:lvl2pPr>
      <a:lvl3pPr marL="380403" indent="0" algn="l" defTabSz="1005102" rtl="0" eaLnBrk="1" latinLnBrk="0" hangingPunct="1">
        <a:spcBef>
          <a:spcPct val="20000"/>
        </a:spcBef>
        <a:buClr>
          <a:schemeClr val="accent2"/>
        </a:buClr>
        <a:buSzPct val="70000"/>
        <a:buFont typeface="Arial" pitchFamily="34" charset="0"/>
        <a:buNone/>
        <a:defRPr sz="1319" kern="1200">
          <a:solidFill>
            <a:schemeClr val="tx1"/>
          </a:solidFill>
          <a:latin typeface="+mn-lt"/>
          <a:ea typeface="+mn-ea"/>
          <a:cs typeface="+mn-cs"/>
        </a:defRPr>
      </a:lvl3pPr>
      <a:lvl4pPr marL="1567960" indent="-391991" algn="l" defTabSz="1005102" rtl="0" eaLnBrk="1" latinLnBrk="0" hangingPunct="1">
        <a:spcBef>
          <a:spcPct val="20000"/>
        </a:spcBef>
        <a:buClr>
          <a:schemeClr val="accent2"/>
        </a:buClr>
        <a:buSzPct val="70000"/>
        <a:buFont typeface="Arial" pitchFamily="34" charset="0"/>
        <a:buChar char="►"/>
        <a:defRPr sz="1319" kern="1200">
          <a:solidFill>
            <a:schemeClr val="tx1"/>
          </a:solidFill>
          <a:latin typeface="+mn-lt"/>
          <a:ea typeface="+mn-ea"/>
          <a:cs typeface="+mn-cs"/>
        </a:defRPr>
      </a:lvl4pPr>
      <a:lvl5pPr marL="1959950" indent="-391991" algn="l" defTabSz="1005102" rtl="0" eaLnBrk="1" latinLnBrk="0" hangingPunct="1">
        <a:spcBef>
          <a:spcPct val="20000"/>
        </a:spcBef>
        <a:buClr>
          <a:schemeClr val="accent2"/>
        </a:buClr>
        <a:buSzPct val="70000"/>
        <a:buFont typeface="Arial" pitchFamily="34" charset="0"/>
        <a:buChar char="►"/>
        <a:defRPr sz="1319" kern="1200">
          <a:solidFill>
            <a:schemeClr val="tx1"/>
          </a:solidFill>
          <a:latin typeface="+mn-lt"/>
          <a:ea typeface="+mn-ea"/>
          <a:cs typeface="+mn-cs"/>
        </a:defRPr>
      </a:lvl5pPr>
      <a:lvl6pPr marL="2764031" indent="-251276" algn="l" defTabSz="1005102" rtl="0" eaLnBrk="1" latinLnBrk="0" hangingPunct="1">
        <a:spcBef>
          <a:spcPct val="20000"/>
        </a:spcBef>
        <a:buFont typeface="Arial" pitchFamily="34" charset="0"/>
        <a:buChar char="•"/>
        <a:defRPr sz="2198" kern="1200">
          <a:solidFill>
            <a:schemeClr val="tx1"/>
          </a:solidFill>
          <a:latin typeface="+mn-lt"/>
          <a:ea typeface="+mn-ea"/>
          <a:cs typeface="+mn-cs"/>
        </a:defRPr>
      </a:lvl6pPr>
      <a:lvl7pPr marL="3266583" indent="-251276" algn="l" defTabSz="1005102" rtl="0" eaLnBrk="1" latinLnBrk="0" hangingPunct="1">
        <a:spcBef>
          <a:spcPct val="20000"/>
        </a:spcBef>
        <a:buFont typeface="Arial" pitchFamily="34" charset="0"/>
        <a:buChar char="•"/>
        <a:defRPr sz="2198" kern="1200">
          <a:solidFill>
            <a:schemeClr val="tx1"/>
          </a:solidFill>
          <a:latin typeface="+mn-lt"/>
          <a:ea typeface="+mn-ea"/>
          <a:cs typeface="+mn-cs"/>
        </a:defRPr>
      </a:lvl7pPr>
      <a:lvl8pPr marL="3769134" indent="-251276" algn="l" defTabSz="1005102" rtl="0" eaLnBrk="1" latinLnBrk="0" hangingPunct="1">
        <a:spcBef>
          <a:spcPct val="20000"/>
        </a:spcBef>
        <a:buFont typeface="Arial" pitchFamily="34" charset="0"/>
        <a:buChar char="•"/>
        <a:defRPr sz="2198" kern="1200">
          <a:solidFill>
            <a:schemeClr val="tx1"/>
          </a:solidFill>
          <a:latin typeface="+mn-lt"/>
          <a:ea typeface="+mn-ea"/>
          <a:cs typeface="+mn-cs"/>
        </a:defRPr>
      </a:lvl8pPr>
      <a:lvl9pPr marL="4271684" indent="-251276" algn="l" defTabSz="1005102" rtl="0" eaLnBrk="1" latinLnBrk="0" hangingPunct="1">
        <a:spcBef>
          <a:spcPct val="20000"/>
        </a:spcBef>
        <a:buFont typeface="Arial" pitchFamily="34" charset="0"/>
        <a:buChar char="•"/>
        <a:defRPr sz="2198" kern="1200">
          <a:solidFill>
            <a:schemeClr val="tx1"/>
          </a:solidFill>
          <a:latin typeface="+mn-lt"/>
          <a:ea typeface="+mn-ea"/>
          <a:cs typeface="+mn-cs"/>
        </a:defRPr>
      </a:lvl9pPr>
    </p:bodyStyle>
    <p:otherStyle>
      <a:defPPr>
        <a:defRPr lang="en-US"/>
      </a:defPPr>
      <a:lvl1pPr marL="0" algn="l" defTabSz="1005102" rtl="0" eaLnBrk="1" latinLnBrk="0" hangingPunct="1">
        <a:defRPr sz="1979" kern="1200">
          <a:solidFill>
            <a:schemeClr val="tx1"/>
          </a:solidFill>
          <a:latin typeface="+mn-lt"/>
          <a:ea typeface="+mn-ea"/>
          <a:cs typeface="+mn-cs"/>
        </a:defRPr>
      </a:lvl1pPr>
      <a:lvl2pPr marL="502550" algn="l" defTabSz="1005102" rtl="0" eaLnBrk="1" latinLnBrk="0" hangingPunct="1">
        <a:defRPr sz="1979" kern="1200">
          <a:solidFill>
            <a:schemeClr val="tx1"/>
          </a:solidFill>
          <a:latin typeface="+mn-lt"/>
          <a:ea typeface="+mn-ea"/>
          <a:cs typeface="+mn-cs"/>
        </a:defRPr>
      </a:lvl2pPr>
      <a:lvl3pPr marL="1005102" algn="l" defTabSz="1005102" rtl="0" eaLnBrk="1" latinLnBrk="0" hangingPunct="1">
        <a:defRPr sz="1979" kern="1200">
          <a:solidFill>
            <a:schemeClr val="tx1"/>
          </a:solidFill>
          <a:latin typeface="+mn-lt"/>
          <a:ea typeface="+mn-ea"/>
          <a:cs typeface="+mn-cs"/>
        </a:defRPr>
      </a:lvl3pPr>
      <a:lvl4pPr marL="1507653" algn="l" defTabSz="1005102" rtl="0" eaLnBrk="1" latinLnBrk="0" hangingPunct="1">
        <a:defRPr sz="1979" kern="1200">
          <a:solidFill>
            <a:schemeClr val="tx1"/>
          </a:solidFill>
          <a:latin typeface="+mn-lt"/>
          <a:ea typeface="+mn-ea"/>
          <a:cs typeface="+mn-cs"/>
        </a:defRPr>
      </a:lvl4pPr>
      <a:lvl5pPr marL="2010205" algn="l" defTabSz="1005102" rtl="0" eaLnBrk="1" latinLnBrk="0" hangingPunct="1">
        <a:defRPr sz="1979" kern="1200">
          <a:solidFill>
            <a:schemeClr val="tx1"/>
          </a:solidFill>
          <a:latin typeface="+mn-lt"/>
          <a:ea typeface="+mn-ea"/>
          <a:cs typeface="+mn-cs"/>
        </a:defRPr>
      </a:lvl5pPr>
      <a:lvl6pPr marL="2512755" algn="l" defTabSz="1005102" rtl="0" eaLnBrk="1" latinLnBrk="0" hangingPunct="1">
        <a:defRPr sz="1979" kern="1200">
          <a:solidFill>
            <a:schemeClr val="tx1"/>
          </a:solidFill>
          <a:latin typeface="+mn-lt"/>
          <a:ea typeface="+mn-ea"/>
          <a:cs typeface="+mn-cs"/>
        </a:defRPr>
      </a:lvl6pPr>
      <a:lvl7pPr marL="3015306" algn="l" defTabSz="1005102" rtl="0" eaLnBrk="1" latinLnBrk="0" hangingPunct="1">
        <a:defRPr sz="1979" kern="1200">
          <a:solidFill>
            <a:schemeClr val="tx1"/>
          </a:solidFill>
          <a:latin typeface="+mn-lt"/>
          <a:ea typeface="+mn-ea"/>
          <a:cs typeface="+mn-cs"/>
        </a:defRPr>
      </a:lvl7pPr>
      <a:lvl8pPr marL="3517858" algn="l" defTabSz="1005102" rtl="0" eaLnBrk="1" latinLnBrk="0" hangingPunct="1">
        <a:defRPr sz="1979" kern="1200">
          <a:solidFill>
            <a:schemeClr val="tx1"/>
          </a:solidFill>
          <a:latin typeface="+mn-lt"/>
          <a:ea typeface="+mn-ea"/>
          <a:cs typeface="+mn-cs"/>
        </a:defRPr>
      </a:lvl8pPr>
      <a:lvl9pPr marL="4020410" algn="l" defTabSz="1005102" rtl="0" eaLnBrk="1" latinLnBrk="0" hangingPunct="1">
        <a:defRPr sz="1979"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94">
          <p15:clr>
            <a:srgbClr val="F26B43"/>
          </p15:clr>
        </p15:guide>
        <p15:guide id="2" orient="horz" pos="4152">
          <p15:clr>
            <a:srgbClr val="F26B43"/>
          </p15:clr>
        </p15:guide>
        <p15:guide id="3" pos="2273">
          <p15:clr>
            <a:srgbClr val="F26B43"/>
          </p15:clr>
        </p15:guide>
        <p15:guide id="4" pos="5736">
          <p15:clr>
            <a:srgbClr val="F26B43"/>
          </p15:clr>
        </p15:guide>
        <p15:guide id="5" pos="3974">
          <p15:clr>
            <a:srgbClr val="F26B43"/>
          </p15:clr>
        </p15:guide>
        <p15:guide id="6" pos="7510">
          <p15:clr>
            <a:srgbClr val="F26B43"/>
          </p15:clr>
        </p15:guide>
        <p15:guide id="7" pos="506">
          <p15:clr>
            <a:srgbClr val="F26B43"/>
          </p15:clr>
        </p15:guide>
        <p15:guide id="8" pos="4043">
          <p15:clr>
            <a:srgbClr val="F26B43"/>
          </p15:clr>
        </p15:guide>
        <p15:guide id="9" pos="5814">
          <p15:clr>
            <a:srgbClr val="F26B43"/>
          </p15:clr>
        </p15:guide>
        <p15:guide id="10" orient="horz" pos="192">
          <p15:clr>
            <a:srgbClr val="F26B43"/>
          </p15:clr>
        </p15:guide>
        <p15:guide id="11" pos="2205">
          <p15:clr>
            <a:srgbClr val="F26B43"/>
          </p15:clr>
        </p15:guide>
        <p15:guide id="12" orient="horz" pos="768">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4"/>
            </p:custDataLst>
            <p:extLst>
              <p:ext uri="{D42A27DB-BD31-4B8C-83A1-F6EECF244321}">
                <p14:modId xmlns:p14="http://schemas.microsoft.com/office/powerpoint/2010/main" val="3909650108"/>
              </p:ext>
            </p:extLst>
          </p:nvPr>
        </p:nvGraphicFramePr>
        <p:xfrm>
          <a:off x="1376" y="1387"/>
          <a:ext cx="1372" cy="1385"/>
        </p:xfrm>
        <a:graphic>
          <a:graphicData uri="http://schemas.openxmlformats.org/presentationml/2006/ole">
            <mc:AlternateContent xmlns:mc="http://schemas.openxmlformats.org/markup-compatibility/2006">
              <mc:Choice xmlns:v="urn:schemas-microsoft-com:vml" Requires="v">
                <p:oleObj spid="_x0000_s12290" name="think-cell Slide" r:id="rId15" imgW="270" imgH="270" progId="TCLayout.ActiveDocument.1">
                  <p:embed/>
                </p:oleObj>
              </mc:Choice>
              <mc:Fallback>
                <p:oleObj name="think-cell Slide" r:id="rId15" imgW="270" imgH="270" progId="TCLayout.ActiveDocument.1">
                  <p:embed/>
                  <p:pic>
                    <p:nvPicPr>
                      <p:cNvPr id="2" name="Object 1" hidden="1"/>
                      <p:cNvPicPr/>
                      <p:nvPr/>
                    </p:nvPicPr>
                    <p:blipFill>
                      <a:blip r:embed="rId16"/>
                      <a:stretch>
                        <a:fillRect/>
                      </a:stretch>
                    </p:blipFill>
                    <p:spPr>
                      <a:xfrm>
                        <a:off x="1376" y="1387"/>
                        <a:ext cx="1372" cy="1385"/>
                      </a:xfrm>
                      <a:prstGeom prst="rect">
                        <a:avLst/>
                      </a:prstGeom>
                    </p:spPr>
                  </p:pic>
                </p:oleObj>
              </mc:Fallback>
            </mc:AlternateContent>
          </a:graphicData>
        </a:graphic>
      </p:graphicFrame>
    </p:spTree>
    <p:extLst>
      <p:ext uri="{BB962C8B-B14F-4D97-AF65-F5344CB8AC3E}">
        <p14:creationId xmlns:p14="http://schemas.microsoft.com/office/powerpoint/2010/main" val="2564836153"/>
      </p:ext>
    </p:extLst>
  </p:cSld>
  <p:clrMap bg1="lt1" tx1="dk1" bg2="lt2" tx2="dk2" accent1="accent1" accent2="accent2" accent3="accent3" accent4="accent4" accent5="accent5" accent6="accent6" hlink="hlink" folHlink="folHlink"/>
  <p:sldLayoutIdLst>
    <p:sldLayoutId id="2147484160" r:id="rId1"/>
    <p:sldLayoutId id="2147484161" r:id="rId2"/>
    <p:sldLayoutId id="2147484162" r:id="rId3"/>
    <p:sldLayoutId id="2147484163" r:id="rId4"/>
    <p:sldLayoutId id="2147484164" r:id="rId5"/>
    <p:sldLayoutId id="2147484166" r:id="rId6"/>
    <p:sldLayoutId id="2147484167" r:id="rId7"/>
    <p:sldLayoutId id="2147484169" r:id="rId8"/>
    <p:sldLayoutId id="2147484170" r:id="rId9"/>
    <p:sldLayoutId id="2147484174" r:id="rId10"/>
    <p:sldLayoutId id="2147484175" r:id="rId11"/>
  </p:sldLayoutIdLst>
  <p:hf sldNum="0" hdr="0" dt="0"/>
  <p:txStyles>
    <p:titleStyle>
      <a:lvl1pPr algn="l" defTabSz="913857" rtl="0" eaLnBrk="1" latinLnBrk="0" hangingPunct="1">
        <a:lnSpc>
          <a:spcPct val="85000"/>
        </a:lnSpc>
        <a:spcBef>
          <a:spcPct val="0"/>
        </a:spcBef>
        <a:buNone/>
        <a:defRPr sz="3043" b="1" kern="1200">
          <a:solidFill>
            <a:schemeClr val="bg1"/>
          </a:solidFill>
          <a:latin typeface="+mn-lt"/>
          <a:ea typeface="+mj-ea"/>
          <a:cs typeface="Arial" pitchFamily="34" charset="0"/>
        </a:defRPr>
      </a:lvl1pPr>
    </p:titleStyle>
    <p:bodyStyle>
      <a:lvl1pPr marL="323797" indent="-323797" algn="l" defTabSz="913857" rtl="0" eaLnBrk="1" latinLnBrk="0" hangingPunct="1">
        <a:spcBef>
          <a:spcPct val="20000"/>
        </a:spcBef>
        <a:buClr>
          <a:srgbClr val="FFD200"/>
        </a:buClr>
        <a:buSzPct val="70000"/>
        <a:buFont typeface="Arial" pitchFamily="34" charset="0"/>
        <a:buChar char="►"/>
        <a:defRPr sz="1922" kern="1200">
          <a:solidFill>
            <a:schemeClr val="accent1"/>
          </a:solidFill>
          <a:latin typeface="+mn-lt"/>
          <a:ea typeface="+mn-ea"/>
          <a:cs typeface="+mn-cs"/>
        </a:defRPr>
      </a:lvl1pPr>
      <a:lvl2pPr marL="647620" indent="-323797" algn="l" defTabSz="913857" rtl="0" eaLnBrk="1" latinLnBrk="0" hangingPunct="1">
        <a:spcBef>
          <a:spcPct val="20000"/>
        </a:spcBef>
        <a:buClr>
          <a:srgbClr val="FFD200"/>
        </a:buClr>
        <a:buSzPct val="70000"/>
        <a:buFont typeface="Arial" pitchFamily="34" charset="0"/>
        <a:buChar char="►"/>
        <a:defRPr sz="1601" kern="1200">
          <a:solidFill>
            <a:schemeClr val="accent1"/>
          </a:solidFill>
          <a:latin typeface="+mn-lt"/>
          <a:ea typeface="+mn-ea"/>
          <a:cs typeface="+mn-cs"/>
        </a:defRPr>
      </a:lvl2pPr>
      <a:lvl3pPr marL="971417" indent="-323797" algn="l" defTabSz="913857" rtl="0" eaLnBrk="1" latinLnBrk="0" hangingPunct="1">
        <a:spcBef>
          <a:spcPct val="20000"/>
        </a:spcBef>
        <a:buClr>
          <a:srgbClr val="FFD200"/>
        </a:buClr>
        <a:buSzPct val="70000"/>
        <a:buFont typeface="Arial" pitchFamily="34" charset="0"/>
        <a:buChar char="►"/>
        <a:defRPr sz="1441" kern="1200">
          <a:solidFill>
            <a:schemeClr val="accent1"/>
          </a:solidFill>
          <a:latin typeface="+mn-lt"/>
          <a:ea typeface="+mn-ea"/>
          <a:cs typeface="+mn-cs"/>
        </a:defRPr>
      </a:lvl3pPr>
      <a:lvl4pPr marL="1295229" indent="-323797" algn="l" defTabSz="913857" rtl="0" eaLnBrk="1" latinLnBrk="0" hangingPunct="1">
        <a:spcBef>
          <a:spcPct val="20000"/>
        </a:spcBef>
        <a:buClr>
          <a:srgbClr val="FFD200"/>
        </a:buClr>
        <a:buSzPct val="70000"/>
        <a:buFont typeface="Arial" pitchFamily="34" charset="0"/>
        <a:buChar char="►"/>
        <a:defRPr sz="1201" kern="1200">
          <a:solidFill>
            <a:schemeClr val="accent1"/>
          </a:solidFill>
          <a:latin typeface="+mn-lt"/>
          <a:ea typeface="+mn-ea"/>
          <a:cs typeface="+mn-cs"/>
        </a:defRPr>
      </a:lvl4pPr>
      <a:lvl5pPr marL="1619042" indent="-323797" algn="l" defTabSz="913857" rtl="0" eaLnBrk="1" latinLnBrk="0" hangingPunct="1">
        <a:spcBef>
          <a:spcPct val="20000"/>
        </a:spcBef>
        <a:buClr>
          <a:srgbClr val="FFD200"/>
        </a:buClr>
        <a:buSzPct val="70000"/>
        <a:buFont typeface="Arial" pitchFamily="34" charset="0"/>
        <a:buChar char="►"/>
        <a:defRPr sz="1201" kern="1200">
          <a:solidFill>
            <a:schemeClr val="accent1"/>
          </a:solidFill>
          <a:latin typeface="+mn-lt"/>
          <a:ea typeface="+mn-ea"/>
          <a:cs typeface="+mn-cs"/>
        </a:defRPr>
      </a:lvl5pPr>
      <a:lvl6pPr marL="2513108" indent="-228439" algn="l" defTabSz="913857" rtl="0" eaLnBrk="1" latinLnBrk="0" hangingPunct="1">
        <a:spcBef>
          <a:spcPct val="20000"/>
        </a:spcBef>
        <a:buFont typeface="Arial" pitchFamily="34" charset="0"/>
        <a:buChar char="•"/>
        <a:defRPr sz="2002" kern="1200">
          <a:solidFill>
            <a:schemeClr val="tx1"/>
          </a:solidFill>
          <a:latin typeface="+mn-lt"/>
          <a:ea typeface="+mn-ea"/>
          <a:cs typeface="+mn-cs"/>
        </a:defRPr>
      </a:lvl6pPr>
      <a:lvl7pPr marL="2970039" indent="-228439" algn="l" defTabSz="913857" rtl="0" eaLnBrk="1" latinLnBrk="0" hangingPunct="1">
        <a:spcBef>
          <a:spcPct val="20000"/>
        </a:spcBef>
        <a:buFont typeface="Arial" pitchFamily="34" charset="0"/>
        <a:buChar char="•"/>
        <a:defRPr sz="2002" kern="1200">
          <a:solidFill>
            <a:schemeClr val="tx1"/>
          </a:solidFill>
          <a:latin typeface="+mn-lt"/>
          <a:ea typeface="+mn-ea"/>
          <a:cs typeface="+mn-cs"/>
        </a:defRPr>
      </a:lvl7pPr>
      <a:lvl8pPr marL="3426962" indent="-228439" algn="l" defTabSz="913857" rtl="0" eaLnBrk="1" latinLnBrk="0" hangingPunct="1">
        <a:spcBef>
          <a:spcPct val="20000"/>
        </a:spcBef>
        <a:buFont typeface="Arial" pitchFamily="34" charset="0"/>
        <a:buChar char="•"/>
        <a:defRPr sz="2002" kern="1200">
          <a:solidFill>
            <a:schemeClr val="tx1"/>
          </a:solidFill>
          <a:latin typeface="+mn-lt"/>
          <a:ea typeface="+mn-ea"/>
          <a:cs typeface="+mn-cs"/>
        </a:defRPr>
      </a:lvl8pPr>
      <a:lvl9pPr marL="3883890" indent="-228439" algn="l" defTabSz="913857" rtl="0" eaLnBrk="1" latinLnBrk="0" hangingPunct="1">
        <a:spcBef>
          <a:spcPct val="20000"/>
        </a:spcBef>
        <a:buFont typeface="Arial" pitchFamily="34" charset="0"/>
        <a:buChar char="•"/>
        <a:defRPr sz="2002" kern="1200">
          <a:solidFill>
            <a:schemeClr val="tx1"/>
          </a:solidFill>
          <a:latin typeface="+mn-lt"/>
          <a:ea typeface="+mn-ea"/>
          <a:cs typeface="+mn-cs"/>
        </a:defRPr>
      </a:lvl9pPr>
    </p:bodyStyle>
    <p:otherStyle>
      <a:defPPr>
        <a:defRPr lang="en-US"/>
      </a:defPPr>
      <a:lvl1pPr marL="0" algn="l" defTabSz="913857" rtl="0" eaLnBrk="1" latinLnBrk="0" hangingPunct="1">
        <a:defRPr sz="1922" kern="1200">
          <a:solidFill>
            <a:schemeClr val="tx1"/>
          </a:solidFill>
          <a:latin typeface="+mn-lt"/>
          <a:ea typeface="+mn-ea"/>
          <a:cs typeface="+mn-cs"/>
        </a:defRPr>
      </a:lvl1pPr>
      <a:lvl2pPr marL="456923" algn="l" defTabSz="913857" rtl="0" eaLnBrk="1" latinLnBrk="0" hangingPunct="1">
        <a:defRPr sz="1922" kern="1200">
          <a:solidFill>
            <a:schemeClr val="tx1"/>
          </a:solidFill>
          <a:latin typeface="+mn-lt"/>
          <a:ea typeface="+mn-ea"/>
          <a:cs typeface="+mn-cs"/>
        </a:defRPr>
      </a:lvl2pPr>
      <a:lvl3pPr marL="913857" algn="l" defTabSz="913857" rtl="0" eaLnBrk="1" latinLnBrk="0" hangingPunct="1">
        <a:defRPr sz="1922" kern="1200">
          <a:solidFill>
            <a:schemeClr val="tx1"/>
          </a:solidFill>
          <a:latin typeface="+mn-lt"/>
          <a:ea typeface="+mn-ea"/>
          <a:cs typeface="+mn-cs"/>
        </a:defRPr>
      </a:lvl3pPr>
      <a:lvl4pPr marL="1370780" algn="l" defTabSz="913857" rtl="0" eaLnBrk="1" latinLnBrk="0" hangingPunct="1">
        <a:defRPr sz="1922" kern="1200">
          <a:solidFill>
            <a:schemeClr val="tx1"/>
          </a:solidFill>
          <a:latin typeface="+mn-lt"/>
          <a:ea typeface="+mn-ea"/>
          <a:cs typeface="+mn-cs"/>
        </a:defRPr>
      </a:lvl4pPr>
      <a:lvl5pPr marL="1827712" algn="l" defTabSz="913857" rtl="0" eaLnBrk="1" latinLnBrk="0" hangingPunct="1">
        <a:defRPr sz="1922" kern="1200">
          <a:solidFill>
            <a:schemeClr val="tx1"/>
          </a:solidFill>
          <a:latin typeface="+mn-lt"/>
          <a:ea typeface="+mn-ea"/>
          <a:cs typeface="+mn-cs"/>
        </a:defRPr>
      </a:lvl5pPr>
      <a:lvl6pPr marL="2284643" algn="l" defTabSz="913857" rtl="0" eaLnBrk="1" latinLnBrk="0" hangingPunct="1">
        <a:defRPr sz="1922" kern="1200">
          <a:solidFill>
            <a:schemeClr val="tx1"/>
          </a:solidFill>
          <a:latin typeface="+mn-lt"/>
          <a:ea typeface="+mn-ea"/>
          <a:cs typeface="+mn-cs"/>
        </a:defRPr>
      </a:lvl6pPr>
      <a:lvl7pPr marL="2741569" algn="l" defTabSz="913857" rtl="0" eaLnBrk="1" latinLnBrk="0" hangingPunct="1">
        <a:defRPr sz="1922" kern="1200">
          <a:solidFill>
            <a:schemeClr val="tx1"/>
          </a:solidFill>
          <a:latin typeface="+mn-lt"/>
          <a:ea typeface="+mn-ea"/>
          <a:cs typeface="+mn-cs"/>
        </a:defRPr>
      </a:lvl7pPr>
      <a:lvl8pPr marL="3198499" algn="l" defTabSz="913857" rtl="0" eaLnBrk="1" latinLnBrk="0" hangingPunct="1">
        <a:defRPr sz="1922" kern="1200">
          <a:solidFill>
            <a:schemeClr val="tx1"/>
          </a:solidFill>
          <a:latin typeface="+mn-lt"/>
          <a:ea typeface="+mn-ea"/>
          <a:cs typeface="+mn-cs"/>
        </a:defRPr>
      </a:lvl8pPr>
      <a:lvl9pPr marL="3655428" algn="l" defTabSz="913857" rtl="0" eaLnBrk="1" latinLnBrk="0" hangingPunct="1">
        <a:defRPr sz="1922"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7"/>
            </p:custDataLst>
            <p:extLst>
              <p:ext uri="{D42A27DB-BD31-4B8C-83A1-F6EECF244321}">
                <p14:modId xmlns:p14="http://schemas.microsoft.com/office/powerpoint/2010/main" val="2382548421"/>
              </p:ext>
            </p:extLst>
          </p:nvPr>
        </p:nvGraphicFramePr>
        <p:xfrm>
          <a:off x="1588" y="1590"/>
          <a:ext cx="1588" cy="1587"/>
        </p:xfrm>
        <a:graphic>
          <a:graphicData uri="http://schemas.openxmlformats.org/presentationml/2006/ole">
            <mc:AlternateContent xmlns:mc="http://schemas.openxmlformats.org/markup-compatibility/2006">
              <mc:Choice xmlns:v="urn:schemas-microsoft-com:vml" Requires="v">
                <p:oleObj spid="_x0000_s13314" name="think-cell Slide" r:id="rId9" imgW="216" imgH="216" progId="TCLayout.ActiveDocument.1">
                  <p:embed/>
                </p:oleObj>
              </mc:Choice>
              <mc:Fallback>
                <p:oleObj name="think-cell Slide" r:id="rId9" imgW="216" imgH="216" progId="TCLayout.ActiveDocument.1">
                  <p:embed/>
                  <p:pic>
                    <p:nvPicPr>
                      <p:cNvPr id="4" name="Object 3" hidden="1"/>
                      <p:cNvPicPr/>
                      <p:nvPr/>
                    </p:nvPicPr>
                    <p:blipFill>
                      <a:blip r:embed="rId10"/>
                      <a:stretch>
                        <a:fillRect/>
                      </a:stretch>
                    </p:blipFill>
                    <p:spPr>
                      <a:xfrm>
                        <a:off x="1588" y="1590"/>
                        <a:ext cx="1588"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D35BBD6-19BF-40F9-86FB-45632A655647}"/>
              </a:ext>
            </a:extLst>
          </p:cNvPr>
          <p:cNvSpPr/>
          <p:nvPr userDrawn="1">
            <p:custDataLst>
              <p:tags r:id="rId8"/>
            </p:custDataLst>
          </p:nvPr>
        </p:nvSpPr>
        <p:spPr>
          <a:xfrm>
            <a:off x="0" y="1"/>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eaLnBrk="1">
              <a:lnSpc>
                <a:spcPct val="85000"/>
              </a:lnSpc>
              <a:spcBef>
                <a:spcPct val="0"/>
              </a:spcBef>
              <a:spcAft>
                <a:spcPct val="0"/>
              </a:spcAft>
            </a:pPr>
            <a:endParaRPr lang="en-US" sz="2400" b="1" i="0" baseline="0">
              <a:solidFill>
                <a:schemeClr val="tx1"/>
              </a:solidFill>
              <a:latin typeface="EYInterstate" panose="02000503020000020004" pitchFamily="2" charset="0"/>
              <a:ea typeface="+mj-ea"/>
              <a:cs typeface="Arial" panose="020B0604020202020204" pitchFamily="34" charset="0"/>
              <a:sym typeface="EYInterstate" panose="02000503020000020004" pitchFamily="2" charset="0"/>
            </a:endParaRPr>
          </a:p>
        </p:txBody>
      </p:sp>
      <p:sp>
        <p:nvSpPr>
          <p:cNvPr id="2" name="Title Placeholder 1"/>
          <p:cNvSpPr>
            <a:spLocks noGrp="1"/>
          </p:cNvSpPr>
          <p:nvPr>
            <p:ph type="title"/>
          </p:nvPr>
        </p:nvSpPr>
        <p:spPr>
          <a:xfrm>
            <a:off x="943904" y="609597"/>
            <a:ext cx="11700000" cy="739984"/>
          </a:xfrm>
          <a:prstGeom prst="rect">
            <a:avLst/>
          </a:prstGeom>
        </p:spPr>
        <p:txBody>
          <a:bodyPr vert="horz" lIns="0" tIns="0" rIns="0" bIns="0" rtlCol="0" anchor="t" anchorCtr="0">
            <a:noAutofit/>
          </a:bodyPr>
          <a:lstStyle/>
          <a:p>
            <a:r>
              <a:rPr lang="en-US"/>
              <a:t>CLICK TO EDIT MASTER TITLE STYLE</a:t>
            </a:r>
            <a:endParaRPr lang="en-GB"/>
          </a:p>
        </p:txBody>
      </p:sp>
      <p:sp>
        <p:nvSpPr>
          <p:cNvPr id="3" name="Text Placeholder 2"/>
          <p:cNvSpPr>
            <a:spLocks noGrp="1"/>
          </p:cNvSpPr>
          <p:nvPr>
            <p:ph type="body" idx="1"/>
          </p:nvPr>
        </p:nvSpPr>
        <p:spPr>
          <a:xfrm>
            <a:off x="943904" y="1571790"/>
            <a:ext cx="11700000" cy="5181986"/>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Rectangle 12">
            <a:extLst>
              <a:ext uri="{FF2B5EF4-FFF2-40B4-BE49-F238E27FC236}">
                <a16:creationId xmlns:a16="http://schemas.microsoft.com/office/drawing/2014/main" id="{3A839B15-81E6-9045-B604-CB27BBC1C908}"/>
              </a:ext>
            </a:extLst>
          </p:cNvPr>
          <p:cNvSpPr/>
          <p:nvPr userDrawn="1"/>
        </p:nvSpPr>
        <p:spPr>
          <a:xfrm>
            <a:off x="943905" y="428151"/>
            <a:ext cx="1260000" cy="72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11" name="object 3">
            <a:extLst>
              <a:ext uri="{FF2B5EF4-FFF2-40B4-BE49-F238E27FC236}">
                <a16:creationId xmlns:a16="http://schemas.microsoft.com/office/drawing/2014/main" id="{FBEC6C36-7DE3-C04D-8FC3-90CFCCD3E4A9}"/>
              </a:ext>
            </a:extLst>
          </p:cNvPr>
          <p:cNvSpPr/>
          <p:nvPr userDrawn="1"/>
        </p:nvSpPr>
        <p:spPr>
          <a:xfrm>
            <a:off x="-5625" y="17"/>
            <a:ext cx="573553" cy="7561246"/>
          </a:xfrm>
          <a:custGeom>
            <a:avLst/>
            <a:gdLst/>
            <a:ahLst/>
            <a:cxnLst/>
            <a:rect l="l" t="t" r="r" b="b"/>
            <a:pathLst>
              <a:path w="5076190" h="7560309">
                <a:moveTo>
                  <a:pt x="0" y="7559992"/>
                </a:moveTo>
                <a:lnTo>
                  <a:pt x="5075999" y="7559992"/>
                </a:lnTo>
                <a:lnTo>
                  <a:pt x="5075999" y="0"/>
                </a:lnTo>
                <a:lnTo>
                  <a:pt x="0" y="0"/>
                </a:lnTo>
                <a:lnTo>
                  <a:pt x="0" y="7559992"/>
                </a:lnTo>
                <a:close/>
              </a:path>
            </a:pathLst>
          </a:custGeom>
          <a:solidFill>
            <a:schemeClr val="tx1"/>
          </a:solidFill>
        </p:spPr>
        <p:txBody>
          <a:bodyPr wrap="square" lIns="0" tIns="0" rIns="0" bIns="0" rtlCol="0"/>
          <a:lstStyle/>
          <a:p>
            <a:pPr algn="ctr"/>
            <a:endParaRPr sz="1799">
              <a:solidFill>
                <a:prstClr val="black"/>
              </a:solidFill>
              <a:latin typeface="Calibri" panose="020F0502020204030204"/>
            </a:endParaRPr>
          </a:p>
        </p:txBody>
      </p:sp>
      <p:sp>
        <p:nvSpPr>
          <p:cNvPr id="12" name="object 14">
            <a:extLst>
              <a:ext uri="{FF2B5EF4-FFF2-40B4-BE49-F238E27FC236}">
                <a16:creationId xmlns:a16="http://schemas.microsoft.com/office/drawing/2014/main" id="{3D19E29C-B81E-B848-A185-3911687868CA}"/>
              </a:ext>
            </a:extLst>
          </p:cNvPr>
          <p:cNvSpPr/>
          <p:nvPr userDrawn="1"/>
        </p:nvSpPr>
        <p:spPr>
          <a:xfrm>
            <a:off x="146530" y="398407"/>
            <a:ext cx="269241" cy="98425"/>
          </a:xfrm>
          <a:custGeom>
            <a:avLst/>
            <a:gdLst/>
            <a:ahLst/>
            <a:cxnLst/>
            <a:rect l="l" t="t" r="r" b="b"/>
            <a:pathLst>
              <a:path w="269240" h="98425">
                <a:moveTo>
                  <a:pt x="269227" y="0"/>
                </a:moveTo>
                <a:lnTo>
                  <a:pt x="0" y="98247"/>
                </a:lnTo>
                <a:lnTo>
                  <a:pt x="269227" y="50698"/>
                </a:lnTo>
                <a:lnTo>
                  <a:pt x="269227" y="0"/>
                </a:lnTo>
                <a:close/>
              </a:path>
            </a:pathLst>
          </a:custGeom>
          <a:solidFill>
            <a:srgbClr val="FFD400"/>
          </a:solidFill>
        </p:spPr>
        <p:txBody>
          <a:bodyPr wrap="square" lIns="0" tIns="0" rIns="0" bIns="0" rtlCol="0"/>
          <a:lstStyle/>
          <a:p>
            <a:pPr algn="ctr"/>
            <a:endParaRPr sz="1799">
              <a:solidFill>
                <a:prstClr val="black"/>
              </a:solidFill>
              <a:latin typeface="Calibri" panose="020F0502020204030204"/>
            </a:endParaRPr>
          </a:p>
        </p:txBody>
      </p:sp>
      <p:sp>
        <p:nvSpPr>
          <p:cNvPr id="14" name="object 15">
            <a:extLst>
              <a:ext uri="{FF2B5EF4-FFF2-40B4-BE49-F238E27FC236}">
                <a16:creationId xmlns:a16="http://schemas.microsoft.com/office/drawing/2014/main" id="{5DE69E7C-24A8-2346-869B-1BCBC7E6C6C0}"/>
              </a:ext>
            </a:extLst>
          </p:cNvPr>
          <p:cNvSpPr/>
          <p:nvPr userDrawn="1"/>
        </p:nvSpPr>
        <p:spPr>
          <a:xfrm>
            <a:off x="168134" y="537503"/>
            <a:ext cx="226034" cy="136194"/>
          </a:xfrm>
          <a:prstGeom prst="rect">
            <a:avLst/>
          </a:prstGeom>
          <a:blipFill>
            <a:blip r:embed="rId11" cstate="print"/>
            <a:stretch>
              <a:fillRect/>
            </a:stretch>
          </a:blipFill>
        </p:spPr>
        <p:txBody>
          <a:bodyPr wrap="square" lIns="0" tIns="0" rIns="0" bIns="0" rtlCol="0"/>
          <a:lstStyle/>
          <a:p>
            <a:pPr algn="ctr"/>
            <a:endParaRPr sz="1799">
              <a:solidFill>
                <a:prstClr val="black"/>
              </a:solidFill>
              <a:latin typeface="Calibri" panose="020F0502020204030204"/>
            </a:endParaRPr>
          </a:p>
        </p:txBody>
      </p:sp>
      <p:grpSp>
        <p:nvGrpSpPr>
          <p:cNvPr id="16" name="Group 15">
            <a:extLst>
              <a:ext uri="{FF2B5EF4-FFF2-40B4-BE49-F238E27FC236}">
                <a16:creationId xmlns:a16="http://schemas.microsoft.com/office/drawing/2014/main" id="{0726C71A-D368-B041-8BD9-4D61AA84A144}"/>
              </a:ext>
            </a:extLst>
          </p:cNvPr>
          <p:cNvGrpSpPr/>
          <p:nvPr userDrawn="1"/>
        </p:nvGrpSpPr>
        <p:grpSpPr>
          <a:xfrm>
            <a:off x="173642" y="3095627"/>
            <a:ext cx="215019" cy="215019"/>
            <a:chOff x="147828" y="2915202"/>
            <a:chExt cx="215019" cy="215019"/>
          </a:xfrm>
        </p:grpSpPr>
        <p:sp>
          <p:nvSpPr>
            <p:cNvPr id="17" name="Oval 16">
              <a:extLst>
                <a:ext uri="{FF2B5EF4-FFF2-40B4-BE49-F238E27FC236}">
                  <a16:creationId xmlns:a16="http://schemas.microsoft.com/office/drawing/2014/main" id="{0207DA1F-1F9C-294D-97C4-C0A6F616599E}"/>
                </a:ext>
              </a:extLst>
            </p:cNvPr>
            <p:cNvSpPr/>
            <p:nvPr/>
          </p:nvSpPr>
          <p:spPr>
            <a:xfrm>
              <a:off x="147828" y="2915202"/>
              <a:ext cx="215019" cy="215019"/>
            </a:xfrm>
            <a:prstGeom prst="ellipse">
              <a:avLst/>
            </a:prstGeom>
            <a:noFill/>
            <a:ln w="9525" cap="flat" cmpd="sng" algn="ctr">
              <a:solidFill>
                <a:sysClr val="window" lastClr="FFFFFF"/>
              </a:solidFill>
              <a:prstDash val="solid"/>
              <a:miter lim="800000"/>
            </a:ln>
            <a:effectLst/>
          </p:spPr>
          <p:txBody>
            <a:bodyPr rtlCol="0" anchor="t" anchorCtr="0"/>
            <a:lstStyle/>
            <a:p>
              <a:pPr marL="0" marR="0" lvl="0" indent="0" algn="ctr" defTabSz="914269"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black"/>
                </a:solidFill>
                <a:effectLst/>
                <a:uLnTx/>
                <a:uFillTx/>
                <a:latin typeface="Calibri" panose="020F0502020204030204"/>
                <a:ea typeface="+mn-ea"/>
                <a:cs typeface="+mn-cs"/>
              </a:endParaRPr>
            </a:p>
          </p:txBody>
        </p:sp>
        <p:cxnSp>
          <p:nvCxnSpPr>
            <p:cNvPr id="18" name="Straight Connector 17">
              <a:extLst>
                <a:ext uri="{FF2B5EF4-FFF2-40B4-BE49-F238E27FC236}">
                  <a16:creationId xmlns:a16="http://schemas.microsoft.com/office/drawing/2014/main" id="{CECE0C06-22D8-A04F-B592-79AFD6202C26}"/>
                </a:ext>
              </a:extLst>
            </p:cNvPr>
            <p:cNvCxnSpPr/>
            <p:nvPr/>
          </p:nvCxnSpPr>
          <p:spPr>
            <a:xfrm>
              <a:off x="193425" y="3022711"/>
              <a:ext cx="123825" cy="0"/>
            </a:xfrm>
            <a:prstGeom prst="line">
              <a:avLst/>
            </a:prstGeom>
            <a:noFill/>
            <a:ln w="9525" cap="flat" cmpd="sng" algn="ctr">
              <a:solidFill>
                <a:sysClr val="window" lastClr="FFFFFF"/>
              </a:solidFill>
              <a:prstDash val="solid"/>
              <a:miter lim="800000"/>
              <a:tailEnd type="none"/>
            </a:ln>
            <a:effectLst/>
          </p:spPr>
        </p:cxnSp>
        <p:sp>
          <p:nvSpPr>
            <p:cNvPr id="19" name="Rectangle 11">
              <a:extLst>
                <a:ext uri="{FF2B5EF4-FFF2-40B4-BE49-F238E27FC236}">
                  <a16:creationId xmlns:a16="http://schemas.microsoft.com/office/drawing/2014/main" id="{7A5DEC11-2762-9548-A7CB-2D7CAD730DF7}"/>
                </a:ext>
              </a:extLst>
            </p:cNvPr>
            <p:cNvSpPr/>
            <p:nvPr/>
          </p:nvSpPr>
          <p:spPr>
            <a:xfrm rot="18900000">
              <a:off x="231586" y="2987228"/>
              <a:ext cx="70967" cy="70967"/>
            </a:xfrm>
            <a:custGeom>
              <a:avLst/>
              <a:gdLst>
                <a:gd name="connsiteX0" fmla="*/ 0 w 149225"/>
                <a:gd name="connsiteY0" fmla="*/ 0 h 149225"/>
                <a:gd name="connsiteX1" fmla="*/ 149225 w 149225"/>
                <a:gd name="connsiteY1" fmla="*/ 0 h 149225"/>
                <a:gd name="connsiteX2" fmla="*/ 149225 w 149225"/>
                <a:gd name="connsiteY2" fmla="*/ 149225 h 149225"/>
                <a:gd name="connsiteX3" fmla="*/ 0 w 149225"/>
                <a:gd name="connsiteY3" fmla="*/ 149225 h 149225"/>
                <a:gd name="connsiteX4" fmla="*/ 0 w 149225"/>
                <a:gd name="connsiteY4" fmla="*/ 0 h 149225"/>
                <a:gd name="connsiteX0" fmla="*/ 0 w 149225"/>
                <a:gd name="connsiteY0" fmla="*/ 149225 h 149225"/>
                <a:gd name="connsiteX1" fmla="*/ 149225 w 149225"/>
                <a:gd name="connsiteY1" fmla="*/ 0 h 149225"/>
                <a:gd name="connsiteX2" fmla="*/ 149225 w 149225"/>
                <a:gd name="connsiteY2" fmla="*/ 149225 h 149225"/>
                <a:gd name="connsiteX3" fmla="*/ 0 w 149225"/>
                <a:gd name="connsiteY3" fmla="*/ 149225 h 149225"/>
                <a:gd name="connsiteX0" fmla="*/ 149225 w 240665"/>
                <a:gd name="connsiteY0" fmla="*/ 0 h 149225"/>
                <a:gd name="connsiteX1" fmla="*/ 149225 w 240665"/>
                <a:gd name="connsiteY1" fmla="*/ 149225 h 149225"/>
                <a:gd name="connsiteX2" fmla="*/ 0 w 240665"/>
                <a:gd name="connsiteY2" fmla="*/ 149225 h 149225"/>
                <a:gd name="connsiteX3" fmla="*/ 240665 w 240665"/>
                <a:gd name="connsiteY3" fmla="*/ 91440 h 149225"/>
                <a:gd name="connsiteX0" fmla="*/ 149225 w 149225"/>
                <a:gd name="connsiteY0" fmla="*/ 0 h 149225"/>
                <a:gd name="connsiteX1" fmla="*/ 149225 w 149225"/>
                <a:gd name="connsiteY1" fmla="*/ 149225 h 149225"/>
                <a:gd name="connsiteX2" fmla="*/ 0 w 149225"/>
                <a:gd name="connsiteY2" fmla="*/ 149225 h 149225"/>
              </a:gdLst>
              <a:ahLst/>
              <a:cxnLst>
                <a:cxn ang="0">
                  <a:pos x="connsiteX0" y="connsiteY0"/>
                </a:cxn>
                <a:cxn ang="0">
                  <a:pos x="connsiteX1" y="connsiteY1"/>
                </a:cxn>
                <a:cxn ang="0">
                  <a:pos x="connsiteX2" y="connsiteY2"/>
                </a:cxn>
              </a:cxnLst>
              <a:rect l="l" t="t" r="r" b="b"/>
              <a:pathLst>
                <a:path w="149225" h="149225">
                  <a:moveTo>
                    <a:pt x="149225" y="0"/>
                  </a:moveTo>
                  <a:lnTo>
                    <a:pt x="149225" y="149225"/>
                  </a:lnTo>
                  <a:lnTo>
                    <a:pt x="0" y="149225"/>
                  </a:lnTo>
                </a:path>
              </a:pathLst>
            </a:custGeom>
            <a:noFill/>
            <a:ln w="9525" cap="flat" cmpd="sng" algn="ctr">
              <a:solidFill>
                <a:sysClr val="window" lastClr="FFFFFF"/>
              </a:solidFill>
              <a:prstDash val="solid"/>
              <a:miter lim="800000"/>
            </a:ln>
            <a:effectLst/>
          </p:spPr>
          <p:txBody>
            <a:bodyPr rtlCol="0" anchor="t" anchorCtr="0"/>
            <a:lstStyle/>
            <a:p>
              <a:pPr marL="0" marR="0" lvl="0" indent="0" algn="ctr" defTabSz="914269"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black"/>
                </a:solidFill>
                <a:effectLst/>
                <a:uLnTx/>
                <a:uFillTx/>
                <a:latin typeface="Calibri" panose="020F0502020204030204"/>
                <a:ea typeface="+mn-ea"/>
                <a:cs typeface="+mn-cs"/>
              </a:endParaRPr>
            </a:p>
          </p:txBody>
        </p:sp>
      </p:grpSp>
      <p:grpSp>
        <p:nvGrpSpPr>
          <p:cNvPr id="20" name="Group 19">
            <a:extLst>
              <a:ext uri="{FF2B5EF4-FFF2-40B4-BE49-F238E27FC236}">
                <a16:creationId xmlns:a16="http://schemas.microsoft.com/office/drawing/2014/main" id="{30844FBE-FCA0-234D-A1A0-DEEB814F56F7}"/>
              </a:ext>
            </a:extLst>
          </p:cNvPr>
          <p:cNvGrpSpPr/>
          <p:nvPr userDrawn="1"/>
        </p:nvGrpSpPr>
        <p:grpSpPr>
          <a:xfrm rot="10800000">
            <a:off x="173642" y="3547371"/>
            <a:ext cx="215019" cy="215019"/>
            <a:chOff x="5758249" y="7128479"/>
            <a:chExt cx="215019" cy="215019"/>
          </a:xfrm>
        </p:grpSpPr>
        <p:sp>
          <p:nvSpPr>
            <p:cNvPr id="21" name="Oval 20">
              <a:extLst>
                <a:ext uri="{FF2B5EF4-FFF2-40B4-BE49-F238E27FC236}">
                  <a16:creationId xmlns:a16="http://schemas.microsoft.com/office/drawing/2014/main" id="{A3BB17A6-DFE2-3F48-94A5-1488E1D6457D}"/>
                </a:ext>
              </a:extLst>
            </p:cNvPr>
            <p:cNvSpPr/>
            <p:nvPr/>
          </p:nvSpPr>
          <p:spPr>
            <a:xfrm>
              <a:off x="5758249" y="7128479"/>
              <a:ext cx="215019" cy="215019"/>
            </a:xfrm>
            <a:prstGeom prst="ellipse">
              <a:avLst/>
            </a:prstGeom>
            <a:noFill/>
            <a:ln w="9525" cap="flat" cmpd="sng" algn="ctr">
              <a:solidFill>
                <a:sysClr val="window" lastClr="FFFFFF"/>
              </a:solidFill>
              <a:prstDash val="solid"/>
              <a:miter lim="800000"/>
            </a:ln>
            <a:effectLst/>
          </p:spPr>
          <p:txBody>
            <a:bodyPr rtlCol="0" anchor="t" anchorCtr="0"/>
            <a:lstStyle/>
            <a:p>
              <a:pPr marL="0" marR="0" lvl="0" indent="0" algn="ctr" defTabSz="914269"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black"/>
                </a:solidFill>
                <a:effectLst/>
                <a:uLnTx/>
                <a:uFillTx/>
                <a:latin typeface="Calibri" panose="020F0502020204030204"/>
                <a:ea typeface="+mn-ea"/>
                <a:cs typeface="+mn-cs"/>
              </a:endParaRPr>
            </a:p>
          </p:txBody>
        </p:sp>
        <p:cxnSp>
          <p:nvCxnSpPr>
            <p:cNvPr id="22" name="Straight Connector 21">
              <a:extLst>
                <a:ext uri="{FF2B5EF4-FFF2-40B4-BE49-F238E27FC236}">
                  <a16:creationId xmlns:a16="http://schemas.microsoft.com/office/drawing/2014/main" id="{7035876D-E7CD-8C41-8052-10A7CFE3A66B}"/>
                </a:ext>
              </a:extLst>
            </p:cNvPr>
            <p:cNvCxnSpPr/>
            <p:nvPr/>
          </p:nvCxnSpPr>
          <p:spPr>
            <a:xfrm>
              <a:off x="5803846" y="7235988"/>
              <a:ext cx="123825" cy="0"/>
            </a:xfrm>
            <a:prstGeom prst="line">
              <a:avLst/>
            </a:prstGeom>
            <a:noFill/>
            <a:ln w="9525" cap="flat" cmpd="sng" algn="ctr">
              <a:solidFill>
                <a:sysClr val="window" lastClr="FFFFFF"/>
              </a:solidFill>
              <a:prstDash val="solid"/>
              <a:miter lim="800000"/>
              <a:tailEnd type="none"/>
            </a:ln>
            <a:effectLst/>
          </p:spPr>
        </p:cxnSp>
        <p:sp>
          <p:nvSpPr>
            <p:cNvPr id="23" name="Rectangle 11">
              <a:extLst>
                <a:ext uri="{FF2B5EF4-FFF2-40B4-BE49-F238E27FC236}">
                  <a16:creationId xmlns:a16="http://schemas.microsoft.com/office/drawing/2014/main" id="{4094B3D7-0406-A540-8445-9B565193A9AC}"/>
                </a:ext>
              </a:extLst>
            </p:cNvPr>
            <p:cNvSpPr/>
            <p:nvPr/>
          </p:nvSpPr>
          <p:spPr>
            <a:xfrm rot="18900000">
              <a:off x="5842007" y="7200505"/>
              <a:ext cx="70967" cy="70967"/>
            </a:xfrm>
            <a:custGeom>
              <a:avLst/>
              <a:gdLst>
                <a:gd name="connsiteX0" fmla="*/ 0 w 149225"/>
                <a:gd name="connsiteY0" fmla="*/ 0 h 149225"/>
                <a:gd name="connsiteX1" fmla="*/ 149225 w 149225"/>
                <a:gd name="connsiteY1" fmla="*/ 0 h 149225"/>
                <a:gd name="connsiteX2" fmla="*/ 149225 w 149225"/>
                <a:gd name="connsiteY2" fmla="*/ 149225 h 149225"/>
                <a:gd name="connsiteX3" fmla="*/ 0 w 149225"/>
                <a:gd name="connsiteY3" fmla="*/ 149225 h 149225"/>
                <a:gd name="connsiteX4" fmla="*/ 0 w 149225"/>
                <a:gd name="connsiteY4" fmla="*/ 0 h 149225"/>
                <a:gd name="connsiteX0" fmla="*/ 0 w 149225"/>
                <a:gd name="connsiteY0" fmla="*/ 149225 h 149225"/>
                <a:gd name="connsiteX1" fmla="*/ 149225 w 149225"/>
                <a:gd name="connsiteY1" fmla="*/ 0 h 149225"/>
                <a:gd name="connsiteX2" fmla="*/ 149225 w 149225"/>
                <a:gd name="connsiteY2" fmla="*/ 149225 h 149225"/>
                <a:gd name="connsiteX3" fmla="*/ 0 w 149225"/>
                <a:gd name="connsiteY3" fmla="*/ 149225 h 149225"/>
                <a:gd name="connsiteX0" fmla="*/ 149225 w 240665"/>
                <a:gd name="connsiteY0" fmla="*/ 0 h 149225"/>
                <a:gd name="connsiteX1" fmla="*/ 149225 w 240665"/>
                <a:gd name="connsiteY1" fmla="*/ 149225 h 149225"/>
                <a:gd name="connsiteX2" fmla="*/ 0 w 240665"/>
                <a:gd name="connsiteY2" fmla="*/ 149225 h 149225"/>
                <a:gd name="connsiteX3" fmla="*/ 240665 w 240665"/>
                <a:gd name="connsiteY3" fmla="*/ 91440 h 149225"/>
                <a:gd name="connsiteX0" fmla="*/ 149225 w 149225"/>
                <a:gd name="connsiteY0" fmla="*/ 0 h 149225"/>
                <a:gd name="connsiteX1" fmla="*/ 149225 w 149225"/>
                <a:gd name="connsiteY1" fmla="*/ 149225 h 149225"/>
                <a:gd name="connsiteX2" fmla="*/ 0 w 149225"/>
                <a:gd name="connsiteY2" fmla="*/ 149225 h 149225"/>
              </a:gdLst>
              <a:ahLst/>
              <a:cxnLst>
                <a:cxn ang="0">
                  <a:pos x="connsiteX0" y="connsiteY0"/>
                </a:cxn>
                <a:cxn ang="0">
                  <a:pos x="connsiteX1" y="connsiteY1"/>
                </a:cxn>
                <a:cxn ang="0">
                  <a:pos x="connsiteX2" y="connsiteY2"/>
                </a:cxn>
              </a:cxnLst>
              <a:rect l="l" t="t" r="r" b="b"/>
              <a:pathLst>
                <a:path w="149225" h="149225">
                  <a:moveTo>
                    <a:pt x="149225" y="0"/>
                  </a:moveTo>
                  <a:lnTo>
                    <a:pt x="149225" y="149225"/>
                  </a:lnTo>
                  <a:lnTo>
                    <a:pt x="0" y="149225"/>
                  </a:lnTo>
                </a:path>
              </a:pathLst>
            </a:custGeom>
            <a:noFill/>
            <a:ln w="9525" cap="flat" cmpd="sng" algn="ctr">
              <a:solidFill>
                <a:sysClr val="window" lastClr="FFFFFF"/>
              </a:solidFill>
              <a:prstDash val="solid"/>
              <a:miter lim="800000"/>
            </a:ln>
            <a:effectLst/>
          </p:spPr>
          <p:txBody>
            <a:bodyPr rtlCol="0" anchor="t" anchorCtr="0"/>
            <a:lstStyle/>
            <a:p>
              <a:pPr marL="0" marR="0" lvl="0" indent="0" algn="ctr" defTabSz="914269"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black"/>
                </a:solidFill>
                <a:effectLst/>
                <a:uLnTx/>
                <a:uFillTx/>
                <a:latin typeface="Calibri" panose="020F0502020204030204"/>
                <a:ea typeface="+mn-ea"/>
                <a:cs typeface="+mn-cs"/>
              </a:endParaRPr>
            </a:p>
          </p:txBody>
        </p:sp>
      </p:grpSp>
      <p:sp>
        <p:nvSpPr>
          <p:cNvPr id="24" name="Action Button: Custom 23">
            <a:hlinkClick r:id="" action="ppaction://hlinkshowjump?jump=nextslide" highlightClick="1"/>
            <a:extLst>
              <a:ext uri="{FF2B5EF4-FFF2-40B4-BE49-F238E27FC236}">
                <a16:creationId xmlns:a16="http://schemas.microsoft.com/office/drawing/2014/main" id="{98B416AA-6970-204F-9803-82312AEF99A3}"/>
              </a:ext>
            </a:extLst>
          </p:cNvPr>
          <p:cNvSpPr/>
          <p:nvPr userDrawn="1"/>
        </p:nvSpPr>
        <p:spPr>
          <a:xfrm>
            <a:off x="160548" y="3095627"/>
            <a:ext cx="241211" cy="241211"/>
          </a:xfrm>
          <a:prstGeom prst="actionButtonBlank">
            <a:avLst/>
          </a:prstGeom>
          <a:noFill/>
          <a:ln w="12700" cap="flat" cmpd="sng" algn="ctr">
            <a:noFill/>
            <a:prstDash val="solid"/>
            <a:miter lim="800000"/>
          </a:ln>
          <a:effectLst/>
        </p:spPr>
        <p:txBody>
          <a:bodyPr rtlCol="0" anchor="ctr"/>
          <a:lstStyle/>
          <a:p>
            <a:pPr marL="0" marR="0" lvl="0" indent="0" algn="ctr" defTabSz="914269"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5" name="Action Button: Custom 24">
            <a:hlinkClick r:id="" action="ppaction://hlinkshowjump?jump=previousslide" highlightClick="1"/>
            <a:extLst>
              <a:ext uri="{FF2B5EF4-FFF2-40B4-BE49-F238E27FC236}">
                <a16:creationId xmlns:a16="http://schemas.microsoft.com/office/drawing/2014/main" id="{7A387E38-D922-FA48-996E-C4EBA78D6D4A}"/>
              </a:ext>
            </a:extLst>
          </p:cNvPr>
          <p:cNvSpPr/>
          <p:nvPr userDrawn="1"/>
        </p:nvSpPr>
        <p:spPr>
          <a:xfrm>
            <a:off x="160548" y="3534274"/>
            <a:ext cx="241211" cy="241211"/>
          </a:xfrm>
          <a:prstGeom prst="actionButtonBlank">
            <a:avLst/>
          </a:prstGeom>
          <a:noFill/>
          <a:ln w="12700" cap="flat" cmpd="sng" algn="ctr">
            <a:noFill/>
            <a:prstDash val="solid"/>
            <a:miter lim="800000"/>
          </a:ln>
          <a:effectLst/>
        </p:spPr>
        <p:txBody>
          <a:bodyPr rtlCol="0" anchor="ctr"/>
          <a:lstStyle/>
          <a:p>
            <a:pPr marL="0" marR="0" lvl="0" indent="0" algn="ctr" defTabSz="914269"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6" name="TextBox 5"/>
          <p:cNvSpPr txBox="1"/>
          <p:nvPr userDrawn="1"/>
        </p:nvSpPr>
        <p:spPr>
          <a:xfrm>
            <a:off x="12294" y="7286207"/>
            <a:ext cx="537719" cy="153888"/>
          </a:xfrm>
          <a:prstGeom prst="rect">
            <a:avLst/>
          </a:prstGeom>
          <a:noFill/>
        </p:spPr>
        <p:txBody>
          <a:bodyPr wrap="square" lIns="0" tIns="0" rIns="0" bIns="0" rtlCol="0">
            <a:spAutoFit/>
          </a:bodyPr>
          <a:lstStyle/>
          <a:p>
            <a:pPr algn="ctr" fontAlgn="auto">
              <a:spcBef>
                <a:spcPts val="0"/>
              </a:spcBef>
              <a:spcAft>
                <a:spcPts val="0"/>
              </a:spcAft>
              <a:buClrTx/>
              <a:buSzTx/>
              <a:buFontTx/>
              <a:buNone/>
            </a:pPr>
            <a:fld id="{EE81E157-A1D1-4641-98C5-E5C73AF14974}" type="slidenum">
              <a:rPr lang="en-US" sz="1000" b="1" smtClean="0">
                <a:solidFill>
                  <a:schemeClr val="tx2"/>
                </a:solidFill>
                <a:latin typeface="EYInterstate" panose="02000503020000020004" pitchFamily="2" charset="0"/>
              </a:rPr>
              <a:pPr algn="ctr" fontAlgn="auto">
                <a:spcBef>
                  <a:spcPts val="0"/>
                </a:spcBef>
                <a:spcAft>
                  <a:spcPts val="0"/>
                </a:spcAft>
                <a:buClrTx/>
                <a:buSzTx/>
                <a:buFontTx/>
                <a:buNone/>
              </a:pPr>
              <a:t>‹#›</a:t>
            </a:fld>
            <a:endParaRPr lang="en-US" sz="1000" b="1">
              <a:solidFill>
                <a:schemeClr val="tx2"/>
              </a:solidFill>
              <a:latin typeface="EYInterstate" panose="02000503020000020004" pitchFamily="2" charset="0"/>
            </a:endParaRPr>
          </a:p>
        </p:txBody>
      </p:sp>
    </p:spTree>
    <p:extLst>
      <p:ext uri="{BB962C8B-B14F-4D97-AF65-F5344CB8AC3E}">
        <p14:creationId xmlns:p14="http://schemas.microsoft.com/office/powerpoint/2010/main" val="1678329109"/>
      </p:ext>
    </p:extLst>
  </p:cSld>
  <p:clrMap bg1="lt1" tx1="dk1" bg2="lt2" tx2="dk2" accent1="accent1" accent2="accent2" accent3="accent3" accent4="accent4" accent5="accent5" accent6="accent6" hlink="hlink" folHlink="folHlink"/>
  <p:sldLayoutIdLst>
    <p:sldLayoutId id="2147484206" r:id="rId1"/>
    <p:sldLayoutId id="2147484207" r:id="rId2"/>
    <p:sldLayoutId id="2147484208" r:id="rId3"/>
    <p:sldLayoutId id="2147484209" r:id="rId4"/>
  </p:sldLayoutIdLst>
  <p:hf hdr="0" ftr="0" dt="0"/>
  <p:txStyles>
    <p:titleStyle>
      <a:lvl1pPr algn="l" defTabSz="1266556" rtl="0" eaLnBrk="1" latinLnBrk="0" hangingPunct="1">
        <a:lnSpc>
          <a:spcPct val="85000"/>
        </a:lnSpc>
        <a:spcBef>
          <a:spcPct val="0"/>
        </a:spcBef>
        <a:buNone/>
        <a:defRPr sz="2400" b="1" i="0" kern="1200">
          <a:solidFill>
            <a:schemeClr val="bg1"/>
          </a:solidFill>
          <a:latin typeface="EYInterstate" panose="02000503020000020004" pitchFamily="2" charset="0"/>
          <a:ea typeface="+mj-ea"/>
          <a:cs typeface="Arial" pitchFamily="34" charset="0"/>
        </a:defRPr>
      </a:lvl1pPr>
    </p:titleStyle>
    <p:bodyStyle>
      <a:lvl1pPr marL="493959" indent="-493959" algn="l" defTabSz="1266556" rtl="0" eaLnBrk="1" latinLnBrk="0" hangingPunct="1">
        <a:spcBef>
          <a:spcPct val="20000"/>
        </a:spcBef>
        <a:buClr>
          <a:schemeClr val="tx1"/>
        </a:buClr>
        <a:buSzPct val="70000"/>
        <a:buFont typeface="Arial" pitchFamily="34" charset="0"/>
        <a:buChar char="►"/>
        <a:defRPr sz="2493" b="0" i="0" kern="1200">
          <a:solidFill>
            <a:schemeClr val="bg1"/>
          </a:solidFill>
          <a:latin typeface="EYInterstate Light" panose="02000506000000020004" pitchFamily="2" charset="0"/>
          <a:ea typeface="+mn-ea"/>
          <a:cs typeface="+mn-cs"/>
        </a:defRPr>
      </a:lvl1pPr>
      <a:lvl2pPr marL="987913" indent="-493959" algn="l" defTabSz="1266556" rtl="0" eaLnBrk="1" latinLnBrk="0" hangingPunct="1">
        <a:spcBef>
          <a:spcPct val="20000"/>
        </a:spcBef>
        <a:buClr>
          <a:schemeClr val="tx1"/>
        </a:buClr>
        <a:buSzPct val="70000"/>
        <a:buFont typeface="Arial" pitchFamily="34" charset="0"/>
        <a:buChar char="►"/>
        <a:defRPr sz="2000" b="0" i="0" kern="1200">
          <a:solidFill>
            <a:schemeClr val="bg1"/>
          </a:solidFill>
          <a:latin typeface="EYInterstate Light" panose="02000506000000020004" pitchFamily="2" charset="0"/>
          <a:ea typeface="+mn-ea"/>
          <a:cs typeface="+mn-cs"/>
        </a:defRPr>
      </a:lvl2pPr>
      <a:lvl3pPr marL="1481871" indent="-493959" algn="l" defTabSz="1266556" rtl="0" eaLnBrk="1" latinLnBrk="0" hangingPunct="1">
        <a:spcBef>
          <a:spcPct val="20000"/>
        </a:spcBef>
        <a:buClr>
          <a:schemeClr val="tx1"/>
        </a:buClr>
        <a:buSzPct val="70000"/>
        <a:buFont typeface="Arial" pitchFamily="34" charset="0"/>
        <a:buChar char="►"/>
        <a:defRPr sz="1799" b="0" i="0" kern="1200">
          <a:solidFill>
            <a:schemeClr val="bg1"/>
          </a:solidFill>
          <a:latin typeface="EYInterstate Light" panose="02000506000000020004" pitchFamily="2" charset="0"/>
          <a:ea typeface="+mn-ea"/>
          <a:cs typeface="+mn-cs"/>
        </a:defRPr>
      </a:lvl3pPr>
      <a:lvl4pPr marL="1975828" indent="-493959" algn="l" defTabSz="1266556" rtl="0" eaLnBrk="1" latinLnBrk="0" hangingPunct="1">
        <a:spcBef>
          <a:spcPct val="20000"/>
        </a:spcBef>
        <a:buClr>
          <a:schemeClr val="tx1"/>
        </a:buClr>
        <a:buSzPct val="70000"/>
        <a:buFont typeface="Arial" pitchFamily="34" charset="0"/>
        <a:buChar char="►"/>
        <a:defRPr sz="1600" b="0" i="0" kern="1200">
          <a:solidFill>
            <a:schemeClr val="bg1"/>
          </a:solidFill>
          <a:latin typeface="EYInterstate Light" panose="02000506000000020004" pitchFamily="2" charset="0"/>
          <a:ea typeface="+mn-ea"/>
          <a:cs typeface="+mn-cs"/>
        </a:defRPr>
      </a:lvl4pPr>
      <a:lvl5pPr marL="2469783" indent="-493959" algn="l" defTabSz="1266556" rtl="0" eaLnBrk="1" latinLnBrk="0" hangingPunct="1">
        <a:spcBef>
          <a:spcPct val="20000"/>
        </a:spcBef>
        <a:buClr>
          <a:schemeClr val="tx1"/>
        </a:buClr>
        <a:buSzPct val="70000"/>
        <a:buFont typeface="Arial" pitchFamily="34" charset="0"/>
        <a:buChar char="►"/>
        <a:defRPr sz="1400" b="0" i="0" kern="1200">
          <a:solidFill>
            <a:schemeClr val="bg1"/>
          </a:solidFill>
          <a:latin typeface="EYInterstate Light" panose="02000506000000020004" pitchFamily="2" charset="0"/>
          <a:ea typeface="+mn-ea"/>
          <a:cs typeface="+mn-cs"/>
        </a:defRPr>
      </a:lvl5pPr>
      <a:lvl6pPr marL="3483030" indent="-316640" algn="l" defTabSz="1266556" rtl="0" eaLnBrk="1" latinLnBrk="0" hangingPunct="1">
        <a:spcBef>
          <a:spcPct val="20000"/>
        </a:spcBef>
        <a:buFont typeface="Arial" pitchFamily="34" charset="0"/>
        <a:buChar char="•"/>
        <a:defRPr sz="2771" kern="1200">
          <a:solidFill>
            <a:schemeClr val="tx1"/>
          </a:solidFill>
          <a:latin typeface="+mn-lt"/>
          <a:ea typeface="+mn-ea"/>
          <a:cs typeface="+mn-cs"/>
        </a:defRPr>
      </a:lvl6pPr>
      <a:lvl7pPr marL="4116308" indent="-316640" algn="l" defTabSz="1266556" rtl="0" eaLnBrk="1" latinLnBrk="0" hangingPunct="1">
        <a:spcBef>
          <a:spcPct val="20000"/>
        </a:spcBef>
        <a:buFont typeface="Arial" pitchFamily="34" charset="0"/>
        <a:buChar char="•"/>
        <a:defRPr sz="2771" kern="1200">
          <a:solidFill>
            <a:schemeClr val="tx1"/>
          </a:solidFill>
          <a:latin typeface="+mn-lt"/>
          <a:ea typeface="+mn-ea"/>
          <a:cs typeface="+mn-cs"/>
        </a:defRPr>
      </a:lvl7pPr>
      <a:lvl8pPr marL="4749588" indent="-316640" algn="l" defTabSz="1266556" rtl="0" eaLnBrk="1" latinLnBrk="0" hangingPunct="1">
        <a:spcBef>
          <a:spcPct val="20000"/>
        </a:spcBef>
        <a:buFont typeface="Arial" pitchFamily="34" charset="0"/>
        <a:buChar char="•"/>
        <a:defRPr sz="2771" kern="1200">
          <a:solidFill>
            <a:schemeClr val="tx1"/>
          </a:solidFill>
          <a:latin typeface="+mn-lt"/>
          <a:ea typeface="+mn-ea"/>
          <a:cs typeface="+mn-cs"/>
        </a:defRPr>
      </a:lvl8pPr>
      <a:lvl9pPr marL="5382864" indent="-316640" algn="l" defTabSz="1266556" rtl="0" eaLnBrk="1" latinLnBrk="0" hangingPunct="1">
        <a:spcBef>
          <a:spcPct val="20000"/>
        </a:spcBef>
        <a:buFont typeface="Arial" pitchFamily="34" charset="0"/>
        <a:buChar char="•"/>
        <a:defRPr sz="2771" kern="1200">
          <a:solidFill>
            <a:schemeClr val="tx1"/>
          </a:solidFill>
          <a:latin typeface="+mn-lt"/>
          <a:ea typeface="+mn-ea"/>
          <a:cs typeface="+mn-cs"/>
        </a:defRPr>
      </a:lvl9pPr>
    </p:bodyStyle>
    <p:otherStyle>
      <a:defPPr>
        <a:defRPr lang="en-US"/>
      </a:defPPr>
      <a:lvl1pPr marL="0" algn="l" defTabSz="1266556" rtl="0" eaLnBrk="1" latinLnBrk="0" hangingPunct="1">
        <a:defRPr sz="2493" kern="1200">
          <a:solidFill>
            <a:schemeClr val="tx1"/>
          </a:solidFill>
          <a:latin typeface="+mn-lt"/>
          <a:ea typeface="+mn-ea"/>
          <a:cs typeface="+mn-cs"/>
        </a:defRPr>
      </a:lvl1pPr>
      <a:lvl2pPr marL="633277" algn="l" defTabSz="1266556" rtl="0" eaLnBrk="1" latinLnBrk="0" hangingPunct="1">
        <a:defRPr sz="2493" kern="1200">
          <a:solidFill>
            <a:schemeClr val="tx1"/>
          </a:solidFill>
          <a:latin typeface="+mn-lt"/>
          <a:ea typeface="+mn-ea"/>
          <a:cs typeface="+mn-cs"/>
        </a:defRPr>
      </a:lvl2pPr>
      <a:lvl3pPr marL="1266556" algn="l" defTabSz="1266556" rtl="0" eaLnBrk="1" latinLnBrk="0" hangingPunct="1">
        <a:defRPr sz="2493" kern="1200">
          <a:solidFill>
            <a:schemeClr val="tx1"/>
          </a:solidFill>
          <a:latin typeface="+mn-lt"/>
          <a:ea typeface="+mn-ea"/>
          <a:cs typeface="+mn-cs"/>
        </a:defRPr>
      </a:lvl3pPr>
      <a:lvl4pPr marL="1899835" algn="l" defTabSz="1266556" rtl="0" eaLnBrk="1" latinLnBrk="0" hangingPunct="1">
        <a:defRPr sz="2493" kern="1200">
          <a:solidFill>
            <a:schemeClr val="tx1"/>
          </a:solidFill>
          <a:latin typeface="+mn-lt"/>
          <a:ea typeface="+mn-ea"/>
          <a:cs typeface="+mn-cs"/>
        </a:defRPr>
      </a:lvl4pPr>
      <a:lvl5pPr marL="2533114" algn="l" defTabSz="1266556" rtl="0" eaLnBrk="1" latinLnBrk="0" hangingPunct="1">
        <a:defRPr sz="2493" kern="1200">
          <a:solidFill>
            <a:schemeClr val="tx1"/>
          </a:solidFill>
          <a:latin typeface="+mn-lt"/>
          <a:ea typeface="+mn-ea"/>
          <a:cs typeface="+mn-cs"/>
        </a:defRPr>
      </a:lvl5pPr>
      <a:lvl6pPr marL="3166391" algn="l" defTabSz="1266556" rtl="0" eaLnBrk="1" latinLnBrk="0" hangingPunct="1">
        <a:defRPr sz="2493" kern="1200">
          <a:solidFill>
            <a:schemeClr val="tx1"/>
          </a:solidFill>
          <a:latin typeface="+mn-lt"/>
          <a:ea typeface="+mn-ea"/>
          <a:cs typeface="+mn-cs"/>
        </a:defRPr>
      </a:lvl6pPr>
      <a:lvl7pPr marL="3799667" algn="l" defTabSz="1266556" rtl="0" eaLnBrk="1" latinLnBrk="0" hangingPunct="1">
        <a:defRPr sz="2493" kern="1200">
          <a:solidFill>
            <a:schemeClr val="tx1"/>
          </a:solidFill>
          <a:latin typeface="+mn-lt"/>
          <a:ea typeface="+mn-ea"/>
          <a:cs typeface="+mn-cs"/>
        </a:defRPr>
      </a:lvl7pPr>
      <a:lvl8pPr marL="4432947" algn="l" defTabSz="1266556" rtl="0" eaLnBrk="1" latinLnBrk="0" hangingPunct="1">
        <a:defRPr sz="2493" kern="1200">
          <a:solidFill>
            <a:schemeClr val="tx1"/>
          </a:solidFill>
          <a:latin typeface="+mn-lt"/>
          <a:ea typeface="+mn-ea"/>
          <a:cs typeface="+mn-cs"/>
        </a:defRPr>
      </a:lvl8pPr>
      <a:lvl9pPr marL="5066223" algn="l" defTabSz="1266556" rtl="0" eaLnBrk="1" latinLnBrk="0" hangingPunct="1">
        <a:defRPr sz="2493"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7"/>
            </p:custDataLst>
            <p:extLst>
              <p:ext uri="{D42A27DB-BD31-4B8C-83A1-F6EECF244321}">
                <p14:modId xmlns:p14="http://schemas.microsoft.com/office/powerpoint/2010/main" val="1203358792"/>
              </p:ext>
            </p:extLst>
          </p:nvPr>
        </p:nvGraphicFramePr>
        <p:xfrm>
          <a:off x="1588" y="1591"/>
          <a:ext cx="1588" cy="1587"/>
        </p:xfrm>
        <a:graphic>
          <a:graphicData uri="http://schemas.openxmlformats.org/presentationml/2006/ole">
            <mc:AlternateContent xmlns:mc="http://schemas.openxmlformats.org/markup-compatibility/2006">
              <mc:Choice xmlns:v="urn:schemas-microsoft-com:vml" Requires="v">
                <p:oleObj spid="_x0000_s15362" name="think-cell Slide" r:id="rId9" imgW="216" imgH="216" progId="TCLayout.ActiveDocument.1">
                  <p:embed/>
                </p:oleObj>
              </mc:Choice>
              <mc:Fallback>
                <p:oleObj name="think-cell Slide" r:id="rId9" imgW="216" imgH="216" progId="TCLayout.ActiveDocument.1">
                  <p:embed/>
                  <p:pic>
                    <p:nvPicPr>
                      <p:cNvPr id="4" name="Object 3" hidden="1"/>
                      <p:cNvPicPr/>
                      <p:nvPr/>
                    </p:nvPicPr>
                    <p:blipFill>
                      <a:blip r:embed="rId10"/>
                      <a:stretch>
                        <a:fillRect/>
                      </a:stretch>
                    </p:blipFill>
                    <p:spPr>
                      <a:xfrm>
                        <a:off x="1588" y="1591"/>
                        <a:ext cx="1588"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D35BBD6-19BF-40F9-86FB-45632A655647}"/>
              </a:ext>
            </a:extLst>
          </p:cNvPr>
          <p:cNvSpPr/>
          <p:nvPr userDrawn="1">
            <p:custDataLst>
              <p:tags r:id="rId8"/>
            </p:custDataLst>
          </p:nvPr>
        </p:nvSpPr>
        <p:spPr>
          <a:xfrm>
            <a:off x="0" y="2"/>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eaLnBrk="1">
              <a:lnSpc>
                <a:spcPct val="85000"/>
              </a:lnSpc>
              <a:spcBef>
                <a:spcPct val="0"/>
              </a:spcBef>
              <a:spcAft>
                <a:spcPct val="0"/>
              </a:spcAft>
            </a:pPr>
            <a:endParaRPr lang="en-US" sz="2400" b="1" i="0" baseline="0">
              <a:solidFill>
                <a:schemeClr val="tx1"/>
              </a:solidFill>
              <a:latin typeface="EYInterstate" panose="02000503020000020004" pitchFamily="2" charset="0"/>
              <a:ea typeface="+mj-ea"/>
              <a:cs typeface="Arial" panose="020B0604020202020204" pitchFamily="34" charset="0"/>
              <a:sym typeface="EYInterstate" panose="02000503020000020004" pitchFamily="2" charset="0"/>
            </a:endParaRPr>
          </a:p>
        </p:txBody>
      </p:sp>
      <p:sp>
        <p:nvSpPr>
          <p:cNvPr id="2" name="Title Placeholder 1"/>
          <p:cNvSpPr>
            <a:spLocks noGrp="1"/>
          </p:cNvSpPr>
          <p:nvPr>
            <p:ph type="title"/>
          </p:nvPr>
        </p:nvSpPr>
        <p:spPr>
          <a:xfrm>
            <a:off x="943904" y="609597"/>
            <a:ext cx="11700000" cy="739984"/>
          </a:xfrm>
          <a:prstGeom prst="rect">
            <a:avLst/>
          </a:prstGeom>
        </p:spPr>
        <p:txBody>
          <a:bodyPr vert="horz" lIns="0" tIns="0" rIns="0" bIns="0" rtlCol="0" anchor="t" anchorCtr="0">
            <a:noAutofit/>
          </a:bodyPr>
          <a:lstStyle/>
          <a:p>
            <a:r>
              <a:rPr lang="en-US"/>
              <a:t>CLICK TO EDIT MASTER TITLE STYLE</a:t>
            </a:r>
            <a:endParaRPr lang="en-GB"/>
          </a:p>
        </p:txBody>
      </p:sp>
      <p:sp>
        <p:nvSpPr>
          <p:cNvPr id="3" name="Text Placeholder 2"/>
          <p:cNvSpPr>
            <a:spLocks noGrp="1"/>
          </p:cNvSpPr>
          <p:nvPr>
            <p:ph type="body" idx="1"/>
          </p:nvPr>
        </p:nvSpPr>
        <p:spPr>
          <a:xfrm>
            <a:off x="943904" y="1571790"/>
            <a:ext cx="11700000" cy="5181986"/>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Rectangle 12">
            <a:extLst>
              <a:ext uri="{FF2B5EF4-FFF2-40B4-BE49-F238E27FC236}">
                <a16:creationId xmlns:a16="http://schemas.microsoft.com/office/drawing/2014/main" id="{3A839B15-81E6-9045-B604-CB27BBC1C908}"/>
              </a:ext>
            </a:extLst>
          </p:cNvPr>
          <p:cNvSpPr/>
          <p:nvPr userDrawn="1"/>
        </p:nvSpPr>
        <p:spPr>
          <a:xfrm>
            <a:off x="943906" y="428151"/>
            <a:ext cx="1260000" cy="72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11" name="object 3">
            <a:extLst>
              <a:ext uri="{FF2B5EF4-FFF2-40B4-BE49-F238E27FC236}">
                <a16:creationId xmlns:a16="http://schemas.microsoft.com/office/drawing/2014/main" id="{FBEC6C36-7DE3-C04D-8FC3-90CFCCD3E4A9}"/>
              </a:ext>
            </a:extLst>
          </p:cNvPr>
          <p:cNvSpPr/>
          <p:nvPr userDrawn="1"/>
        </p:nvSpPr>
        <p:spPr>
          <a:xfrm>
            <a:off x="-5625" y="17"/>
            <a:ext cx="573553" cy="7561246"/>
          </a:xfrm>
          <a:custGeom>
            <a:avLst/>
            <a:gdLst/>
            <a:ahLst/>
            <a:cxnLst/>
            <a:rect l="l" t="t" r="r" b="b"/>
            <a:pathLst>
              <a:path w="5076190" h="7560309">
                <a:moveTo>
                  <a:pt x="0" y="7559992"/>
                </a:moveTo>
                <a:lnTo>
                  <a:pt x="5075999" y="7559992"/>
                </a:lnTo>
                <a:lnTo>
                  <a:pt x="5075999" y="0"/>
                </a:lnTo>
                <a:lnTo>
                  <a:pt x="0" y="0"/>
                </a:lnTo>
                <a:lnTo>
                  <a:pt x="0" y="7559992"/>
                </a:lnTo>
                <a:close/>
              </a:path>
            </a:pathLst>
          </a:custGeom>
          <a:solidFill>
            <a:schemeClr val="tx1"/>
          </a:solidFill>
        </p:spPr>
        <p:txBody>
          <a:bodyPr wrap="square" lIns="0" tIns="0" rIns="0" bIns="0" rtlCol="0"/>
          <a:lstStyle/>
          <a:p>
            <a:pPr algn="ctr"/>
            <a:endParaRPr sz="1799">
              <a:solidFill>
                <a:prstClr val="black"/>
              </a:solidFill>
              <a:latin typeface="Calibri" panose="020F0502020204030204"/>
            </a:endParaRPr>
          </a:p>
        </p:txBody>
      </p:sp>
      <p:sp>
        <p:nvSpPr>
          <p:cNvPr id="12" name="object 14">
            <a:extLst>
              <a:ext uri="{FF2B5EF4-FFF2-40B4-BE49-F238E27FC236}">
                <a16:creationId xmlns:a16="http://schemas.microsoft.com/office/drawing/2014/main" id="{3D19E29C-B81E-B848-A185-3911687868CA}"/>
              </a:ext>
            </a:extLst>
          </p:cNvPr>
          <p:cNvSpPr/>
          <p:nvPr userDrawn="1"/>
        </p:nvSpPr>
        <p:spPr>
          <a:xfrm>
            <a:off x="146530" y="398408"/>
            <a:ext cx="269241" cy="98425"/>
          </a:xfrm>
          <a:custGeom>
            <a:avLst/>
            <a:gdLst/>
            <a:ahLst/>
            <a:cxnLst/>
            <a:rect l="l" t="t" r="r" b="b"/>
            <a:pathLst>
              <a:path w="269240" h="98425">
                <a:moveTo>
                  <a:pt x="269227" y="0"/>
                </a:moveTo>
                <a:lnTo>
                  <a:pt x="0" y="98247"/>
                </a:lnTo>
                <a:lnTo>
                  <a:pt x="269227" y="50698"/>
                </a:lnTo>
                <a:lnTo>
                  <a:pt x="269227" y="0"/>
                </a:lnTo>
                <a:close/>
              </a:path>
            </a:pathLst>
          </a:custGeom>
          <a:solidFill>
            <a:srgbClr val="FFD400"/>
          </a:solidFill>
        </p:spPr>
        <p:txBody>
          <a:bodyPr wrap="square" lIns="0" tIns="0" rIns="0" bIns="0" rtlCol="0"/>
          <a:lstStyle/>
          <a:p>
            <a:pPr algn="ctr"/>
            <a:endParaRPr sz="1799">
              <a:solidFill>
                <a:prstClr val="black"/>
              </a:solidFill>
              <a:latin typeface="Calibri" panose="020F0502020204030204"/>
            </a:endParaRPr>
          </a:p>
        </p:txBody>
      </p:sp>
      <p:sp>
        <p:nvSpPr>
          <p:cNvPr id="14" name="object 15">
            <a:extLst>
              <a:ext uri="{FF2B5EF4-FFF2-40B4-BE49-F238E27FC236}">
                <a16:creationId xmlns:a16="http://schemas.microsoft.com/office/drawing/2014/main" id="{5DE69E7C-24A8-2346-869B-1BCBC7E6C6C0}"/>
              </a:ext>
            </a:extLst>
          </p:cNvPr>
          <p:cNvSpPr/>
          <p:nvPr userDrawn="1"/>
        </p:nvSpPr>
        <p:spPr>
          <a:xfrm>
            <a:off x="168134" y="537503"/>
            <a:ext cx="226034" cy="136194"/>
          </a:xfrm>
          <a:prstGeom prst="rect">
            <a:avLst/>
          </a:prstGeom>
          <a:blipFill>
            <a:blip r:embed="rId11" cstate="print"/>
            <a:stretch>
              <a:fillRect/>
            </a:stretch>
          </a:blipFill>
        </p:spPr>
        <p:txBody>
          <a:bodyPr wrap="square" lIns="0" tIns="0" rIns="0" bIns="0" rtlCol="0"/>
          <a:lstStyle/>
          <a:p>
            <a:pPr algn="ctr"/>
            <a:endParaRPr sz="1799">
              <a:solidFill>
                <a:prstClr val="black"/>
              </a:solidFill>
              <a:latin typeface="Calibri" panose="020F0502020204030204"/>
            </a:endParaRPr>
          </a:p>
        </p:txBody>
      </p:sp>
      <p:grpSp>
        <p:nvGrpSpPr>
          <p:cNvPr id="16" name="Group 15">
            <a:extLst>
              <a:ext uri="{FF2B5EF4-FFF2-40B4-BE49-F238E27FC236}">
                <a16:creationId xmlns:a16="http://schemas.microsoft.com/office/drawing/2014/main" id="{0726C71A-D368-B041-8BD9-4D61AA84A144}"/>
              </a:ext>
            </a:extLst>
          </p:cNvPr>
          <p:cNvGrpSpPr/>
          <p:nvPr userDrawn="1"/>
        </p:nvGrpSpPr>
        <p:grpSpPr>
          <a:xfrm>
            <a:off x="173642" y="3095627"/>
            <a:ext cx="215019" cy="215019"/>
            <a:chOff x="147828" y="2915202"/>
            <a:chExt cx="215019" cy="215019"/>
          </a:xfrm>
        </p:grpSpPr>
        <p:sp>
          <p:nvSpPr>
            <p:cNvPr id="17" name="Oval 16">
              <a:extLst>
                <a:ext uri="{FF2B5EF4-FFF2-40B4-BE49-F238E27FC236}">
                  <a16:creationId xmlns:a16="http://schemas.microsoft.com/office/drawing/2014/main" id="{0207DA1F-1F9C-294D-97C4-C0A6F616599E}"/>
                </a:ext>
              </a:extLst>
            </p:cNvPr>
            <p:cNvSpPr/>
            <p:nvPr/>
          </p:nvSpPr>
          <p:spPr>
            <a:xfrm>
              <a:off x="147828" y="2915202"/>
              <a:ext cx="215019" cy="215019"/>
            </a:xfrm>
            <a:prstGeom prst="ellipse">
              <a:avLst/>
            </a:prstGeom>
            <a:noFill/>
            <a:ln w="9525" cap="flat" cmpd="sng" algn="ctr">
              <a:solidFill>
                <a:sysClr val="window" lastClr="FFFFFF"/>
              </a:solidFill>
              <a:prstDash val="solid"/>
              <a:miter lim="800000"/>
            </a:ln>
            <a:effectLst/>
          </p:spPr>
          <p:txBody>
            <a:bodyPr rtlCol="0" anchor="t" anchorCtr="0"/>
            <a:lstStyle/>
            <a:p>
              <a:pPr marL="0" marR="0" lvl="0" indent="0" algn="ctr" defTabSz="914139"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black"/>
                </a:solidFill>
                <a:effectLst/>
                <a:uLnTx/>
                <a:uFillTx/>
                <a:latin typeface="Calibri" panose="020F0502020204030204"/>
                <a:ea typeface="+mn-ea"/>
                <a:cs typeface="+mn-cs"/>
              </a:endParaRPr>
            </a:p>
          </p:txBody>
        </p:sp>
        <p:cxnSp>
          <p:nvCxnSpPr>
            <p:cNvPr id="18" name="Straight Connector 17">
              <a:extLst>
                <a:ext uri="{FF2B5EF4-FFF2-40B4-BE49-F238E27FC236}">
                  <a16:creationId xmlns:a16="http://schemas.microsoft.com/office/drawing/2014/main" id="{CECE0C06-22D8-A04F-B592-79AFD6202C26}"/>
                </a:ext>
              </a:extLst>
            </p:cNvPr>
            <p:cNvCxnSpPr/>
            <p:nvPr/>
          </p:nvCxnSpPr>
          <p:spPr>
            <a:xfrm>
              <a:off x="193425" y="3022711"/>
              <a:ext cx="123825" cy="0"/>
            </a:xfrm>
            <a:prstGeom prst="line">
              <a:avLst/>
            </a:prstGeom>
            <a:noFill/>
            <a:ln w="9525" cap="flat" cmpd="sng" algn="ctr">
              <a:solidFill>
                <a:sysClr val="window" lastClr="FFFFFF"/>
              </a:solidFill>
              <a:prstDash val="solid"/>
              <a:miter lim="800000"/>
              <a:tailEnd type="none"/>
            </a:ln>
            <a:effectLst/>
          </p:spPr>
        </p:cxnSp>
        <p:sp>
          <p:nvSpPr>
            <p:cNvPr id="19" name="Rectangle 11">
              <a:extLst>
                <a:ext uri="{FF2B5EF4-FFF2-40B4-BE49-F238E27FC236}">
                  <a16:creationId xmlns:a16="http://schemas.microsoft.com/office/drawing/2014/main" id="{7A5DEC11-2762-9548-A7CB-2D7CAD730DF7}"/>
                </a:ext>
              </a:extLst>
            </p:cNvPr>
            <p:cNvSpPr/>
            <p:nvPr/>
          </p:nvSpPr>
          <p:spPr>
            <a:xfrm rot="18900000">
              <a:off x="231586" y="2987228"/>
              <a:ext cx="70967" cy="70967"/>
            </a:xfrm>
            <a:custGeom>
              <a:avLst/>
              <a:gdLst>
                <a:gd name="connsiteX0" fmla="*/ 0 w 149225"/>
                <a:gd name="connsiteY0" fmla="*/ 0 h 149225"/>
                <a:gd name="connsiteX1" fmla="*/ 149225 w 149225"/>
                <a:gd name="connsiteY1" fmla="*/ 0 h 149225"/>
                <a:gd name="connsiteX2" fmla="*/ 149225 w 149225"/>
                <a:gd name="connsiteY2" fmla="*/ 149225 h 149225"/>
                <a:gd name="connsiteX3" fmla="*/ 0 w 149225"/>
                <a:gd name="connsiteY3" fmla="*/ 149225 h 149225"/>
                <a:gd name="connsiteX4" fmla="*/ 0 w 149225"/>
                <a:gd name="connsiteY4" fmla="*/ 0 h 149225"/>
                <a:gd name="connsiteX0" fmla="*/ 0 w 149225"/>
                <a:gd name="connsiteY0" fmla="*/ 149225 h 149225"/>
                <a:gd name="connsiteX1" fmla="*/ 149225 w 149225"/>
                <a:gd name="connsiteY1" fmla="*/ 0 h 149225"/>
                <a:gd name="connsiteX2" fmla="*/ 149225 w 149225"/>
                <a:gd name="connsiteY2" fmla="*/ 149225 h 149225"/>
                <a:gd name="connsiteX3" fmla="*/ 0 w 149225"/>
                <a:gd name="connsiteY3" fmla="*/ 149225 h 149225"/>
                <a:gd name="connsiteX0" fmla="*/ 149225 w 240665"/>
                <a:gd name="connsiteY0" fmla="*/ 0 h 149225"/>
                <a:gd name="connsiteX1" fmla="*/ 149225 w 240665"/>
                <a:gd name="connsiteY1" fmla="*/ 149225 h 149225"/>
                <a:gd name="connsiteX2" fmla="*/ 0 w 240665"/>
                <a:gd name="connsiteY2" fmla="*/ 149225 h 149225"/>
                <a:gd name="connsiteX3" fmla="*/ 240665 w 240665"/>
                <a:gd name="connsiteY3" fmla="*/ 91440 h 149225"/>
                <a:gd name="connsiteX0" fmla="*/ 149225 w 149225"/>
                <a:gd name="connsiteY0" fmla="*/ 0 h 149225"/>
                <a:gd name="connsiteX1" fmla="*/ 149225 w 149225"/>
                <a:gd name="connsiteY1" fmla="*/ 149225 h 149225"/>
                <a:gd name="connsiteX2" fmla="*/ 0 w 149225"/>
                <a:gd name="connsiteY2" fmla="*/ 149225 h 149225"/>
              </a:gdLst>
              <a:ahLst/>
              <a:cxnLst>
                <a:cxn ang="0">
                  <a:pos x="connsiteX0" y="connsiteY0"/>
                </a:cxn>
                <a:cxn ang="0">
                  <a:pos x="connsiteX1" y="connsiteY1"/>
                </a:cxn>
                <a:cxn ang="0">
                  <a:pos x="connsiteX2" y="connsiteY2"/>
                </a:cxn>
              </a:cxnLst>
              <a:rect l="l" t="t" r="r" b="b"/>
              <a:pathLst>
                <a:path w="149225" h="149225">
                  <a:moveTo>
                    <a:pt x="149225" y="0"/>
                  </a:moveTo>
                  <a:lnTo>
                    <a:pt x="149225" y="149225"/>
                  </a:lnTo>
                  <a:lnTo>
                    <a:pt x="0" y="149225"/>
                  </a:lnTo>
                </a:path>
              </a:pathLst>
            </a:custGeom>
            <a:noFill/>
            <a:ln w="9525" cap="flat" cmpd="sng" algn="ctr">
              <a:solidFill>
                <a:sysClr val="window" lastClr="FFFFFF"/>
              </a:solidFill>
              <a:prstDash val="solid"/>
              <a:miter lim="800000"/>
            </a:ln>
            <a:effectLst/>
          </p:spPr>
          <p:txBody>
            <a:bodyPr rtlCol="0" anchor="t" anchorCtr="0"/>
            <a:lstStyle/>
            <a:p>
              <a:pPr marL="0" marR="0" lvl="0" indent="0" algn="ctr" defTabSz="914139"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black"/>
                </a:solidFill>
                <a:effectLst/>
                <a:uLnTx/>
                <a:uFillTx/>
                <a:latin typeface="Calibri" panose="020F0502020204030204"/>
                <a:ea typeface="+mn-ea"/>
                <a:cs typeface="+mn-cs"/>
              </a:endParaRPr>
            </a:p>
          </p:txBody>
        </p:sp>
      </p:grpSp>
      <p:grpSp>
        <p:nvGrpSpPr>
          <p:cNvPr id="20" name="Group 19">
            <a:extLst>
              <a:ext uri="{FF2B5EF4-FFF2-40B4-BE49-F238E27FC236}">
                <a16:creationId xmlns:a16="http://schemas.microsoft.com/office/drawing/2014/main" id="{30844FBE-FCA0-234D-A1A0-DEEB814F56F7}"/>
              </a:ext>
            </a:extLst>
          </p:cNvPr>
          <p:cNvGrpSpPr/>
          <p:nvPr userDrawn="1"/>
        </p:nvGrpSpPr>
        <p:grpSpPr>
          <a:xfrm rot="10800000">
            <a:off x="173642" y="3547371"/>
            <a:ext cx="215019" cy="215019"/>
            <a:chOff x="5758249" y="7128479"/>
            <a:chExt cx="215019" cy="215019"/>
          </a:xfrm>
        </p:grpSpPr>
        <p:sp>
          <p:nvSpPr>
            <p:cNvPr id="21" name="Oval 20">
              <a:extLst>
                <a:ext uri="{FF2B5EF4-FFF2-40B4-BE49-F238E27FC236}">
                  <a16:creationId xmlns:a16="http://schemas.microsoft.com/office/drawing/2014/main" id="{A3BB17A6-DFE2-3F48-94A5-1488E1D6457D}"/>
                </a:ext>
              </a:extLst>
            </p:cNvPr>
            <p:cNvSpPr/>
            <p:nvPr/>
          </p:nvSpPr>
          <p:spPr>
            <a:xfrm>
              <a:off x="5758249" y="7128479"/>
              <a:ext cx="215019" cy="215019"/>
            </a:xfrm>
            <a:prstGeom prst="ellipse">
              <a:avLst/>
            </a:prstGeom>
            <a:noFill/>
            <a:ln w="9525" cap="flat" cmpd="sng" algn="ctr">
              <a:solidFill>
                <a:sysClr val="window" lastClr="FFFFFF"/>
              </a:solidFill>
              <a:prstDash val="solid"/>
              <a:miter lim="800000"/>
            </a:ln>
            <a:effectLst/>
          </p:spPr>
          <p:txBody>
            <a:bodyPr rtlCol="0" anchor="t" anchorCtr="0"/>
            <a:lstStyle/>
            <a:p>
              <a:pPr marL="0" marR="0" lvl="0" indent="0" algn="ctr" defTabSz="914139"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black"/>
                </a:solidFill>
                <a:effectLst/>
                <a:uLnTx/>
                <a:uFillTx/>
                <a:latin typeface="Calibri" panose="020F0502020204030204"/>
                <a:ea typeface="+mn-ea"/>
                <a:cs typeface="+mn-cs"/>
              </a:endParaRPr>
            </a:p>
          </p:txBody>
        </p:sp>
        <p:cxnSp>
          <p:nvCxnSpPr>
            <p:cNvPr id="22" name="Straight Connector 21">
              <a:extLst>
                <a:ext uri="{FF2B5EF4-FFF2-40B4-BE49-F238E27FC236}">
                  <a16:creationId xmlns:a16="http://schemas.microsoft.com/office/drawing/2014/main" id="{7035876D-E7CD-8C41-8052-10A7CFE3A66B}"/>
                </a:ext>
              </a:extLst>
            </p:cNvPr>
            <p:cNvCxnSpPr/>
            <p:nvPr/>
          </p:nvCxnSpPr>
          <p:spPr>
            <a:xfrm>
              <a:off x="5803846" y="7235988"/>
              <a:ext cx="123825" cy="0"/>
            </a:xfrm>
            <a:prstGeom prst="line">
              <a:avLst/>
            </a:prstGeom>
            <a:noFill/>
            <a:ln w="9525" cap="flat" cmpd="sng" algn="ctr">
              <a:solidFill>
                <a:sysClr val="window" lastClr="FFFFFF"/>
              </a:solidFill>
              <a:prstDash val="solid"/>
              <a:miter lim="800000"/>
              <a:tailEnd type="none"/>
            </a:ln>
            <a:effectLst/>
          </p:spPr>
        </p:cxnSp>
        <p:sp>
          <p:nvSpPr>
            <p:cNvPr id="23" name="Rectangle 11">
              <a:extLst>
                <a:ext uri="{FF2B5EF4-FFF2-40B4-BE49-F238E27FC236}">
                  <a16:creationId xmlns:a16="http://schemas.microsoft.com/office/drawing/2014/main" id="{4094B3D7-0406-A540-8445-9B565193A9AC}"/>
                </a:ext>
              </a:extLst>
            </p:cNvPr>
            <p:cNvSpPr/>
            <p:nvPr/>
          </p:nvSpPr>
          <p:spPr>
            <a:xfrm rot="18900000">
              <a:off x="5842007" y="7200505"/>
              <a:ext cx="70967" cy="70967"/>
            </a:xfrm>
            <a:custGeom>
              <a:avLst/>
              <a:gdLst>
                <a:gd name="connsiteX0" fmla="*/ 0 w 149225"/>
                <a:gd name="connsiteY0" fmla="*/ 0 h 149225"/>
                <a:gd name="connsiteX1" fmla="*/ 149225 w 149225"/>
                <a:gd name="connsiteY1" fmla="*/ 0 h 149225"/>
                <a:gd name="connsiteX2" fmla="*/ 149225 w 149225"/>
                <a:gd name="connsiteY2" fmla="*/ 149225 h 149225"/>
                <a:gd name="connsiteX3" fmla="*/ 0 w 149225"/>
                <a:gd name="connsiteY3" fmla="*/ 149225 h 149225"/>
                <a:gd name="connsiteX4" fmla="*/ 0 w 149225"/>
                <a:gd name="connsiteY4" fmla="*/ 0 h 149225"/>
                <a:gd name="connsiteX0" fmla="*/ 0 w 149225"/>
                <a:gd name="connsiteY0" fmla="*/ 149225 h 149225"/>
                <a:gd name="connsiteX1" fmla="*/ 149225 w 149225"/>
                <a:gd name="connsiteY1" fmla="*/ 0 h 149225"/>
                <a:gd name="connsiteX2" fmla="*/ 149225 w 149225"/>
                <a:gd name="connsiteY2" fmla="*/ 149225 h 149225"/>
                <a:gd name="connsiteX3" fmla="*/ 0 w 149225"/>
                <a:gd name="connsiteY3" fmla="*/ 149225 h 149225"/>
                <a:gd name="connsiteX0" fmla="*/ 149225 w 240665"/>
                <a:gd name="connsiteY0" fmla="*/ 0 h 149225"/>
                <a:gd name="connsiteX1" fmla="*/ 149225 w 240665"/>
                <a:gd name="connsiteY1" fmla="*/ 149225 h 149225"/>
                <a:gd name="connsiteX2" fmla="*/ 0 w 240665"/>
                <a:gd name="connsiteY2" fmla="*/ 149225 h 149225"/>
                <a:gd name="connsiteX3" fmla="*/ 240665 w 240665"/>
                <a:gd name="connsiteY3" fmla="*/ 91440 h 149225"/>
                <a:gd name="connsiteX0" fmla="*/ 149225 w 149225"/>
                <a:gd name="connsiteY0" fmla="*/ 0 h 149225"/>
                <a:gd name="connsiteX1" fmla="*/ 149225 w 149225"/>
                <a:gd name="connsiteY1" fmla="*/ 149225 h 149225"/>
                <a:gd name="connsiteX2" fmla="*/ 0 w 149225"/>
                <a:gd name="connsiteY2" fmla="*/ 149225 h 149225"/>
              </a:gdLst>
              <a:ahLst/>
              <a:cxnLst>
                <a:cxn ang="0">
                  <a:pos x="connsiteX0" y="connsiteY0"/>
                </a:cxn>
                <a:cxn ang="0">
                  <a:pos x="connsiteX1" y="connsiteY1"/>
                </a:cxn>
                <a:cxn ang="0">
                  <a:pos x="connsiteX2" y="connsiteY2"/>
                </a:cxn>
              </a:cxnLst>
              <a:rect l="l" t="t" r="r" b="b"/>
              <a:pathLst>
                <a:path w="149225" h="149225">
                  <a:moveTo>
                    <a:pt x="149225" y="0"/>
                  </a:moveTo>
                  <a:lnTo>
                    <a:pt x="149225" y="149225"/>
                  </a:lnTo>
                  <a:lnTo>
                    <a:pt x="0" y="149225"/>
                  </a:lnTo>
                </a:path>
              </a:pathLst>
            </a:custGeom>
            <a:noFill/>
            <a:ln w="9525" cap="flat" cmpd="sng" algn="ctr">
              <a:solidFill>
                <a:sysClr val="window" lastClr="FFFFFF"/>
              </a:solidFill>
              <a:prstDash val="solid"/>
              <a:miter lim="800000"/>
            </a:ln>
            <a:effectLst/>
          </p:spPr>
          <p:txBody>
            <a:bodyPr rtlCol="0" anchor="t" anchorCtr="0"/>
            <a:lstStyle/>
            <a:p>
              <a:pPr marL="0" marR="0" lvl="0" indent="0" algn="ctr" defTabSz="914139"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black"/>
                </a:solidFill>
                <a:effectLst/>
                <a:uLnTx/>
                <a:uFillTx/>
                <a:latin typeface="Calibri" panose="020F0502020204030204"/>
                <a:ea typeface="+mn-ea"/>
                <a:cs typeface="+mn-cs"/>
              </a:endParaRPr>
            </a:p>
          </p:txBody>
        </p:sp>
      </p:grpSp>
      <p:sp>
        <p:nvSpPr>
          <p:cNvPr id="24" name="Action Button: Custom 23">
            <a:hlinkClick r:id="" action="ppaction://hlinkshowjump?jump=nextslide" highlightClick="1"/>
            <a:extLst>
              <a:ext uri="{FF2B5EF4-FFF2-40B4-BE49-F238E27FC236}">
                <a16:creationId xmlns:a16="http://schemas.microsoft.com/office/drawing/2014/main" id="{98B416AA-6970-204F-9803-82312AEF99A3}"/>
              </a:ext>
            </a:extLst>
          </p:cNvPr>
          <p:cNvSpPr/>
          <p:nvPr userDrawn="1"/>
        </p:nvSpPr>
        <p:spPr>
          <a:xfrm>
            <a:off x="160549" y="3095627"/>
            <a:ext cx="241211" cy="241211"/>
          </a:xfrm>
          <a:prstGeom prst="actionButtonBlank">
            <a:avLst/>
          </a:prstGeom>
          <a:noFill/>
          <a:ln w="12700" cap="flat" cmpd="sng" algn="ctr">
            <a:noFill/>
            <a:prstDash val="solid"/>
            <a:miter lim="800000"/>
          </a:ln>
          <a:effectLst/>
        </p:spPr>
        <p:txBody>
          <a:bodyPr rtlCol="0" anchor="ctr"/>
          <a:lstStyle/>
          <a:p>
            <a:pPr marL="0" marR="0" lvl="0" indent="0" algn="ctr" defTabSz="914139"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5" name="Action Button: Custom 24">
            <a:hlinkClick r:id="" action="ppaction://hlinkshowjump?jump=previousslide" highlightClick="1"/>
            <a:extLst>
              <a:ext uri="{FF2B5EF4-FFF2-40B4-BE49-F238E27FC236}">
                <a16:creationId xmlns:a16="http://schemas.microsoft.com/office/drawing/2014/main" id="{7A387E38-D922-FA48-996E-C4EBA78D6D4A}"/>
              </a:ext>
            </a:extLst>
          </p:cNvPr>
          <p:cNvSpPr/>
          <p:nvPr userDrawn="1"/>
        </p:nvSpPr>
        <p:spPr>
          <a:xfrm>
            <a:off x="160549" y="3534274"/>
            <a:ext cx="241211" cy="241211"/>
          </a:xfrm>
          <a:prstGeom prst="actionButtonBlank">
            <a:avLst/>
          </a:prstGeom>
          <a:noFill/>
          <a:ln w="12700" cap="flat" cmpd="sng" algn="ctr">
            <a:noFill/>
            <a:prstDash val="solid"/>
            <a:miter lim="800000"/>
          </a:ln>
          <a:effectLst/>
        </p:spPr>
        <p:txBody>
          <a:bodyPr rtlCol="0" anchor="ctr"/>
          <a:lstStyle/>
          <a:p>
            <a:pPr marL="0" marR="0" lvl="0" indent="0" algn="ctr" defTabSz="914139"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6" name="TextBox 5"/>
          <p:cNvSpPr txBox="1"/>
          <p:nvPr userDrawn="1"/>
        </p:nvSpPr>
        <p:spPr>
          <a:xfrm>
            <a:off x="12295" y="7286207"/>
            <a:ext cx="537719" cy="153888"/>
          </a:xfrm>
          <a:prstGeom prst="rect">
            <a:avLst/>
          </a:prstGeom>
          <a:noFill/>
        </p:spPr>
        <p:txBody>
          <a:bodyPr wrap="square" lIns="0" tIns="0" rIns="0" bIns="0" rtlCol="0">
            <a:spAutoFit/>
          </a:bodyPr>
          <a:lstStyle/>
          <a:p>
            <a:pPr algn="ctr" fontAlgn="auto">
              <a:spcBef>
                <a:spcPts val="0"/>
              </a:spcBef>
              <a:spcAft>
                <a:spcPts val="0"/>
              </a:spcAft>
              <a:buClrTx/>
              <a:buSzTx/>
              <a:buFontTx/>
              <a:buNone/>
            </a:pPr>
            <a:fld id="{EE81E157-A1D1-4641-98C5-E5C73AF14974}" type="slidenum">
              <a:rPr lang="en-US" sz="1000" b="1" smtClean="0">
                <a:solidFill>
                  <a:schemeClr val="tx2"/>
                </a:solidFill>
                <a:latin typeface="EYInterstate" panose="02000503020000020004" pitchFamily="2" charset="0"/>
              </a:rPr>
              <a:pPr algn="ctr" fontAlgn="auto">
                <a:spcBef>
                  <a:spcPts val="0"/>
                </a:spcBef>
                <a:spcAft>
                  <a:spcPts val="0"/>
                </a:spcAft>
                <a:buClrTx/>
                <a:buSzTx/>
                <a:buFontTx/>
                <a:buNone/>
              </a:pPr>
              <a:t>‹#›</a:t>
            </a:fld>
            <a:endParaRPr lang="en-US" sz="1000" b="1">
              <a:solidFill>
                <a:schemeClr val="tx2"/>
              </a:solidFill>
              <a:latin typeface="EYInterstate" panose="02000503020000020004" pitchFamily="2" charset="0"/>
            </a:endParaRPr>
          </a:p>
        </p:txBody>
      </p:sp>
    </p:spTree>
    <p:extLst>
      <p:ext uri="{BB962C8B-B14F-4D97-AF65-F5344CB8AC3E}">
        <p14:creationId xmlns:p14="http://schemas.microsoft.com/office/powerpoint/2010/main" val="1108906719"/>
      </p:ext>
    </p:extLst>
  </p:cSld>
  <p:clrMap bg1="lt1" tx1="dk1" bg2="lt2" tx2="dk2" accent1="accent1" accent2="accent2" accent3="accent3" accent4="accent4" accent5="accent5" accent6="accent6" hlink="hlink" folHlink="folHlink"/>
  <p:sldLayoutIdLst>
    <p:sldLayoutId id="2147484212" r:id="rId1"/>
    <p:sldLayoutId id="2147484213" r:id="rId2"/>
    <p:sldLayoutId id="2147484214" r:id="rId3"/>
    <p:sldLayoutId id="2147484215" r:id="rId4"/>
  </p:sldLayoutIdLst>
  <p:hf hdr="0" ftr="0" dt="0"/>
  <p:txStyles>
    <p:titleStyle>
      <a:lvl1pPr algn="l" defTabSz="1266376" rtl="0" eaLnBrk="1" latinLnBrk="0" hangingPunct="1">
        <a:lnSpc>
          <a:spcPct val="85000"/>
        </a:lnSpc>
        <a:spcBef>
          <a:spcPct val="0"/>
        </a:spcBef>
        <a:buNone/>
        <a:defRPr sz="2400" b="1" i="0" kern="1200">
          <a:solidFill>
            <a:schemeClr val="bg1"/>
          </a:solidFill>
          <a:latin typeface="EYInterstate" panose="02000503020000020004" pitchFamily="2" charset="0"/>
          <a:ea typeface="+mj-ea"/>
          <a:cs typeface="Arial" pitchFamily="34" charset="0"/>
        </a:defRPr>
      </a:lvl1pPr>
    </p:titleStyle>
    <p:bodyStyle>
      <a:lvl1pPr marL="493888" indent="-493888" algn="l" defTabSz="1266376" rtl="0" eaLnBrk="1" latinLnBrk="0" hangingPunct="1">
        <a:spcBef>
          <a:spcPct val="20000"/>
        </a:spcBef>
        <a:buClr>
          <a:schemeClr val="tx1"/>
        </a:buClr>
        <a:buSzPct val="70000"/>
        <a:buFont typeface="Arial" pitchFamily="34" charset="0"/>
        <a:buChar char="►"/>
        <a:defRPr sz="2493" b="0" i="0" kern="1200">
          <a:solidFill>
            <a:schemeClr val="bg1"/>
          </a:solidFill>
          <a:latin typeface="EYInterstate Light" panose="02000506000000020004" pitchFamily="2" charset="0"/>
          <a:ea typeface="+mn-ea"/>
          <a:cs typeface="+mn-cs"/>
        </a:defRPr>
      </a:lvl1pPr>
      <a:lvl2pPr marL="987772" indent="-493888" algn="l" defTabSz="1266376" rtl="0" eaLnBrk="1" latinLnBrk="0" hangingPunct="1">
        <a:spcBef>
          <a:spcPct val="20000"/>
        </a:spcBef>
        <a:buClr>
          <a:schemeClr val="tx1"/>
        </a:buClr>
        <a:buSzPct val="70000"/>
        <a:buFont typeface="Arial" pitchFamily="34" charset="0"/>
        <a:buChar char="►"/>
        <a:defRPr sz="2000" b="0" i="0" kern="1200">
          <a:solidFill>
            <a:schemeClr val="bg1"/>
          </a:solidFill>
          <a:latin typeface="EYInterstate Light" panose="02000506000000020004" pitchFamily="2" charset="0"/>
          <a:ea typeface="+mn-ea"/>
          <a:cs typeface="+mn-cs"/>
        </a:defRPr>
      </a:lvl2pPr>
      <a:lvl3pPr marL="1481660" indent="-493888" algn="l" defTabSz="1266376" rtl="0" eaLnBrk="1" latinLnBrk="0" hangingPunct="1">
        <a:spcBef>
          <a:spcPct val="20000"/>
        </a:spcBef>
        <a:buClr>
          <a:schemeClr val="tx1"/>
        </a:buClr>
        <a:buSzPct val="70000"/>
        <a:buFont typeface="Arial" pitchFamily="34" charset="0"/>
        <a:buChar char="►"/>
        <a:defRPr sz="1799" b="0" i="0" kern="1200">
          <a:solidFill>
            <a:schemeClr val="bg1"/>
          </a:solidFill>
          <a:latin typeface="EYInterstate Light" panose="02000506000000020004" pitchFamily="2" charset="0"/>
          <a:ea typeface="+mn-ea"/>
          <a:cs typeface="+mn-cs"/>
        </a:defRPr>
      </a:lvl3pPr>
      <a:lvl4pPr marL="1975545" indent="-493888" algn="l" defTabSz="1266376" rtl="0" eaLnBrk="1" latinLnBrk="0" hangingPunct="1">
        <a:spcBef>
          <a:spcPct val="20000"/>
        </a:spcBef>
        <a:buClr>
          <a:schemeClr val="tx1"/>
        </a:buClr>
        <a:buSzPct val="70000"/>
        <a:buFont typeface="Arial" pitchFamily="34" charset="0"/>
        <a:buChar char="►"/>
        <a:defRPr sz="1600" b="0" i="0" kern="1200">
          <a:solidFill>
            <a:schemeClr val="bg1"/>
          </a:solidFill>
          <a:latin typeface="EYInterstate Light" panose="02000506000000020004" pitchFamily="2" charset="0"/>
          <a:ea typeface="+mn-ea"/>
          <a:cs typeface="+mn-cs"/>
        </a:defRPr>
      </a:lvl4pPr>
      <a:lvl5pPr marL="2469430" indent="-493888" algn="l" defTabSz="1266376" rtl="0" eaLnBrk="1" latinLnBrk="0" hangingPunct="1">
        <a:spcBef>
          <a:spcPct val="20000"/>
        </a:spcBef>
        <a:buClr>
          <a:schemeClr val="tx1"/>
        </a:buClr>
        <a:buSzPct val="70000"/>
        <a:buFont typeface="Arial" pitchFamily="34" charset="0"/>
        <a:buChar char="►"/>
        <a:defRPr sz="1400" b="0" i="0" kern="1200">
          <a:solidFill>
            <a:schemeClr val="bg1"/>
          </a:solidFill>
          <a:latin typeface="EYInterstate Light" panose="02000506000000020004" pitchFamily="2" charset="0"/>
          <a:ea typeface="+mn-ea"/>
          <a:cs typeface="+mn-cs"/>
        </a:defRPr>
      </a:lvl5pPr>
      <a:lvl6pPr marL="3482533" indent="-316595" algn="l" defTabSz="1266376" rtl="0" eaLnBrk="1" latinLnBrk="0" hangingPunct="1">
        <a:spcBef>
          <a:spcPct val="20000"/>
        </a:spcBef>
        <a:buFont typeface="Arial" pitchFamily="34" charset="0"/>
        <a:buChar char="•"/>
        <a:defRPr sz="2771" kern="1200">
          <a:solidFill>
            <a:schemeClr val="tx1"/>
          </a:solidFill>
          <a:latin typeface="+mn-lt"/>
          <a:ea typeface="+mn-ea"/>
          <a:cs typeface="+mn-cs"/>
        </a:defRPr>
      </a:lvl6pPr>
      <a:lvl7pPr marL="4115721" indent="-316595" algn="l" defTabSz="1266376" rtl="0" eaLnBrk="1" latinLnBrk="0" hangingPunct="1">
        <a:spcBef>
          <a:spcPct val="20000"/>
        </a:spcBef>
        <a:buFont typeface="Arial" pitchFamily="34" charset="0"/>
        <a:buChar char="•"/>
        <a:defRPr sz="2771" kern="1200">
          <a:solidFill>
            <a:schemeClr val="tx1"/>
          </a:solidFill>
          <a:latin typeface="+mn-lt"/>
          <a:ea typeface="+mn-ea"/>
          <a:cs typeface="+mn-cs"/>
        </a:defRPr>
      </a:lvl7pPr>
      <a:lvl8pPr marL="4748910" indent="-316595" algn="l" defTabSz="1266376" rtl="0" eaLnBrk="1" latinLnBrk="0" hangingPunct="1">
        <a:spcBef>
          <a:spcPct val="20000"/>
        </a:spcBef>
        <a:buFont typeface="Arial" pitchFamily="34" charset="0"/>
        <a:buChar char="•"/>
        <a:defRPr sz="2771" kern="1200">
          <a:solidFill>
            <a:schemeClr val="tx1"/>
          </a:solidFill>
          <a:latin typeface="+mn-lt"/>
          <a:ea typeface="+mn-ea"/>
          <a:cs typeface="+mn-cs"/>
        </a:defRPr>
      </a:lvl8pPr>
      <a:lvl9pPr marL="5382095" indent="-316595" algn="l" defTabSz="1266376" rtl="0" eaLnBrk="1" latinLnBrk="0" hangingPunct="1">
        <a:spcBef>
          <a:spcPct val="20000"/>
        </a:spcBef>
        <a:buFont typeface="Arial" pitchFamily="34" charset="0"/>
        <a:buChar char="•"/>
        <a:defRPr sz="2771" kern="1200">
          <a:solidFill>
            <a:schemeClr val="tx1"/>
          </a:solidFill>
          <a:latin typeface="+mn-lt"/>
          <a:ea typeface="+mn-ea"/>
          <a:cs typeface="+mn-cs"/>
        </a:defRPr>
      </a:lvl9pPr>
    </p:bodyStyle>
    <p:otherStyle>
      <a:defPPr>
        <a:defRPr lang="en-US"/>
      </a:defPPr>
      <a:lvl1pPr marL="0" algn="l" defTabSz="1266376" rtl="0" eaLnBrk="1" latinLnBrk="0" hangingPunct="1">
        <a:defRPr sz="2493" kern="1200">
          <a:solidFill>
            <a:schemeClr val="tx1"/>
          </a:solidFill>
          <a:latin typeface="+mn-lt"/>
          <a:ea typeface="+mn-ea"/>
          <a:cs typeface="+mn-cs"/>
        </a:defRPr>
      </a:lvl1pPr>
      <a:lvl2pPr marL="633187" algn="l" defTabSz="1266376" rtl="0" eaLnBrk="1" latinLnBrk="0" hangingPunct="1">
        <a:defRPr sz="2493" kern="1200">
          <a:solidFill>
            <a:schemeClr val="tx1"/>
          </a:solidFill>
          <a:latin typeface="+mn-lt"/>
          <a:ea typeface="+mn-ea"/>
          <a:cs typeface="+mn-cs"/>
        </a:defRPr>
      </a:lvl2pPr>
      <a:lvl3pPr marL="1266376" algn="l" defTabSz="1266376" rtl="0" eaLnBrk="1" latinLnBrk="0" hangingPunct="1">
        <a:defRPr sz="2493" kern="1200">
          <a:solidFill>
            <a:schemeClr val="tx1"/>
          </a:solidFill>
          <a:latin typeface="+mn-lt"/>
          <a:ea typeface="+mn-ea"/>
          <a:cs typeface="+mn-cs"/>
        </a:defRPr>
      </a:lvl3pPr>
      <a:lvl4pPr marL="1899563" algn="l" defTabSz="1266376" rtl="0" eaLnBrk="1" latinLnBrk="0" hangingPunct="1">
        <a:defRPr sz="2493" kern="1200">
          <a:solidFill>
            <a:schemeClr val="tx1"/>
          </a:solidFill>
          <a:latin typeface="+mn-lt"/>
          <a:ea typeface="+mn-ea"/>
          <a:cs typeface="+mn-cs"/>
        </a:defRPr>
      </a:lvl4pPr>
      <a:lvl5pPr marL="2532752" algn="l" defTabSz="1266376" rtl="0" eaLnBrk="1" latinLnBrk="0" hangingPunct="1">
        <a:defRPr sz="2493" kern="1200">
          <a:solidFill>
            <a:schemeClr val="tx1"/>
          </a:solidFill>
          <a:latin typeface="+mn-lt"/>
          <a:ea typeface="+mn-ea"/>
          <a:cs typeface="+mn-cs"/>
        </a:defRPr>
      </a:lvl5pPr>
      <a:lvl6pPr marL="3165939" algn="l" defTabSz="1266376" rtl="0" eaLnBrk="1" latinLnBrk="0" hangingPunct="1">
        <a:defRPr sz="2493" kern="1200">
          <a:solidFill>
            <a:schemeClr val="tx1"/>
          </a:solidFill>
          <a:latin typeface="+mn-lt"/>
          <a:ea typeface="+mn-ea"/>
          <a:cs typeface="+mn-cs"/>
        </a:defRPr>
      </a:lvl6pPr>
      <a:lvl7pPr marL="3799125" algn="l" defTabSz="1266376" rtl="0" eaLnBrk="1" latinLnBrk="0" hangingPunct="1">
        <a:defRPr sz="2493" kern="1200">
          <a:solidFill>
            <a:schemeClr val="tx1"/>
          </a:solidFill>
          <a:latin typeface="+mn-lt"/>
          <a:ea typeface="+mn-ea"/>
          <a:cs typeface="+mn-cs"/>
        </a:defRPr>
      </a:lvl7pPr>
      <a:lvl8pPr marL="4432315" algn="l" defTabSz="1266376" rtl="0" eaLnBrk="1" latinLnBrk="0" hangingPunct="1">
        <a:defRPr sz="2493" kern="1200">
          <a:solidFill>
            <a:schemeClr val="tx1"/>
          </a:solidFill>
          <a:latin typeface="+mn-lt"/>
          <a:ea typeface="+mn-ea"/>
          <a:cs typeface="+mn-cs"/>
        </a:defRPr>
      </a:lvl8pPr>
      <a:lvl9pPr marL="5065500" algn="l" defTabSz="1266376" rtl="0" eaLnBrk="1" latinLnBrk="0" hangingPunct="1">
        <a:defRPr sz="2493"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8"/>
            </p:custDataLst>
            <p:extLst>
              <p:ext uri="{D42A27DB-BD31-4B8C-83A1-F6EECF244321}">
                <p14:modId xmlns:p14="http://schemas.microsoft.com/office/powerpoint/2010/main" val="3883319901"/>
              </p:ext>
            </p:extLst>
          </p:nvPr>
        </p:nvGraphicFramePr>
        <p:xfrm>
          <a:off x="1588" y="1591"/>
          <a:ext cx="1588" cy="1587"/>
        </p:xfrm>
        <a:graphic>
          <a:graphicData uri="http://schemas.openxmlformats.org/presentationml/2006/ole">
            <mc:AlternateContent xmlns:mc="http://schemas.openxmlformats.org/markup-compatibility/2006">
              <mc:Choice xmlns:v="urn:schemas-microsoft-com:vml" Requires="v">
                <p:oleObj spid="_x0000_s17410" name="think-cell Slide" r:id="rId10" imgW="216" imgH="216" progId="TCLayout.ActiveDocument.1">
                  <p:embed/>
                </p:oleObj>
              </mc:Choice>
              <mc:Fallback>
                <p:oleObj name="think-cell Slide" r:id="rId10" imgW="216" imgH="216" progId="TCLayout.ActiveDocument.1">
                  <p:embed/>
                  <p:pic>
                    <p:nvPicPr>
                      <p:cNvPr id="4" name="Object 3" hidden="1"/>
                      <p:cNvPicPr/>
                      <p:nvPr/>
                    </p:nvPicPr>
                    <p:blipFill>
                      <a:blip r:embed="rId11"/>
                      <a:stretch>
                        <a:fillRect/>
                      </a:stretch>
                    </p:blipFill>
                    <p:spPr>
                      <a:xfrm>
                        <a:off x="1588" y="1591"/>
                        <a:ext cx="1588"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D35BBD6-19BF-40F9-86FB-45632A655647}"/>
              </a:ext>
            </a:extLst>
          </p:cNvPr>
          <p:cNvSpPr/>
          <p:nvPr userDrawn="1">
            <p:custDataLst>
              <p:tags r:id="rId9"/>
            </p:custDataLst>
          </p:nvPr>
        </p:nvSpPr>
        <p:spPr>
          <a:xfrm>
            <a:off x="0" y="2"/>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eaLnBrk="1">
              <a:lnSpc>
                <a:spcPct val="85000"/>
              </a:lnSpc>
              <a:spcBef>
                <a:spcPct val="0"/>
              </a:spcBef>
              <a:spcAft>
                <a:spcPct val="0"/>
              </a:spcAft>
            </a:pPr>
            <a:endParaRPr lang="en-US" sz="2400" b="1" i="0" baseline="0">
              <a:solidFill>
                <a:schemeClr val="tx1"/>
              </a:solidFill>
              <a:latin typeface="EYInterstate" panose="02000503020000020004" pitchFamily="2" charset="0"/>
              <a:ea typeface="+mj-ea"/>
              <a:cs typeface="Arial" panose="020B0604020202020204" pitchFamily="34" charset="0"/>
              <a:sym typeface="EYInterstate" panose="02000503020000020004" pitchFamily="2" charset="0"/>
            </a:endParaRPr>
          </a:p>
        </p:txBody>
      </p:sp>
      <p:sp>
        <p:nvSpPr>
          <p:cNvPr id="2" name="Title Placeholder 1"/>
          <p:cNvSpPr>
            <a:spLocks noGrp="1"/>
          </p:cNvSpPr>
          <p:nvPr>
            <p:ph type="title"/>
          </p:nvPr>
        </p:nvSpPr>
        <p:spPr>
          <a:xfrm>
            <a:off x="943904" y="609597"/>
            <a:ext cx="11700000" cy="739984"/>
          </a:xfrm>
          <a:prstGeom prst="rect">
            <a:avLst/>
          </a:prstGeom>
        </p:spPr>
        <p:txBody>
          <a:bodyPr vert="horz" lIns="0" tIns="0" rIns="0" bIns="0" rtlCol="0" anchor="t" anchorCtr="0">
            <a:noAutofit/>
          </a:bodyPr>
          <a:lstStyle/>
          <a:p>
            <a:r>
              <a:rPr lang="en-US"/>
              <a:t>CLICK TO EDIT MASTER TITLE STYLE</a:t>
            </a:r>
            <a:endParaRPr lang="en-GB"/>
          </a:p>
        </p:txBody>
      </p:sp>
      <p:sp>
        <p:nvSpPr>
          <p:cNvPr id="3" name="Text Placeholder 2"/>
          <p:cNvSpPr>
            <a:spLocks noGrp="1"/>
          </p:cNvSpPr>
          <p:nvPr>
            <p:ph type="body" idx="1"/>
          </p:nvPr>
        </p:nvSpPr>
        <p:spPr>
          <a:xfrm>
            <a:off x="943904" y="1571790"/>
            <a:ext cx="11700000" cy="5181986"/>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Rectangle 12">
            <a:extLst>
              <a:ext uri="{FF2B5EF4-FFF2-40B4-BE49-F238E27FC236}">
                <a16:creationId xmlns:a16="http://schemas.microsoft.com/office/drawing/2014/main" id="{3A839B15-81E6-9045-B604-CB27BBC1C908}"/>
              </a:ext>
            </a:extLst>
          </p:cNvPr>
          <p:cNvSpPr/>
          <p:nvPr userDrawn="1"/>
        </p:nvSpPr>
        <p:spPr>
          <a:xfrm>
            <a:off x="943906" y="428151"/>
            <a:ext cx="1260000" cy="72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11" name="object 3">
            <a:extLst>
              <a:ext uri="{FF2B5EF4-FFF2-40B4-BE49-F238E27FC236}">
                <a16:creationId xmlns:a16="http://schemas.microsoft.com/office/drawing/2014/main" id="{FBEC6C36-7DE3-C04D-8FC3-90CFCCD3E4A9}"/>
              </a:ext>
            </a:extLst>
          </p:cNvPr>
          <p:cNvSpPr/>
          <p:nvPr userDrawn="1"/>
        </p:nvSpPr>
        <p:spPr>
          <a:xfrm>
            <a:off x="-5625" y="17"/>
            <a:ext cx="573553" cy="7561246"/>
          </a:xfrm>
          <a:custGeom>
            <a:avLst/>
            <a:gdLst/>
            <a:ahLst/>
            <a:cxnLst/>
            <a:rect l="l" t="t" r="r" b="b"/>
            <a:pathLst>
              <a:path w="5076190" h="7560309">
                <a:moveTo>
                  <a:pt x="0" y="7559992"/>
                </a:moveTo>
                <a:lnTo>
                  <a:pt x="5075999" y="7559992"/>
                </a:lnTo>
                <a:lnTo>
                  <a:pt x="5075999" y="0"/>
                </a:lnTo>
                <a:lnTo>
                  <a:pt x="0" y="0"/>
                </a:lnTo>
                <a:lnTo>
                  <a:pt x="0" y="7559992"/>
                </a:lnTo>
                <a:close/>
              </a:path>
            </a:pathLst>
          </a:custGeom>
          <a:solidFill>
            <a:schemeClr val="tx1"/>
          </a:solidFill>
        </p:spPr>
        <p:txBody>
          <a:bodyPr wrap="square" lIns="0" tIns="0" rIns="0" bIns="0" rtlCol="0"/>
          <a:lstStyle/>
          <a:p>
            <a:pPr algn="ctr"/>
            <a:endParaRPr sz="1799">
              <a:solidFill>
                <a:prstClr val="black"/>
              </a:solidFill>
              <a:latin typeface="Calibri" panose="020F0502020204030204"/>
            </a:endParaRPr>
          </a:p>
        </p:txBody>
      </p:sp>
      <p:sp>
        <p:nvSpPr>
          <p:cNvPr id="12" name="object 14">
            <a:extLst>
              <a:ext uri="{FF2B5EF4-FFF2-40B4-BE49-F238E27FC236}">
                <a16:creationId xmlns:a16="http://schemas.microsoft.com/office/drawing/2014/main" id="{3D19E29C-B81E-B848-A185-3911687868CA}"/>
              </a:ext>
            </a:extLst>
          </p:cNvPr>
          <p:cNvSpPr/>
          <p:nvPr userDrawn="1"/>
        </p:nvSpPr>
        <p:spPr>
          <a:xfrm>
            <a:off x="146530" y="398408"/>
            <a:ext cx="269241" cy="98425"/>
          </a:xfrm>
          <a:custGeom>
            <a:avLst/>
            <a:gdLst/>
            <a:ahLst/>
            <a:cxnLst/>
            <a:rect l="l" t="t" r="r" b="b"/>
            <a:pathLst>
              <a:path w="269240" h="98425">
                <a:moveTo>
                  <a:pt x="269227" y="0"/>
                </a:moveTo>
                <a:lnTo>
                  <a:pt x="0" y="98247"/>
                </a:lnTo>
                <a:lnTo>
                  <a:pt x="269227" y="50698"/>
                </a:lnTo>
                <a:lnTo>
                  <a:pt x="269227" y="0"/>
                </a:lnTo>
                <a:close/>
              </a:path>
            </a:pathLst>
          </a:custGeom>
          <a:solidFill>
            <a:srgbClr val="FFD400"/>
          </a:solidFill>
        </p:spPr>
        <p:txBody>
          <a:bodyPr wrap="square" lIns="0" tIns="0" rIns="0" bIns="0" rtlCol="0"/>
          <a:lstStyle/>
          <a:p>
            <a:pPr algn="ctr"/>
            <a:endParaRPr sz="1799">
              <a:solidFill>
                <a:prstClr val="black"/>
              </a:solidFill>
              <a:latin typeface="Calibri" panose="020F0502020204030204"/>
            </a:endParaRPr>
          </a:p>
        </p:txBody>
      </p:sp>
      <p:sp>
        <p:nvSpPr>
          <p:cNvPr id="14" name="object 15">
            <a:extLst>
              <a:ext uri="{FF2B5EF4-FFF2-40B4-BE49-F238E27FC236}">
                <a16:creationId xmlns:a16="http://schemas.microsoft.com/office/drawing/2014/main" id="{5DE69E7C-24A8-2346-869B-1BCBC7E6C6C0}"/>
              </a:ext>
            </a:extLst>
          </p:cNvPr>
          <p:cNvSpPr/>
          <p:nvPr userDrawn="1"/>
        </p:nvSpPr>
        <p:spPr>
          <a:xfrm>
            <a:off x="168134" y="537503"/>
            <a:ext cx="226034" cy="136194"/>
          </a:xfrm>
          <a:prstGeom prst="rect">
            <a:avLst/>
          </a:prstGeom>
          <a:blipFill>
            <a:blip r:embed="rId12" cstate="print"/>
            <a:stretch>
              <a:fillRect/>
            </a:stretch>
          </a:blipFill>
        </p:spPr>
        <p:txBody>
          <a:bodyPr wrap="square" lIns="0" tIns="0" rIns="0" bIns="0" rtlCol="0"/>
          <a:lstStyle/>
          <a:p>
            <a:pPr algn="ctr"/>
            <a:endParaRPr sz="1799">
              <a:solidFill>
                <a:prstClr val="black"/>
              </a:solidFill>
              <a:latin typeface="Calibri" panose="020F0502020204030204"/>
            </a:endParaRPr>
          </a:p>
        </p:txBody>
      </p:sp>
      <p:grpSp>
        <p:nvGrpSpPr>
          <p:cNvPr id="16" name="Group 15">
            <a:extLst>
              <a:ext uri="{FF2B5EF4-FFF2-40B4-BE49-F238E27FC236}">
                <a16:creationId xmlns:a16="http://schemas.microsoft.com/office/drawing/2014/main" id="{0726C71A-D368-B041-8BD9-4D61AA84A144}"/>
              </a:ext>
            </a:extLst>
          </p:cNvPr>
          <p:cNvGrpSpPr/>
          <p:nvPr userDrawn="1"/>
        </p:nvGrpSpPr>
        <p:grpSpPr>
          <a:xfrm>
            <a:off x="173642" y="3095627"/>
            <a:ext cx="215019" cy="215019"/>
            <a:chOff x="147828" y="2915202"/>
            <a:chExt cx="215019" cy="215019"/>
          </a:xfrm>
        </p:grpSpPr>
        <p:sp>
          <p:nvSpPr>
            <p:cNvPr id="17" name="Oval 16">
              <a:extLst>
                <a:ext uri="{FF2B5EF4-FFF2-40B4-BE49-F238E27FC236}">
                  <a16:creationId xmlns:a16="http://schemas.microsoft.com/office/drawing/2014/main" id="{0207DA1F-1F9C-294D-97C4-C0A6F616599E}"/>
                </a:ext>
              </a:extLst>
            </p:cNvPr>
            <p:cNvSpPr/>
            <p:nvPr/>
          </p:nvSpPr>
          <p:spPr>
            <a:xfrm>
              <a:off x="147828" y="2915202"/>
              <a:ext cx="215019" cy="215019"/>
            </a:xfrm>
            <a:prstGeom prst="ellipse">
              <a:avLst/>
            </a:prstGeom>
            <a:noFill/>
            <a:ln w="9525" cap="flat" cmpd="sng" algn="ctr">
              <a:solidFill>
                <a:sysClr val="window" lastClr="FFFFFF"/>
              </a:solidFill>
              <a:prstDash val="solid"/>
              <a:miter lim="800000"/>
            </a:ln>
            <a:effectLst/>
          </p:spPr>
          <p:txBody>
            <a:bodyPr rtlCol="0" anchor="t" anchorCtr="0"/>
            <a:lstStyle/>
            <a:p>
              <a:pPr marL="0" marR="0" lvl="0" indent="0" algn="ctr" defTabSz="914139"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black"/>
                </a:solidFill>
                <a:effectLst/>
                <a:uLnTx/>
                <a:uFillTx/>
                <a:latin typeface="Calibri" panose="020F0502020204030204"/>
                <a:ea typeface="+mn-ea"/>
                <a:cs typeface="+mn-cs"/>
              </a:endParaRPr>
            </a:p>
          </p:txBody>
        </p:sp>
        <p:cxnSp>
          <p:nvCxnSpPr>
            <p:cNvPr id="18" name="Straight Connector 17">
              <a:extLst>
                <a:ext uri="{FF2B5EF4-FFF2-40B4-BE49-F238E27FC236}">
                  <a16:creationId xmlns:a16="http://schemas.microsoft.com/office/drawing/2014/main" id="{CECE0C06-22D8-A04F-B592-79AFD6202C26}"/>
                </a:ext>
              </a:extLst>
            </p:cNvPr>
            <p:cNvCxnSpPr/>
            <p:nvPr/>
          </p:nvCxnSpPr>
          <p:spPr>
            <a:xfrm>
              <a:off x="193425" y="3022711"/>
              <a:ext cx="123825" cy="0"/>
            </a:xfrm>
            <a:prstGeom prst="line">
              <a:avLst/>
            </a:prstGeom>
            <a:noFill/>
            <a:ln w="9525" cap="flat" cmpd="sng" algn="ctr">
              <a:solidFill>
                <a:sysClr val="window" lastClr="FFFFFF"/>
              </a:solidFill>
              <a:prstDash val="solid"/>
              <a:miter lim="800000"/>
              <a:tailEnd type="none"/>
            </a:ln>
            <a:effectLst/>
          </p:spPr>
        </p:cxnSp>
        <p:sp>
          <p:nvSpPr>
            <p:cNvPr id="19" name="Rectangle 11">
              <a:extLst>
                <a:ext uri="{FF2B5EF4-FFF2-40B4-BE49-F238E27FC236}">
                  <a16:creationId xmlns:a16="http://schemas.microsoft.com/office/drawing/2014/main" id="{7A5DEC11-2762-9548-A7CB-2D7CAD730DF7}"/>
                </a:ext>
              </a:extLst>
            </p:cNvPr>
            <p:cNvSpPr/>
            <p:nvPr/>
          </p:nvSpPr>
          <p:spPr>
            <a:xfrm rot="18900000">
              <a:off x="231586" y="2987228"/>
              <a:ext cx="70967" cy="70967"/>
            </a:xfrm>
            <a:custGeom>
              <a:avLst/>
              <a:gdLst>
                <a:gd name="connsiteX0" fmla="*/ 0 w 149225"/>
                <a:gd name="connsiteY0" fmla="*/ 0 h 149225"/>
                <a:gd name="connsiteX1" fmla="*/ 149225 w 149225"/>
                <a:gd name="connsiteY1" fmla="*/ 0 h 149225"/>
                <a:gd name="connsiteX2" fmla="*/ 149225 w 149225"/>
                <a:gd name="connsiteY2" fmla="*/ 149225 h 149225"/>
                <a:gd name="connsiteX3" fmla="*/ 0 w 149225"/>
                <a:gd name="connsiteY3" fmla="*/ 149225 h 149225"/>
                <a:gd name="connsiteX4" fmla="*/ 0 w 149225"/>
                <a:gd name="connsiteY4" fmla="*/ 0 h 149225"/>
                <a:gd name="connsiteX0" fmla="*/ 0 w 149225"/>
                <a:gd name="connsiteY0" fmla="*/ 149225 h 149225"/>
                <a:gd name="connsiteX1" fmla="*/ 149225 w 149225"/>
                <a:gd name="connsiteY1" fmla="*/ 0 h 149225"/>
                <a:gd name="connsiteX2" fmla="*/ 149225 w 149225"/>
                <a:gd name="connsiteY2" fmla="*/ 149225 h 149225"/>
                <a:gd name="connsiteX3" fmla="*/ 0 w 149225"/>
                <a:gd name="connsiteY3" fmla="*/ 149225 h 149225"/>
                <a:gd name="connsiteX0" fmla="*/ 149225 w 240665"/>
                <a:gd name="connsiteY0" fmla="*/ 0 h 149225"/>
                <a:gd name="connsiteX1" fmla="*/ 149225 w 240665"/>
                <a:gd name="connsiteY1" fmla="*/ 149225 h 149225"/>
                <a:gd name="connsiteX2" fmla="*/ 0 w 240665"/>
                <a:gd name="connsiteY2" fmla="*/ 149225 h 149225"/>
                <a:gd name="connsiteX3" fmla="*/ 240665 w 240665"/>
                <a:gd name="connsiteY3" fmla="*/ 91440 h 149225"/>
                <a:gd name="connsiteX0" fmla="*/ 149225 w 149225"/>
                <a:gd name="connsiteY0" fmla="*/ 0 h 149225"/>
                <a:gd name="connsiteX1" fmla="*/ 149225 w 149225"/>
                <a:gd name="connsiteY1" fmla="*/ 149225 h 149225"/>
                <a:gd name="connsiteX2" fmla="*/ 0 w 149225"/>
                <a:gd name="connsiteY2" fmla="*/ 149225 h 149225"/>
              </a:gdLst>
              <a:ahLst/>
              <a:cxnLst>
                <a:cxn ang="0">
                  <a:pos x="connsiteX0" y="connsiteY0"/>
                </a:cxn>
                <a:cxn ang="0">
                  <a:pos x="connsiteX1" y="connsiteY1"/>
                </a:cxn>
                <a:cxn ang="0">
                  <a:pos x="connsiteX2" y="connsiteY2"/>
                </a:cxn>
              </a:cxnLst>
              <a:rect l="l" t="t" r="r" b="b"/>
              <a:pathLst>
                <a:path w="149225" h="149225">
                  <a:moveTo>
                    <a:pt x="149225" y="0"/>
                  </a:moveTo>
                  <a:lnTo>
                    <a:pt x="149225" y="149225"/>
                  </a:lnTo>
                  <a:lnTo>
                    <a:pt x="0" y="149225"/>
                  </a:lnTo>
                </a:path>
              </a:pathLst>
            </a:custGeom>
            <a:noFill/>
            <a:ln w="9525" cap="flat" cmpd="sng" algn="ctr">
              <a:solidFill>
                <a:sysClr val="window" lastClr="FFFFFF"/>
              </a:solidFill>
              <a:prstDash val="solid"/>
              <a:miter lim="800000"/>
            </a:ln>
            <a:effectLst/>
          </p:spPr>
          <p:txBody>
            <a:bodyPr rtlCol="0" anchor="t" anchorCtr="0"/>
            <a:lstStyle/>
            <a:p>
              <a:pPr marL="0" marR="0" lvl="0" indent="0" algn="ctr" defTabSz="914139"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black"/>
                </a:solidFill>
                <a:effectLst/>
                <a:uLnTx/>
                <a:uFillTx/>
                <a:latin typeface="Calibri" panose="020F0502020204030204"/>
                <a:ea typeface="+mn-ea"/>
                <a:cs typeface="+mn-cs"/>
              </a:endParaRPr>
            </a:p>
          </p:txBody>
        </p:sp>
      </p:grpSp>
      <p:grpSp>
        <p:nvGrpSpPr>
          <p:cNvPr id="20" name="Group 19">
            <a:extLst>
              <a:ext uri="{FF2B5EF4-FFF2-40B4-BE49-F238E27FC236}">
                <a16:creationId xmlns:a16="http://schemas.microsoft.com/office/drawing/2014/main" id="{30844FBE-FCA0-234D-A1A0-DEEB814F56F7}"/>
              </a:ext>
            </a:extLst>
          </p:cNvPr>
          <p:cNvGrpSpPr/>
          <p:nvPr userDrawn="1"/>
        </p:nvGrpSpPr>
        <p:grpSpPr>
          <a:xfrm rot="10800000">
            <a:off x="173642" y="3547371"/>
            <a:ext cx="215019" cy="215019"/>
            <a:chOff x="5758249" y="7128479"/>
            <a:chExt cx="215019" cy="215019"/>
          </a:xfrm>
        </p:grpSpPr>
        <p:sp>
          <p:nvSpPr>
            <p:cNvPr id="21" name="Oval 20">
              <a:extLst>
                <a:ext uri="{FF2B5EF4-FFF2-40B4-BE49-F238E27FC236}">
                  <a16:creationId xmlns:a16="http://schemas.microsoft.com/office/drawing/2014/main" id="{A3BB17A6-DFE2-3F48-94A5-1488E1D6457D}"/>
                </a:ext>
              </a:extLst>
            </p:cNvPr>
            <p:cNvSpPr/>
            <p:nvPr/>
          </p:nvSpPr>
          <p:spPr>
            <a:xfrm>
              <a:off x="5758249" y="7128479"/>
              <a:ext cx="215019" cy="215019"/>
            </a:xfrm>
            <a:prstGeom prst="ellipse">
              <a:avLst/>
            </a:prstGeom>
            <a:noFill/>
            <a:ln w="9525" cap="flat" cmpd="sng" algn="ctr">
              <a:solidFill>
                <a:sysClr val="window" lastClr="FFFFFF"/>
              </a:solidFill>
              <a:prstDash val="solid"/>
              <a:miter lim="800000"/>
            </a:ln>
            <a:effectLst/>
          </p:spPr>
          <p:txBody>
            <a:bodyPr rtlCol="0" anchor="t" anchorCtr="0"/>
            <a:lstStyle/>
            <a:p>
              <a:pPr marL="0" marR="0" lvl="0" indent="0" algn="ctr" defTabSz="914139"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black"/>
                </a:solidFill>
                <a:effectLst/>
                <a:uLnTx/>
                <a:uFillTx/>
                <a:latin typeface="Calibri" panose="020F0502020204030204"/>
                <a:ea typeface="+mn-ea"/>
                <a:cs typeface="+mn-cs"/>
              </a:endParaRPr>
            </a:p>
          </p:txBody>
        </p:sp>
        <p:cxnSp>
          <p:nvCxnSpPr>
            <p:cNvPr id="22" name="Straight Connector 21">
              <a:extLst>
                <a:ext uri="{FF2B5EF4-FFF2-40B4-BE49-F238E27FC236}">
                  <a16:creationId xmlns:a16="http://schemas.microsoft.com/office/drawing/2014/main" id="{7035876D-E7CD-8C41-8052-10A7CFE3A66B}"/>
                </a:ext>
              </a:extLst>
            </p:cNvPr>
            <p:cNvCxnSpPr/>
            <p:nvPr/>
          </p:nvCxnSpPr>
          <p:spPr>
            <a:xfrm>
              <a:off x="5803846" y="7235988"/>
              <a:ext cx="123825" cy="0"/>
            </a:xfrm>
            <a:prstGeom prst="line">
              <a:avLst/>
            </a:prstGeom>
            <a:noFill/>
            <a:ln w="9525" cap="flat" cmpd="sng" algn="ctr">
              <a:solidFill>
                <a:sysClr val="window" lastClr="FFFFFF"/>
              </a:solidFill>
              <a:prstDash val="solid"/>
              <a:miter lim="800000"/>
              <a:tailEnd type="none"/>
            </a:ln>
            <a:effectLst/>
          </p:spPr>
        </p:cxnSp>
        <p:sp>
          <p:nvSpPr>
            <p:cNvPr id="23" name="Rectangle 11">
              <a:extLst>
                <a:ext uri="{FF2B5EF4-FFF2-40B4-BE49-F238E27FC236}">
                  <a16:creationId xmlns:a16="http://schemas.microsoft.com/office/drawing/2014/main" id="{4094B3D7-0406-A540-8445-9B565193A9AC}"/>
                </a:ext>
              </a:extLst>
            </p:cNvPr>
            <p:cNvSpPr/>
            <p:nvPr/>
          </p:nvSpPr>
          <p:spPr>
            <a:xfrm rot="18900000">
              <a:off x="5842007" y="7200505"/>
              <a:ext cx="70967" cy="70967"/>
            </a:xfrm>
            <a:custGeom>
              <a:avLst/>
              <a:gdLst>
                <a:gd name="connsiteX0" fmla="*/ 0 w 149225"/>
                <a:gd name="connsiteY0" fmla="*/ 0 h 149225"/>
                <a:gd name="connsiteX1" fmla="*/ 149225 w 149225"/>
                <a:gd name="connsiteY1" fmla="*/ 0 h 149225"/>
                <a:gd name="connsiteX2" fmla="*/ 149225 w 149225"/>
                <a:gd name="connsiteY2" fmla="*/ 149225 h 149225"/>
                <a:gd name="connsiteX3" fmla="*/ 0 w 149225"/>
                <a:gd name="connsiteY3" fmla="*/ 149225 h 149225"/>
                <a:gd name="connsiteX4" fmla="*/ 0 w 149225"/>
                <a:gd name="connsiteY4" fmla="*/ 0 h 149225"/>
                <a:gd name="connsiteX0" fmla="*/ 0 w 149225"/>
                <a:gd name="connsiteY0" fmla="*/ 149225 h 149225"/>
                <a:gd name="connsiteX1" fmla="*/ 149225 w 149225"/>
                <a:gd name="connsiteY1" fmla="*/ 0 h 149225"/>
                <a:gd name="connsiteX2" fmla="*/ 149225 w 149225"/>
                <a:gd name="connsiteY2" fmla="*/ 149225 h 149225"/>
                <a:gd name="connsiteX3" fmla="*/ 0 w 149225"/>
                <a:gd name="connsiteY3" fmla="*/ 149225 h 149225"/>
                <a:gd name="connsiteX0" fmla="*/ 149225 w 240665"/>
                <a:gd name="connsiteY0" fmla="*/ 0 h 149225"/>
                <a:gd name="connsiteX1" fmla="*/ 149225 w 240665"/>
                <a:gd name="connsiteY1" fmla="*/ 149225 h 149225"/>
                <a:gd name="connsiteX2" fmla="*/ 0 w 240665"/>
                <a:gd name="connsiteY2" fmla="*/ 149225 h 149225"/>
                <a:gd name="connsiteX3" fmla="*/ 240665 w 240665"/>
                <a:gd name="connsiteY3" fmla="*/ 91440 h 149225"/>
                <a:gd name="connsiteX0" fmla="*/ 149225 w 149225"/>
                <a:gd name="connsiteY0" fmla="*/ 0 h 149225"/>
                <a:gd name="connsiteX1" fmla="*/ 149225 w 149225"/>
                <a:gd name="connsiteY1" fmla="*/ 149225 h 149225"/>
                <a:gd name="connsiteX2" fmla="*/ 0 w 149225"/>
                <a:gd name="connsiteY2" fmla="*/ 149225 h 149225"/>
              </a:gdLst>
              <a:ahLst/>
              <a:cxnLst>
                <a:cxn ang="0">
                  <a:pos x="connsiteX0" y="connsiteY0"/>
                </a:cxn>
                <a:cxn ang="0">
                  <a:pos x="connsiteX1" y="connsiteY1"/>
                </a:cxn>
                <a:cxn ang="0">
                  <a:pos x="connsiteX2" y="connsiteY2"/>
                </a:cxn>
              </a:cxnLst>
              <a:rect l="l" t="t" r="r" b="b"/>
              <a:pathLst>
                <a:path w="149225" h="149225">
                  <a:moveTo>
                    <a:pt x="149225" y="0"/>
                  </a:moveTo>
                  <a:lnTo>
                    <a:pt x="149225" y="149225"/>
                  </a:lnTo>
                  <a:lnTo>
                    <a:pt x="0" y="149225"/>
                  </a:lnTo>
                </a:path>
              </a:pathLst>
            </a:custGeom>
            <a:noFill/>
            <a:ln w="9525" cap="flat" cmpd="sng" algn="ctr">
              <a:solidFill>
                <a:sysClr val="window" lastClr="FFFFFF"/>
              </a:solidFill>
              <a:prstDash val="solid"/>
              <a:miter lim="800000"/>
            </a:ln>
            <a:effectLst/>
          </p:spPr>
          <p:txBody>
            <a:bodyPr rtlCol="0" anchor="t" anchorCtr="0"/>
            <a:lstStyle/>
            <a:p>
              <a:pPr marL="0" marR="0" lvl="0" indent="0" algn="ctr" defTabSz="914139"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black"/>
                </a:solidFill>
                <a:effectLst/>
                <a:uLnTx/>
                <a:uFillTx/>
                <a:latin typeface="Calibri" panose="020F0502020204030204"/>
                <a:ea typeface="+mn-ea"/>
                <a:cs typeface="+mn-cs"/>
              </a:endParaRPr>
            </a:p>
          </p:txBody>
        </p:sp>
      </p:grpSp>
      <p:sp>
        <p:nvSpPr>
          <p:cNvPr id="24" name="Action Button: Custom 23">
            <a:hlinkClick r:id="" action="ppaction://hlinkshowjump?jump=nextslide" highlightClick="1"/>
            <a:extLst>
              <a:ext uri="{FF2B5EF4-FFF2-40B4-BE49-F238E27FC236}">
                <a16:creationId xmlns:a16="http://schemas.microsoft.com/office/drawing/2014/main" id="{98B416AA-6970-204F-9803-82312AEF99A3}"/>
              </a:ext>
            </a:extLst>
          </p:cNvPr>
          <p:cNvSpPr/>
          <p:nvPr userDrawn="1"/>
        </p:nvSpPr>
        <p:spPr>
          <a:xfrm>
            <a:off x="160549" y="3095627"/>
            <a:ext cx="241211" cy="241211"/>
          </a:xfrm>
          <a:prstGeom prst="actionButtonBlank">
            <a:avLst/>
          </a:prstGeom>
          <a:noFill/>
          <a:ln w="12700" cap="flat" cmpd="sng" algn="ctr">
            <a:noFill/>
            <a:prstDash val="solid"/>
            <a:miter lim="800000"/>
          </a:ln>
          <a:effectLst/>
        </p:spPr>
        <p:txBody>
          <a:bodyPr rtlCol="0" anchor="ctr"/>
          <a:lstStyle/>
          <a:p>
            <a:pPr marL="0" marR="0" lvl="0" indent="0" algn="ctr" defTabSz="914139"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5" name="Action Button: Custom 24">
            <a:hlinkClick r:id="" action="ppaction://hlinkshowjump?jump=previousslide" highlightClick="1"/>
            <a:extLst>
              <a:ext uri="{FF2B5EF4-FFF2-40B4-BE49-F238E27FC236}">
                <a16:creationId xmlns:a16="http://schemas.microsoft.com/office/drawing/2014/main" id="{7A387E38-D922-FA48-996E-C4EBA78D6D4A}"/>
              </a:ext>
            </a:extLst>
          </p:cNvPr>
          <p:cNvSpPr/>
          <p:nvPr userDrawn="1"/>
        </p:nvSpPr>
        <p:spPr>
          <a:xfrm>
            <a:off x="160549" y="3534274"/>
            <a:ext cx="241211" cy="241211"/>
          </a:xfrm>
          <a:prstGeom prst="actionButtonBlank">
            <a:avLst/>
          </a:prstGeom>
          <a:noFill/>
          <a:ln w="12700" cap="flat" cmpd="sng" algn="ctr">
            <a:noFill/>
            <a:prstDash val="solid"/>
            <a:miter lim="800000"/>
          </a:ln>
          <a:effectLst/>
        </p:spPr>
        <p:txBody>
          <a:bodyPr rtlCol="0" anchor="ctr"/>
          <a:lstStyle/>
          <a:p>
            <a:pPr marL="0" marR="0" lvl="0" indent="0" algn="ctr" defTabSz="914139"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6" name="TextBox 5"/>
          <p:cNvSpPr txBox="1"/>
          <p:nvPr userDrawn="1"/>
        </p:nvSpPr>
        <p:spPr>
          <a:xfrm>
            <a:off x="12295" y="7286207"/>
            <a:ext cx="537719" cy="153888"/>
          </a:xfrm>
          <a:prstGeom prst="rect">
            <a:avLst/>
          </a:prstGeom>
          <a:noFill/>
        </p:spPr>
        <p:txBody>
          <a:bodyPr wrap="square" lIns="0" tIns="0" rIns="0" bIns="0" rtlCol="0">
            <a:spAutoFit/>
          </a:bodyPr>
          <a:lstStyle/>
          <a:p>
            <a:pPr algn="ctr" fontAlgn="auto">
              <a:spcBef>
                <a:spcPts val="0"/>
              </a:spcBef>
              <a:spcAft>
                <a:spcPts val="0"/>
              </a:spcAft>
              <a:buClrTx/>
              <a:buSzTx/>
              <a:buFontTx/>
              <a:buNone/>
            </a:pPr>
            <a:fld id="{EE81E157-A1D1-4641-98C5-E5C73AF14974}" type="slidenum">
              <a:rPr lang="en-US" sz="1000" b="1" smtClean="0">
                <a:solidFill>
                  <a:schemeClr val="tx2"/>
                </a:solidFill>
                <a:latin typeface="EYInterstate" panose="02000503020000020004" pitchFamily="2" charset="0"/>
              </a:rPr>
              <a:pPr algn="ctr" fontAlgn="auto">
                <a:spcBef>
                  <a:spcPts val="0"/>
                </a:spcBef>
                <a:spcAft>
                  <a:spcPts val="0"/>
                </a:spcAft>
                <a:buClrTx/>
                <a:buSzTx/>
                <a:buFontTx/>
                <a:buNone/>
              </a:pPr>
              <a:t>‹#›</a:t>
            </a:fld>
            <a:endParaRPr lang="en-US" sz="1000" b="1">
              <a:solidFill>
                <a:schemeClr val="tx2"/>
              </a:solidFill>
              <a:latin typeface="EYInterstate" panose="02000503020000020004" pitchFamily="2" charset="0"/>
            </a:endParaRPr>
          </a:p>
        </p:txBody>
      </p:sp>
    </p:spTree>
    <p:extLst>
      <p:ext uri="{BB962C8B-B14F-4D97-AF65-F5344CB8AC3E}">
        <p14:creationId xmlns:p14="http://schemas.microsoft.com/office/powerpoint/2010/main" val="461544271"/>
      </p:ext>
    </p:extLst>
  </p:cSld>
  <p:clrMap bg1="lt1" tx1="dk1" bg2="lt2" tx2="dk2" accent1="accent1" accent2="accent2" accent3="accent3" accent4="accent4" accent5="accent5" accent6="accent6" hlink="hlink" folHlink="folHlink"/>
  <p:sldLayoutIdLst>
    <p:sldLayoutId id="2147484217" r:id="rId1"/>
    <p:sldLayoutId id="2147484218" r:id="rId2"/>
    <p:sldLayoutId id="2147484219" r:id="rId3"/>
    <p:sldLayoutId id="2147484220" r:id="rId4"/>
    <p:sldLayoutId id="2147484221" r:id="rId5"/>
  </p:sldLayoutIdLst>
  <p:hf hdr="0" ftr="0" dt="0"/>
  <p:txStyles>
    <p:titleStyle>
      <a:lvl1pPr algn="l" defTabSz="1266376" rtl="0" eaLnBrk="1" latinLnBrk="0" hangingPunct="1">
        <a:lnSpc>
          <a:spcPct val="85000"/>
        </a:lnSpc>
        <a:spcBef>
          <a:spcPct val="0"/>
        </a:spcBef>
        <a:buNone/>
        <a:defRPr sz="2400" b="1" i="0" kern="1200">
          <a:solidFill>
            <a:schemeClr val="bg1"/>
          </a:solidFill>
          <a:latin typeface="EYInterstate" panose="02000503020000020004" pitchFamily="2" charset="0"/>
          <a:ea typeface="+mj-ea"/>
          <a:cs typeface="Arial" pitchFamily="34" charset="0"/>
        </a:defRPr>
      </a:lvl1pPr>
    </p:titleStyle>
    <p:bodyStyle>
      <a:lvl1pPr marL="493888" indent="-493888" algn="l" defTabSz="1266376" rtl="0" eaLnBrk="1" latinLnBrk="0" hangingPunct="1">
        <a:spcBef>
          <a:spcPct val="20000"/>
        </a:spcBef>
        <a:buClr>
          <a:schemeClr val="tx1"/>
        </a:buClr>
        <a:buSzPct val="70000"/>
        <a:buFont typeface="Arial" pitchFamily="34" charset="0"/>
        <a:buChar char="►"/>
        <a:defRPr sz="2493" b="0" i="0" kern="1200">
          <a:solidFill>
            <a:schemeClr val="bg1"/>
          </a:solidFill>
          <a:latin typeface="EYInterstate Light" panose="02000506000000020004" pitchFamily="2" charset="0"/>
          <a:ea typeface="+mn-ea"/>
          <a:cs typeface="+mn-cs"/>
        </a:defRPr>
      </a:lvl1pPr>
      <a:lvl2pPr marL="987772" indent="-493888" algn="l" defTabSz="1266376" rtl="0" eaLnBrk="1" latinLnBrk="0" hangingPunct="1">
        <a:spcBef>
          <a:spcPct val="20000"/>
        </a:spcBef>
        <a:buClr>
          <a:schemeClr val="tx1"/>
        </a:buClr>
        <a:buSzPct val="70000"/>
        <a:buFont typeface="Arial" pitchFamily="34" charset="0"/>
        <a:buChar char="►"/>
        <a:defRPr sz="2000" b="0" i="0" kern="1200">
          <a:solidFill>
            <a:schemeClr val="bg1"/>
          </a:solidFill>
          <a:latin typeface="EYInterstate Light" panose="02000506000000020004" pitchFamily="2" charset="0"/>
          <a:ea typeface="+mn-ea"/>
          <a:cs typeface="+mn-cs"/>
        </a:defRPr>
      </a:lvl2pPr>
      <a:lvl3pPr marL="1481660" indent="-493888" algn="l" defTabSz="1266376" rtl="0" eaLnBrk="1" latinLnBrk="0" hangingPunct="1">
        <a:spcBef>
          <a:spcPct val="20000"/>
        </a:spcBef>
        <a:buClr>
          <a:schemeClr val="tx1"/>
        </a:buClr>
        <a:buSzPct val="70000"/>
        <a:buFont typeface="Arial" pitchFamily="34" charset="0"/>
        <a:buChar char="►"/>
        <a:defRPr sz="1799" b="0" i="0" kern="1200">
          <a:solidFill>
            <a:schemeClr val="bg1"/>
          </a:solidFill>
          <a:latin typeface="EYInterstate Light" panose="02000506000000020004" pitchFamily="2" charset="0"/>
          <a:ea typeface="+mn-ea"/>
          <a:cs typeface="+mn-cs"/>
        </a:defRPr>
      </a:lvl3pPr>
      <a:lvl4pPr marL="1975545" indent="-493888" algn="l" defTabSz="1266376" rtl="0" eaLnBrk="1" latinLnBrk="0" hangingPunct="1">
        <a:spcBef>
          <a:spcPct val="20000"/>
        </a:spcBef>
        <a:buClr>
          <a:schemeClr val="tx1"/>
        </a:buClr>
        <a:buSzPct val="70000"/>
        <a:buFont typeface="Arial" pitchFamily="34" charset="0"/>
        <a:buChar char="►"/>
        <a:defRPr sz="1600" b="0" i="0" kern="1200">
          <a:solidFill>
            <a:schemeClr val="bg1"/>
          </a:solidFill>
          <a:latin typeface="EYInterstate Light" panose="02000506000000020004" pitchFamily="2" charset="0"/>
          <a:ea typeface="+mn-ea"/>
          <a:cs typeface="+mn-cs"/>
        </a:defRPr>
      </a:lvl4pPr>
      <a:lvl5pPr marL="2469430" indent="-493888" algn="l" defTabSz="1266376" rtl="0" eaLnBrk="1" latinLnBrk="0" hangingPunct="1">
        <a:spcBef>
          <a:spcPct val="20000"/>
        </a:spcBef>
        <a:buClr>
          <a:schemeClr val="tx1"/>
        </a:buClr>
        <a:buSzPct val="70000"/>
        <a:buFont typeface="Arial" pitchFamily="34" charset="0"/>
        <a:buChar char="►"/>
        <a:defRPr sz="1400" b="0" i="0" kern="1200">
          <a:solidFill>
            <a:schemeClr val="bg1"/>
          </a:solidFill>
          <a:latin typeface="EYInterstate Light" panose="02000506000000020004" pitchFamily="2" charset="0"/>
          <a:ea typeface="+mn-ea"/>
          <a:cs typeface="+mn-cs"/>
        </a:defRPr>
      </a:lvl5pPr>
      <a:lvl6pPr marL="3482533" indent="-316595" algn="l" defTabSz="1266376" rtl="0" eaLnBrk="1" latinLnBrk="0" hangingPunct="1">
        <a:spcBef>
          <a:spcPct val="20000"/>
        </a:spcBef>
        <a:buFont typeface="Arial" pitchFamily="34" charset="0"/>
        <a:buChar char="•"/>
        <a:defRPr sz="2771" kern="1200">
          <a:solidFill>
            <a:schemeClr val="tx1"/>
          </a:solidFill>
          <a:latin typeface="+mn-lt"/>
          <a:ea typeface="+mn-ea"/>
          <a:cs typeface="+mn-cs"/>
        </a:defRPr>
      </a:lvl6pPr>
      <a:lvl7pPr marL="4115721" indent="-316595" algn="l" defTabSz="1266376" rtl="0" eaLnBrk="1" latinLnBrk="0" hangingPunct="1">
        <a:spcBef>
          <a:spcPct val="20000"/>
        </a:spcBef>
        <a:buFont typeface="Arial" pitchFamily="34" charset="0"/>
        <a:buChar char="•"/>
        <a:defRPr sz="2771" kern="1200">
          <a:solidFill>
            <a:schemeClr val="tx1"/>
          </a:solidFill>
          <a:latin typeface="+mn-lt"/>
          <a:ea typeface="+mn-ea"/>
          <a:cs typeface="+mn-cs"/>
        </a:defRPr>
      </a:lvl7pPr>
      <a:lvl8pPr marL="4748910" indent="-316595" algn="l" defTabSz="1266376" rtl="0" eaLnBrk="1" latinLnBrk="0" hangingPunct="1">
        <a:spcBef>
          <a:spcPct val="20000"/>
        </a:spcBef>
        <a:buFont typeface="Arial" pitchFamily="34" charset="0"/>
        <a:buChar char="•"/>
        <a:defRPr sz="2771" kern="1200">
          <a:solidFill>
            <a:schemeClr val="tx1"/>
          </a:solidFill>
          <a:latin typeface="+mn-lt"/>
          <a:ea typeface="+mn-ea"/>
          <a:cs typeface="+mn-cs"/>
        </a:defRPr>
      </a:lvl8pPr>
      <a:lvl9pPr marL="5382095" indent="-316595" algn="l" defTabSz="1266376" rtl="0" eaLnBrk="1" latinLnBrk="0" hangingPunct="1">
        <a:spcBef>
          <a:spcPct val="20000"/>
        </a:spcBef>
        <a:buFont typeface="Arial" pitchFamily="34" charset="0"/>
        <a:buChar char="•"/>
        <a:defRPr sz="2771" kern="1200">
          <a:solidFill>
            <a:schemeClr val="tx1"/>
          </a:solidFill>
          <a:latin typeface="+mn-lt"/>
          <a:ea typeface="+mn-ea"/>
          <a:cs typeface="+mn-cs"/>
        </a:defRPr>
      </a:lvl9pPr>
    </p:bodyStyle>
    <p:otherStyle>
      <a:defPPr>
        <a:defRPr lang="en-US"/>
      </a:defPPr>
      <a:lvl1pPr marL="0" algn="l" defTabSz="1266376" rtl="0" eaLnBrk="1" latinLnBrk="0" hangingPunct="1">
        <a:defRPr sz="2493" kern="1200">
          <a:solidFill>
            <a:schemeClr val="tx1"/>
          </a:solidFill>
          <a:latin typeface="+mn-lt"/>
          <a:ea typeface="+mn-ea"/>
          <a:cs typeface="+mn-cs"/>
        </a:defRPr>
      </a:lvl1pPr>
      <a:lvl2pPr marL="633187" algn="l" defTabSz="1266376" rtl="0" eaLnBrk="1" latinLnBrk="0" hangingPunct="1">
        <a:defRPr sz="2493" kern="1200">
          <a:solidFill>
            <a:schemeClr val="tx1"/>
          </a:solidFill>
          <a:latin typeface="+mn-lt"/>
          <a:ea typeface="+mn-ea"/>
          <a:cs typeface="+mn-cs"/>
        </a:defRPr>
      </a:lvl2pPr>
      <a:lvl3pPr marL="1266376" algn="l" defTabSz="1266376" rtl="0" eaLnBrk="1" latinLnBrk="0" hangingPunct="1">
        <a:defRPr sz="2493" kern="1200">
          <a:solidFill>
            <a:schemeClr val="tx1"/>
          </a:solidFill>
          <a:latin typeface="+mn-lt"/>
          <a:ea typeface="+mn-ea"/>
          <a:cs typeface="+mn-cs"/>
        </a:defRPr>
      </a:lvl3pPr>
      <a:lvl4pPr marL="1899563" algn="l" defTabSz="1266376" rtl="0" eaLnBrk="1" latinLnBrk="0" hangingPunct="1">
        <a:defRPr sz="2493" kern="1200">
          <a:solidFill>
            <a:schemeClr val="tx1"/>
          </a:solidFill>
          <a:latin typeface="+mn-lt"/>
          <a:ea typeface="+mn-ea"/>
          <a:cs typeface="+mn-cs"/>
        </a:defRPr>
      </a:lvl4pPr>
      <a:lvl5pPr marL="2532752" algn="l" defTabSz="1266376" rtl="0" eaLnBrk="1" latinLnBrk="0" hangingPunct="1">
        <a:defRPr sz="2493" kern="1200">
          <a:solidFill>
            <a:schemeClr val="tx1"/>
          </a:solidFill>
          <a:latin typeface="+mn-lt"/>
          <a:ea typeface="+mn-ea"/>
          <a:cs typeface="+mn-cs"/>
        </a:defRPr>
      </a:lvl5pPr>
      <a:lvl6pPr marL="3165939" algn="l" defTabSz="1266376" rtl="0" eaLnBrk="1" latinLnBrk="0" hangingPunct="1">
        <a:defRPr sz="2493" kern="1200">
          <a:solidFill>
            <a:schemeClr val="tx1"/>
          </a:solidFill>
          <a:latin typeface="+mn-lt"/>
          <a:ea typeface="+mn-ea"/>
          <a:cs typeface="+mn-cs"/>
        </a:defRPr>
      </a:lvl6pPr>
      <a:lvl7pPr marL="3799125" algn="l" defTabSz="1266376" rtl="0" eaLnBrk="1" latinLnBrk="0" hangingPunct="1">
        <a:defRPr sz="2493" kern="1200">
          <a:solidFill>
            <a:schemeClr val="tx1"/>
          </a:solidFill>
          <a:latin typeface="+mn-lt"/>
          <a:ea typeface="+mn-ea"/>
          <a:cs typeface="+mn-cs"/>
        </a:defRPr>
      </a:lvl7pPr>
      <a:lvl8pPr marL="4432315" algn="l" defTabSz="1266376" rtl="0" eaLnBrk="1" latinLnBrk="0" hangingPunct="1">
        <a:defRPr sz="2493" kern="1200">
          <a:solidFill>
            <a:schemeClr val="tx1"/>
          </a:solidFill>
          <a:latin typeface="+mn-lt"/>
          <a:ea typeface="+mn-ea"/>
          <a:cs typeface="+mn-cs"/>
        </a:defRPr>
      </a:lvl8pPr>
      <a:lvl9pPr marL="5065500" algn="l" defTabSz="1266376" rtl="0" eaLnBrk="1" latinLnBrk="0" hangingPunct="1">
        <a:defRPr sz="2493"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8"/>
            </p:custDataLst>
            <p:extLst>
              <p:ext uri="{D42A27DB-BD31-4B8C-83A1-F6EECF244321}">
                <p14:modId xmlns:p14="http://schemas.microsoft.com/office/powerpoint/2010/main" val="1687772032"/>
              </p:ext>
            </p:extLst>
          </p:nvPr>
        </p:nvGraphicFramePr>
        <p:xfrm>
          <a:off x="1588" y="1591"/>
          <a:ext cx="1588" cy="1587"/>
        </p:xfrm>
        <a:graphic>
          <a:graphicData uri="http://schemas.openxmlformats.org/presentationml/2006/ole">
            <mc:AlternateContent xmlns:mc="http://schemas.openxmlformats.org/markup-compatibility/2006">
              <mc:Choice xmlns:v="urn:schemas-microsoft-com:vml" Requires="v">
                <p:oleObj spid="_x0000_s20482" name="think-cell Slide" r:id="rId10" imgW="216" imgH="216" progId="TCLayout.ActiveDocument.1">
                  <p:embed/>
                </p:oleObj>
              </mc:Choice>
              <mc:Fallback>
                <p:oleObj name="think-cell Slide" r:id="rId10" imgW="216" imgH="216" progId="TCLayout.ActiveDocument.1">
                  <p:embed/>
                  <p:pic>
                    <p:nvPicPr>
                      <p:cNvPr id="4" name="Object 3" hidden="1"/>
                      <p:cNvPicPr/>
                      <p:nvPr/>
                    </p:nvPicPr>
                    <p:blipFill>
                      <a:blip r:embed="rId11"/>
                      <a:stretch>
                        <a:fillRect/>
                      </a:stretch>
                    </p:blipFill>
                    <p:spPr>
                      <a:xfrm>
                        <a:off x="1588" y="1591"/>
                        <a:ext cx="1588"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D35BBD6-19BF-40F9-86FB-45632A655647}"/>
              </a:ext>
            </a:extLst>
          </p:cNvPr>
          <p:cNvSpPr/>
          <p:nvPr userDrawn="1">
            <p:custDataLst>
              <p:tags r:id="rId9"/>
            </p:custDataLst>
          </p:nvPr>
        </p:nvSpPr>
        <p:spPr>
          <a:xfrm>
            <a:off x="0" y="2"/>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eaLnBrk="1">
              <a:lnSpc>
                <a:spcPct val="85000"/>
              </a:lnSpc>
              <a:spcBef>
                <a:spcPct val="0"/>
              </a:spcBef>
              <a:spcAft>
                <a:spcPct val="0"/>
              </a:spcAft>
            </a:pPr>
            <a:endParaRPr lang="en-US" sz="2400" b="1" i="0" baseline="0">
              <a:solidFill>
                <a:schemeClr val="tx1"/>
              </a:solidFill>
              <a:latin typeface="EYInterstate" panose="02000503020000020004" pitchFamily="2" charset="0"/>
              <a:ea typeface="+mj-ea"/>
              <a:cs typeface="Arial" panose="020B0604020202020204" pitchFamily="34" charset="0"/>
              <a:sym typeface="EYInterstate" panose="02000503020000020004" pitchFamily="2" charset="0"/>
            </a:endParaRPr>
          </a:p>
        </p:txBody>
      </p:sp>
      <p:sp>
        <p:nvSpPr>
          <p:cNvPr id="2" name="Title Placeholder 1"/>
          <p:cNvSpPr>
            <a:spLocks noGrp="1"/>
          </p:cNvSpPr>
          <p:nvPr>
            <p:ph type="title"/>
          </p:nvPr>
        </p:nvSpPr>
        <p:spPr>
          <a:xfrm>
            <a:off x="943904" y="609597"/>
            <a:ext cx="11700000" cy="739984"/>
          </a:xfrm>
          <a:prstGeom prst="rect">
            <a:avLst/>
          </a:prstGeom>
        </p:spPr>
        <p:txBody>
          <a:bodyPr vert="horz" lIns="0" tIns="0" rIns="0" bIns="0" rtlCol="0" anchor="t" anchorCtr="0">
            <a:noAutofit/>
          </a:bodyPr>
          <a:lstStyle/>
          <a:p>
            <a:r>
              <a:rPr lang="en-US"/>
              <a:t>CLICK TO EDIT MASTER TITLE STYLE</a:t>
            </a:r>
            <a:endParaRPr lang="en-GB"/>
          </a:p>
        </p:txBody>
      </p:sp>
      <p:sp>
        <p:nvSpPr>
          <p:cNvPr id="3" name="Text Placeholder 2"/>
          <p:cNvSpPr>
            <a:spLocks noGrp="1"/>
          </p:cNvSpPr>
          <p:nvPr>
            <p:ph type="body" idx="1"/>
          </p:nvPr>
        </p:nvSpPr>
        <p:spPr>
          <a:xfrm>
            <a:off x="943904" y="1571790"/>
            <a:ext cx="11700000" cy="5181986"/>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Rectangle 12">
            <a:extLst>
              <a:ext uri="{FF2B5EF4-FFF2-40B4-BE49-F238E27FC236}">
                <a16:creationId xmlns:a16="http://schemas.microsoft.com/office/drawing/2014/main" id="{3A839B15-81E6-9045-B604-CB27BBC1C908}"/>
              </a:ext>
            </a:extLst>
          </p:cNvPr>
          <p:cNvSpPr/>
          <p:nvPr userDrawn="1"/>
        </p:nvSpPr>
        <p:spPr>
          <a:xfrm>
            <a:off x="943906" y="428151"/>
            <a:ext cx="1260000" cy="72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11" name="object 3">
            <a:extLst>
              <a:ext uri="{FF2B5EF4-FFF2-40B4-BE49-F238E27FC236}">
                <a16:creationId xmlns:a16="http://schemas.microsoft.com/office/drawing/2014/main" id="{FBEC6C36-7DE3-C04D-8FC3-90CFCCD3E4A9}"/>
              </a:ext>
            </a:extLst>
          </p:cNvPr>
          <p:cNvSpPr/>
          <p:nvPr userDrawn="1"/>
        </p:nvSpPr>
        <p:spPr>
          <a:xfrm>
            <a:off x="-5625" y="17"/>
            <a:ext cx="573553" cy="7561246"/>
          </a:xfrm>
          <a:custGeom>
            <a:avLst/>
            <a:gdLst/>
            <a:ahLst/>
            <a:cxnLst/>
            <a:rect l="l" t="t" r="r" b="b"/>
            <a:pathLst>
              <a:path w="5076190" h="7560309">
                <a:moveTo>
                  <a:pt x="0" y="7559992"/>
                </a:moveTo>
                <a:lnTo>
                  <a:pt x="5075999" y="7559992"/>
                </a:lnTo>
                <a:lnTo>
                  <a:pt x="5075999" y="0"/>
                </a:lnTo>
                <a:lnTo>
                  <a:pt x="0" y="0"/>
                </a:lnTo>
                <a:lnTo>
                  <a:pt x="0" y="7559992"/>
                </a:lnTo>
                <a:close/>
              </a:path>
            </a:pathLst>
          </a:custGeom>
          <a:solidFill>
            <a:schemeClr val="tx1"/>
          </a:solidFill>
        </p:spPr>
        <p:txBody>
          <a:bodyPr wrap="square" lIns="0" tIns="0" rIns="0" bIns="0" rtlCol="0"/>
          <a:lstStyle/>
          <a:p>
            <a:pPr algn="ctr"/>
            <a:endParaRPr sz="1799">
              <a:solidFill>
                <a:prstClr val="black"/>
              </a:solidFill>
              <a:latin typeface="Calibri" panose="020F0502020204030204"/>
            </a:endParaRPr>
          </a:p>
        </p:txBody>
      </p:sp>
      <p:sp>
        <p:nvSpPr>
          <p:cNvPr id="12" name="object 14">
            <a:extLst>
              <a:ext uri="{FF2B5EF4-FFF2-40B4-BE49-F238E27FC236}">
                <a16:creationId xmlns:a16="http://schemas.microsoft.com/office/drawing/2014/main" id="{3D19E29C-B81E-B848-A185-3911687868CA}"/>
              </a:ext>
            </a:extLst>
          </p:cNvPr>
          <p:cNvSpPr/>
          <p:nvPr userDrawn="1"/>
        </p:nvSpPr>
        <p:spPr>
          <a:xfrm>
            <a:off x="146530" y="398408"/>
            <a:ext cx="269241" cy="98425"/>
          </a:xfrm>
          <a:custGeom>
            <a:avLst/>
            <a:gdLst/>
            <a:ahLst/>
            <a:cxnLst/>
            <a:rect l="l" t="t" r="r" b="b"/>
            <a:pathLst>
              <a:path w="269240" h="98425">
                <a:moveTo>
                  <a:pt x="269227" y="0"/>
                </a:moveTo>
                <a:lnTo>
                  <a:pt x="0" y="98247"/>
                </a:lnTo>
                <a:lnTo>
                  <a:pt x="269227" y="50698"/>
                </a:lnTo>
                <a:lnTo>
                  <a:pt x="269227" y="0"/>
                </a:lnTo>
                <a:close/>
              </a:path>
            </a:pathLst>
          </a:custGeom>
          <a:solidFill>
            <a:srgbClr val="FFD400"/>
          </a:solidFill>
        </p:spPr>
        <p:txBody>
          <a:bodyPr wrap="square" lIns="0" tIns="0" rIns="0" bIns="0" rtlCol="0"/>
          <a:lstStyle/>
          <a:p>
            <a:pPr algn="ctr"/>
            <a:endParaRPr sz="1799">
              <a:solidFill>
                <a:prstClr val="black"/>
              </a:solidFill>
              <a:latin typeface="Calibri" panose="020F0502020204030204"/>
            </a:endParaRPr>
          </a:p>
        </p:txBody>
      </p:sp>
      <p:sp>
        <p:nvSpPr>
          <p:cNvPr id="14" name="object 15">
            <a:extLst>
              <a:ext uri="{FF2B5EF4-FFF2-40B4-BE49-F238E27FC236}">
                <a16:creationId xmlns:a16="http://schemas.microsoft.com/office/drawing/2014/main" id="{5DE69E7C-24A8-2346-869B-1BCBC7E6C6C0}"/>
              </a:ext>
            </a:extLst>
          </p:cNvPr>
          <p:cNvSpPr/>
          <p:nvPr userDrawn="1"/>
        </p:nvSpPr>
        <p:spPr>
          <a:xfrm>
            <a:off x="168134" y="537503"/>
            <a:ext cx="226034" cy="136194"/>
          </a:xfrm>
          <a:prstGeom prst="rect">
            <a:avLst/>
          </a:prstGeom>
          <a:blipFill>
            <a:blip r:embed="rId12" cstate="print"/>
            <a:stretch>
              <a:fillRect/>
            </a:stretch>
          </a:blipFill>
        </p:spPr>
        <p:txBody>
          <a:bodyPr wrap="square" lIns="0" tIns="0" rIns="0" bIns="0" rtlCol="0"/>
          <a:lstStyle/>
          <a:p>
            <a:pPr algn="ctr"/>
            <a:endParaRPr sz="1799">
              <a:solidFill>
                <a:prstClr val="black"/>
              </a:solidFill>
              <a:latin typeface="Calibri" panose="020F0502020204030204"/>
            </a:endParaRPr>
          </a:p>
        </p:txBody>
      </p:sp>
      <p:grpSp>
        <p:nvGrpSpPr>
          <p:cNvPr id="16" name="Group 15">
            <a:extLst>
              <a:ext uri="{FF2B5EF4-FFF2-40B4-BE49-F238E27FC236}">
                <a16:creationId xmlns:a16="http://schemas.microsoft.com/office/drawing/2014/main" id="{0726C71A-D368-B041-8BD9-4D61AA84A144}"/>
              </a:ext>
            </a:extLst>
          </p:cNvPr>
          <p:cNvGrpSpPr/>
          <p:nvPr userDrawn="1"/>
        </p:nvGrpSpPr>
        <p:grpSpPr>
          <a:xfrm>
            <a:off x="173642" y="3095627"/>
            <a:ext cx="215019" cy="215019"/>
            <a:chOff x="147828" y="2915202"/>
            <a:chExt cx="215019" cy="215019"/>
          </a:xfrm>
        </p:grpSpPr>
        <p:sp>
          <p:nvSpPr>
            <p:cNvPr id="17" name="Oval 16">
              <a:extLst>
                <a:ext uri="{FF2B5EF4-FFF2-40B4-BE49-F238E27FC236}">
                  <a16:creationId xmlns:a16="http://schemas.microsoft.com/office/drawing/2014/main" id="{0207DA1F-1F9C-294D-97C4-C0A6F616599E}"/>
                </a:ext>
              </a:extLst>
            </p:cNvPr>
            <p:cNvSpPr/>
            <p:nvPr/>
          </p:nvSpPr>
          <p:spPr>
            <a:xfrm>
              <a:off x="147828" y="2915202"/>
              <a:ext cx="215019" cy="215019"/>
            </a:xfrm>
            <a:prstGeom prst="ellipse">
              <a:avLst/>
            </a:prstGeom>
            <a:noFill/>
            <a:ln w="9525" cap="flat" cmpd="sng" algn="ctr">
              <a:solidFill>
                <a:sysClr val="window" lastClr="FFFFFF"/>
              </a:solidFill>
              <a:prstDash val="solid"/>
              <a:miter lim="800000"/>
            </a:ln>
            <a:effectLst/>
          </p:spPr>
          <p:txBody>
            <a:bodyPr rtlCol="0" anchor="t" anchorCtr="0"/>
            <a:lstStyle/>
            <a:p>
              <a:pPr marL="0" marR="0" lvl="0" indent="0" algn="ctr" defTabSz="914139"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black"/>
                </a:solidFill>
                <a:effectLst/>
                <a:uLnTx/>
                <a:uFillTx/>
                <a:latin typeface="Calibri" panose="020F0502020204030204"/>
                <a:ea typeface="+mn-ea"/>
                <a:cs typeface="+mn-cs"/>
              </a:endParaRPr>
            </a:p>
          </p:txBody>
        </p:sp>
        <p:cxnSp>
          <p:nvCxnSpPr>
            <p:cNvPr id="18" name="Straight Connector 17">
              <a:extLst>
                <a:ext uri="{FF2B5EF4-FFF2-40B4-BE49-F238E27FC236}">
                  <a16:creationId xmlns:a16="http://schemas.microsoft.com/office/drawing/2014/main" id="{CECE0C06-22D8-A04F-B592-79AFD6202C26}"/>
                </a:ext>
              </a:extLst>
            </p:cNvPr>
            <p:cNvCxnSpPr/>
            <p:nvPr/>
          </p:nvCxnSpPr>
          <p:spPr>
            <a:xfrm>
              <a:off x="193425" y="3022711"/>
              <a:ext cx="123825" cy="0"/>
            </a:xfrm>
            <a:prstGeom prst="line">
              <a:avLst/>
            </a:prstGeom>
            <a:noFill/>
            <a:ln w="9525" cap="flat" cmpd="sng" algn="ctr">
              <a:solidFill>
                <a:sysClr val="window" lastClr="FFFFFF"/>
              </a:solidFill>
              <a:prstDash val="solid"/>
              <a:miter lim="800000"/>
              <a:tailEnd type="none"/>
            </a:ln>
            <a:effectLst/>
          </p:spPr>
        </p:cxnSp>
        <p:sp>
          <p:nvSpPr>
            <p:cNvPr id="19" name="Rectangle 11">
              <a:extLst>
                <a:ext uri="{FF2B5EF4-FFF2-40B4-BE49-F238E27FC236}">
                  <a16:creationId xmlns:a16="http://schemas.microsoft.com/office/drawing/2014/main" id="{7A5DEC11-2762-9548-A7CB-2D7CAD730DF7}"/>
                </a:ext>
              </a:extLst>
            </p:cNvPr>
            <p:cNvSpPr/>
            <p:nvPr/>
          </p:nvSpPr>
          <p:spPr>
            <a:xfrm rot="18900000">
              <a:off x="231586" y="2987228"/>
              <a:ext cx="70967" cy="70967"/>
            </a:xfrm>
            <a:custGeom>
              <a:avLst/>
              <a:gdLst>
                <a:gd name="connsiteX0" fmla="*/ 0 w 149225"/>
                <a:gd name="connsiteY0" fmla="*/ 0 h 149225"/>
                <a:gd name="connsiteX1" fmla="*/ 149225 w 149225"/>
                <a:gd name="connsiteY1" fmla="*/ 0 h 149225"/>
                <a:gd name="connsiteX2" fmla="*/ 149225 w 149225"/>
                <a:gd name="connsiteY2" fmla="*/ 149225 h 149225"/>
                <a:gd name="connsiteX3" fmla="*/ 0 w 149225"/>
                <a:gd name="connsiteY3" fmla="*/ 149225 h 149225"/>
                <a:gd name="connsiteX4" fmla="*/ 0 w 149225"/>
                <a:gd name="connsiteY4" fmla="*/ 0 h 149225"/>
                <a:gd name="connsiteX0" fmla="*/ 0 w 149225"/>
                <a:gd name="connsiteY0" fmla="*/ 149225 h 149225"/>
                <a:gd name="connsiteX1" fmla="*/ 149225 w 149225"/>
                <a:gd name="connsiteY1" fmla="*/ 0 h 149225"/>
                <a:gd name="connsiteX2" fmla="*/ 149225 w 149225"/>
                <a:gd name="connsiteY2" fmla="*/ 149225 h 149225"/>
                <a:gd name="connsiteX3" fmla="*/ 0 w 149225"/>
                <a:gd name="connsiteY3" fmla="*/ 149225 h 149225"/>
                <a:gd name="connsiteX0" fmla="*/ 149225 w 240665"/>
                <a:gd name="connsiteY0" fmla="*/ 0 h 149225"/>
                <a:gd name="connsiteX1" fmla="*/ 149225 w 240665"/>
                <a:gd name="connsiteY1" fmla="*/ 149225 h 149225"/>
                <a:gd name="connsiteX2" fmla="*/ 0 w 240665"/>
                <a:gd name="connsiteY2" fmla="*/ 149225 h 149225"/>
                <a:gd name="connsiteX3" fmla="*/ 240665 w 240665"/>
                <a:gd name="connsiteY3" fmla="*/ 91440 h 149225"/>
                <a:gd name="connsiteX0" fmla="*/ 149225 w 149225"/>
                <a:gd name="connsiteY0" fmla="*/ 0 h 149225"/>
                <a:gd name="connsiteX1" fmla="*/ 149225 w 149225"/>
                <a:gd name="connsiteY1" fmla="*/ 149225 h 149225"/>
                <a:gd name="connsiteX2" fmla="*/ 0 w 149225"/>
                <a:gd name="connsiteY2" fmla="*/ 149225 h 149225"/>
              </a:gdLst>
              <a:ahLst/>
              <a:cxnLst>
                <a:cxn ang="0">
                  <a:pos x="connsiteX0" y="connsiteY0"/>
                </a:cxn>
                <a:cxn ang="0">
                  <a:pos x="connsiteX1" y="connsiteY1"/>
                </a:cxn>
                <a:cxn ang="0">
                  <a:pos x="connsiteX2" y="connsiteY2"/>
                </a:cxn>
              </a:cxnLst>
              <a:rect l="l" t="t" r="r" b="b"/>
              <a:pathLst>
                <a:path w="149225" h="149225">
                  <a:moveTo>
                    <a:pt x="149225" y="0"/>
                  </a:moveTo>
                  <a:lnTo>
                    <a:pt x="149225" y="149225"/>
                  </a:lnTo>
                  <a:lnTo>
                    <a:pt x="0" y="149225"/>
                  </a:lnTo>
                </a:path>
              </a:pathLst>
            </a:custGeom>
            <a:noFill/>
            <a:ln w="9525" cap="flat" cmpd="sng" algn="ctr">
              <a:solidFill>
                <a:sysClr val="window" lastClr="FFFFFF"/>
              </a:solidFill>
              <a:prstDash val="solid"/>
              <a:miter lim="800000"/>
            </a:ln>
            <a:effectLst/>
          </p:spPr>
          <p:txBody>
            <a:bodyPr rtlCol="0" anchor="t" anchorCtr="0"/>
            <a:lstStyle/>
            <a:p>
              <a:pPr marL="0" marR="0" lvl="0" indent="0" algn="ctr" defTabSz="914139"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black"/>
                </a:solidFill>
                <a:effectLst/>
                <a:uLnTx/>
                <a:uFillTx/>
                <a:latin typeface="Calibri" panose="020F0502020204030204"/>
                <a:ea typeface="+mn-ea"/>
                <a:cs typeface="+mn-cs"/>
              </a:endParaRPr>
            </a:p>
          </p:txBody>
        </p:sp>
      </p:grpSp>
      <p:grpSp>
        <p:nvGrpSpPr>
          <p:cNvPr id="20" name="Group 19">
            <a:extLst>
              <a:ext uri="{FF2B5EF4-FFF2-40B4-BE49-F238E27FC236}">
                <a16:creationId xmlns:a16="http://schemas.microsoft.com/office/drawing/2014/main" id="{30844FBE-FCA0-234D-A1A0-DEEB814F56F7}"/>
              </a:ext>
            </a:extLst>
          </p:cNvPr>
          <p:cNvGrpSpPr/>
          <p:nvPr userDrawn="1"/>
        </p:nvGrpSpPr>
        <p:grpSpPr>
          <a:xfrm rot="10800000">
            <a:off x="173642" y="3547371"/>
            <a:ext cx="215019" cy="215019"/>
            <a:chOff x="5758249" y="7128479"/>
            <a:chExt cx="215019" cy="215019"/>
          </a:xfrm>
        </p:grpSpPr>
        <p:sp>
          <p:nvSpPr>
            <p:cNvPr id="21" name="Oval 20">
              <a:extLst>
                <a:ext uri="{FF2B5EF4-FFF2-40B4-BE49-F238E27FC236}">
                  <a16:creationId xmlns:a16="http://schemas.microsoft.com/office/drawing/2014/main" id="{A3BB17A6-DFE2-3F48-94A5-1488E1D6457D}"/>
                </a:ext>
              </a:extLst>
            </p:cNvPr>
            <p:cNvSpPr/>
            <p:nvPr/>
          </p:nvSpPr>
          <p:spPr>
            <a:xfrm>
              <a:off x="5758249" y="7128479"/>
              <a:ext cx="215019" cy="215019"/>
            </a:xfrm>
            <a:prstGeom prst="ellipse">
              <a:avLst/>
            </a:prstGeom>
            <a:noFill/>
            <a:ln w="9525" cap="flat" cmpd="sng" algn="ctr">
              <a:solidFill>
                <a:sysClr val="window" lastClr="FFFFFF"/>
              </a:solidFill>
              <a:prstDash val="solid"/>
              <a:miter lim="800000"/>
            </a:ln>
            <a:effectLst/>
          </p:spPr>
          <p:txBody>
            <a:bodyPr rtlCol="0" anchor="t" anchorCtr="0"/>
            <a:lstStyle/>
            <a:p>
              <a:pPr marL="0" marR="0" lvl="0" indent="0" algn="ctr" defTabSz="914139"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black"/>
                </a:solidFill>
                <a:effectLst/>
                <a:uLnTx/>
                <a:uFillTx/>
                <a:latin typeface="Calibri" panose="020F0502020204030204"/>
                <a:ea typeface="+mn-ea"/>
                <a:cs typeface="+mn-cs"/>
              </a:endParaRPr>
            </a:p>
          </p:txBody>
        </p:sp>
        <p:cxnSp>
          <p:nvCxnSpPr>
            <p:cNvPr id="22" name="Straight Connector 21">
              <a:extLst>
                <a:ext uri="{FF2B5EF4-FFF2-40B4-BE49-F238E27FC236}">
                  <a16:creationId xmlns:a16="http://schemas.microsoft.com/office/drawing/2014/main" id="{7035876D-E7CD-8C41-8052-10A7CFE3A66B}"/>
                </a:ext>
              </a:extLst>
            </p:cNvPr>
            <p:cNvCxnSpPr/>
            <p:nvPr/>
          </p:nvCxnSpPr>
          <p:spPr>
            <a:xfrm>
              <a:off x="5803846" y="7235988"/>
              <a:ext cx="123825" cy="0"/>
            </a:xfrm>
            <a:prstGeom prst="line">
              <a:avLst/>
            </a:prstGeom>
            <a:noFill/>
            <a:ln w="9525" cap="flat" cmpd="sng" algn="ctr">
              <a:solidFill>
                <a:sysClr val="window" lastClr="FFFFFF"/>
              </a:solidFill>
              <a:prstDash val="solid"/>
              <a:miter lim="800000"/>
              <a:tailEnd type="none"/>
            </a:ln>
            <a:effectLst/>
          </p:spPr>
        </p:cxnSp>
        <p:sp>
          <p:nvSpPr>
            <p:cNvPr id="23" name="Rectangle 11">
              <a:extLst>
                <a:ext uri="{FF2B5EF4-FFF2-40B4-BE49-F238E27FC236}">
                  <a16:creationId xmlns:a16="http://schemas.microsoft.com/office/drawing/2014/main" id="{4094B3D7-0406-A540-8445-9B565193A9AC}"/>
                </a:ext>
              </a:extLst>
            </p:cNvPr>
            <p:cNvSpPr/>
            <p:nvPr/>
          </p:nvSpPr>
          <p:spPr>
            <a:xfrm rot="18900000">
              <a:off x="5842007" y="7200505"/>
              <a:ext cx="70967" cy="70967"/>
            </a:xfrm>
            <a:custGeom>
              <a:avLst/>
              <a:gdLst>
                <a:gd name="connsiteX0" fmla="*/ 0 w 149225"/>
                <a:gd name="connsiteY0" fmla="*/ 0 h 149225"/>
                <a:gd name="connsiteX1" fmla="*/ 149225 w 149225"/>
                <a:gd name="connsiteY1" fmla="*/ 0 h 149225"/>
                <a:gd name="connsiteX2" fmla="*/ 149225 w 149225"/>
                <a:gd name="connsiteY2" fmla="*/ 149225 h 149225"/>
                <a:gd name="connsiteX3" fmla="*/ 0 w 149225"/>
                <a:gd name="connsiteY3" fmla="*/ 149225 h 149225"/>
                <a:gd name="connsiteX4" fmla="*/ 0 w 149225"/>
                <a:gd name="connsiteY4" fmla="*/ 0 h 149225"/>
                <a:gd name="connsiteX0" fmla="*/ 0 w 149225"/>
                <a:gd name="connsiteY0" fmla="*/ 149225 h 149225"/>
                <a:gd name="connsiteX1" fmla="*/ 149225 w 149225"/>
                <a:gd name="connsiteY1" fmla="*/ 0 h 149225"/>
                <a:gd name="connsiteX2" fmla="*/ 149225 w 149225"/>
                <a:gd name="connsiteY2" fmla="*/ 149225 h 149225"/>
                <a:gd name="connsiteX3" fmla="*/ 0 w 149225"/>
                <a:gd name="connsiteY3" fmla="*/ 149225 h 149225"/>
                <a:gd name="connsiteX0" fmla="*/ 149225 w 240665"/>
                <a:gd name="connsiteY0" fmla="*/ 0 h 149225"/>
                <a:gd name="connsiteX1" fmla="*/ 149225 w 240665"/>
                <a:gd name="connsiteY1" fmla="*/ 149225 h 149225"/>
                <a:gd name="connsiteX2" fmla="*/ 0 w 240665"/>
                <a:gd name="connsiteY2" fmla="*/ 149225 h 149225"/>
                <a:gd name="connsiteX3" fmla="*/ 240665 w 240665"/>
                <a:gd name="connsiteY3" fmla="*/ 91440 h 149225"/>
                <a:gd name="connsiteX0" fmla="*/ 149225 w 149225"/>
                <a:gd name="connsiteY0" fmla="*/ 0 h 149225"/>
                <a:gd name="connsiteX1" fmla="*/ 149225 w 149225"/>
                <a:gd name="connsiteY1" fmla="*/ 149225 h 149225"/>
                <a:gd name="connsiteX2" fmla="*/ 0 w 149225"/>
                <a:gd name="connsiteY2" fmla="*/ 149225 h 149225"/>
              </a:gdLst>
              <a:ahLst/>
              <a:cxnLst>
                <a:cxn ang="0">
                  <a:pos x="connsiteX0" y="connsiteY0"/>
                </a:cxn>
                <a:cxn ang="0">
                  <a:pos x="connsiteX1" y="connsiteY1"/>
                </a:cxn>
                <a:cxn ang="0">
                  <a:pos x="connsiteX2" y="connsiteY2"/>
                </a:cxn>
              </a:cxnLst>
              <a:rect l="l" t="t" r="r" b="b"/>
              <a:pathLst>
                <a:path w="149225" h="149225">
                  <a:moveTo>
                    <a:pt x="149225" y="0"/>
                  </a:moveTo>
                  <a:lnTo>
                    <a:pt x="149225" y="149225"/>
                  </a:lnTo>
                  <a:lnTo>
                    <a:pt x="0" y="149225"/>
                  </a:lnTo>
                </a:path>
              </a:pathLst>
            </a:custGeom>
            <a:noFill/>
            <a:ln w="9525" cap="flat" cmpd="sng" algn="ctr">
              <a:solidFill>
                <a:sysClr val="window" lastClr="FFFFFF"/>
              </a:solidFill>
              <a:prstDash val="solid"/>
              <a:miter lim="800000"/>
            </a:ln>
            <a:effectLst/>
          </p:spPr>
          <p:txBody>
            <a:bodyPr rtlCol="0" anchor="t" anchorCtr="0"/>
            <a:lstStyle/>
            <a:p>
              <a:pPr marL="0" marR="0" lvl="0" indent="0" algn="ctr" defTabSz="914139"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black"/>
                </a:solidFill>
                <a:effectLst/>
                <a:uLnTx/>
                <a:uFillTx/>
                <a:latin typeface="Calibri" panose="020F0502020204030204"/>
                <a:ea typeface="+mn-ea"/>
                <a:cs typeface="+mn-cs"/>
              </a:endParaRPr>
            </a:p>
          </p:txBody>
        </p:sp>
      </p:grpSp>
      <p:sp>
        <p:nvSpPr>
          <p:cNvPr id="24" name="Action Button: Custom 23">
            <a:hlinkClick r:id="" action="ppaction://hlinkshowjump?jump=nextslide" highlightClick="1"/>
            <a:extLst>
              <a:ext uri="{FF2B5EF4-FFF2-40B4-BE49-F238E27FC236}">
                <a16:creationId xmlns:a16="http://schemas.microsoft.com/office/drawing/2014/main" id="{98B416AA-6970-204F-9803-82312AEF99A3}"/>
              </a:ext>
            </a:extLst>
          </p:cNvPr>
          <p:cNvSpPr/>
          <p:nvPr userDrawn="1"/>
        </p:nvSpPr>
        <p:spPr>
          <a:xfrm>
            <a:off x="160549" y="3095627"/>
            <a:ext cx="241211" cy="241211"/>
          </a:xfrm>
          <a:prstGeom prst="actionButtonBlank">
            <a:avLst/>
          </a:prstGeom>
          <a:noFill/>
          <a:ln w="12700" cap="flat" cmpd="sng" algn="ctr">
            <a:noFill/>
            <a:prstDash val="solid"/>
            <a:miter lim="800000"/>
          </a:ln>
          <a:effectLst/>
        </p:spPr>
        <p:txBody>
          <a:bodyPr rtlCol="0" anchor="ctr"/>
          <a:lstStyle/>
          <a:p>
            <a:pPr marL="0" marR="0" lvl="0" indent="0" algn="ctr" defTabSz="914139"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5" name="Action Button: Custom 24">
            <a:hlinkClick r:id="" action="ppaction://hlinkshowjump?jump=previousslide" highlightClick="1"/>
            <a:extLst>
              <a:ext uri="{FF2B5EF4-FFF2-40B4-BE49-F238E27FC236}">
                <a16:creationId xmlns:a16="http://schemas.microsoft.com/office/drawing/2014/main" id="{7A387E38-D922-FA48-996E-C4EBA78D6D4A}"/>
              </a:ext>
            </a:extLst>
          </p:cNvPr>
          <p:cNvSpPr/>
          <p:nvPr userDrawn="1"/>
        </p:nvSpPr>
        <p:spPr>
          <a:xfrm>
            <a:off x="160549" y="3534274"/>
            <a:ext cx="241211" cy="241211"/>
          </a:xfrm>
          <a:prstGeom prst="actionButtonBlank">
            <a:avLst/>
          </a:prstGeom>
          <a:noFill/>
          <a:ln w="12700" cap="flat" cmpd="sng" algn="ctr">
            <a:noFill/>
            <a:prstDash val="solid"/>
            <a:miter lim="800000"/>
          </a:ln>
          <a:effectLst/>
        </p:spPr>
        <p:txBody>
          <a:bodyPr rtlCol="0" anchor="ctr"/>
          <a:lstStyle/>
          <a:p>
            <a:pPr marL="0" marR="0" lvl="0" indent="0" algn="ctr" defTabSz="914139"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6" name="TextBox 5"/>
          <p:cNvSpPr txBox="1"/>
          <p:nvPr userDrawn="1"/>
        </p:nvSpPr>
        <p:spPr>
          <a:xfrm>
            <a:off x="12295" y="7286207"/>
            <a:ext cx="537719" cy="153888"/>
          </a:xfrm>
          <a:prstGeom prst="rect">
            <a:avLst/>
          </a:prstGeom>
          <a:noFill/>
        </p:spPr>
        <p:txBody>
          <a:bodyPr wrap="square" lIns="0" tIns="0" rIns="0" bIns="0" rtlCol="0">
            <a:spAutoFit/>
          </a:bodyPr>
          <a:lstStyle/>
          <a:p>
            <a:pPr algn="ctr" fontAlgn="auto">
              <a:spcBef>
                <a:spcPts val="0"/>
              </a:spcBef>
              <a:spcAft>
                <a:spcPts val="0"/>
              </a:spcAft>
              <a:buClrTx/>
              <a:buSzTx/>
              <a:buFontTx/>
              <a:buNone/>
            </a:pPr>
            <a:fld id="{EE81E157-A1D1-4641-98C5-E5C73AF14974}" type="slidenum">
              <a:rPr lang="en-US" sz="1000" b="1" smtClean="0">
                <a:solidFill>
                  <a:schemeClr val="tx2"/>
                </a:solidFill>
                <a:latin typeface="EYInterstate" panose="02000503020000020004" pitchFamily="2" charset="0"/>
              </a:rPr>
              <a:pPr algn="ctr" fontAlgn="auto">
                <a:spcBef>
                  <a:spcPts val="0"/>
                </a:spcBef>
                <a:spcAft>
                  <a:spcPts val="0"/>
                </a:spcAft>
                <a:buClrTx/>
                <a:buSzTx/>
                <a:buFontTx/>
                <a:buNone/>
              </a:pPr>
              <a:t>‹#›</a:t>
            </a:fld>
            <a:endParaRPr lang="en-US" sz="1000" b="1">
              <a:solidFill>
                <a:schemeClr val="tx2"/>
              </a:solidFill>
              <a:latin typeface="EYInterstate" panose="02000503020000020004" pitchFamily="2" charset="0"/>
            </a:endParaRPr>
          </a:p>
        </p:txBody>
      </p:sp>
    </p:spTree>
    <p:extLst>
      <p:ext uri="{BB962C8B-B14F-4D97-AF65-F5344CB8AC3E}">
        <p14:creationId xmlns:p14="http://schemas.microsoft.com/office/powerpoint/2010/main" val="2951875382"/>
      </p:ext>
    </p:extLst>
  </p:cSld>
  <p:clrMap bg1="lt1" tx1="dk1" bg2="lt2" tx2="dk2" accent1="accent1" accent2="accent2" accent3="accent3" accent4="accent4" accent5="accent5" accent6="accent6" hlink="hlink" folHlink="folHlink"/>
  <p:sldLayoutIdLst>
    <p:sldLayoutId id="2147484223" r:id="rId1"/>
    <p:sldLayoutId id="2147484224" r:id="rId2"/>
    <p:sldLayoutId id="2147484225" r:id="rId3"/>
    <p:sldLayoutId id="2147484226" r:id="rId4"/>
    <p:sldLayoutId id="2147484227" r:id="rId5"/>
  </p:sldLayoutIdLst>
  <p:hf hdr="0" ftr="0" dt="0"/>
  <p:txStyles>
    <p:titleStyle>
      <a:lvl1pPr algn="l" defTabSz="1266376" rtl="0" eaLnBrk="1" latinLnBrk="0" hangingPunct="1">
        <a:lnSpc>
          <a:spcPct val="85000"/>
        </a:lnSpc>
        <a:spcBef>
          <a:spcPct val="0"/>
        </a:spcBef>
        <a:buNone/>
        <a:defRPr sz="2400" b="1" i="0" kern="1200">
          <a:solidFill>
            <a:schemeClr val="bg1"/>
          </a:solidFill>
          <a:latin typeface="EYInterstate" panose="02000503020000020004" pitchFamily="2" charset="0"/>
          <a:ea typeface="+mj-ea"/>
          <a:cs typeface="Arial" pitchFamily="34" charset="0"/>
        </a:defRPr>
      </a:lvl1pPr>
    </p:titleStyle>
    <p:bodyStyle>
      <a:lvl1pPr marL="493888" indent="-493888" algn="l" defTabSz="1266376" rtl="0" eaLnBrk="1" latinLnBrk="0" hangingPunct="1">
        <a:spcBef>
          <a:spcPct val="20000"/>
        </a:spcBef>
        <a:buClr>
          <a:schemeClr val="tx1"/>
        </a:buClr>
        <a:buSzPct val="70000"/>
        <a:buFont typeface="Arial" pitchFamily="34" charset="0"/>
        <a:buChar char="►"/>
        <a:defRPr sz="2493" b="0" i="0" kern="1200">
          <a:solidFill>
            <a:schemeClr val="bg1"/>
          </a:solidFill>
          <a:latin typeface="EYInterstate Light" panose="02000506000000020004" pitchFamily="2" charset="0"/>
          <a:ea typeface="+mn-ea"/>
          <a:cs typeface="+mn-cs"/>
        </a:defRPr>
      </a:lvl1pPr>
      <a:lvl2pPr marL="987772" indent="-493888" algn="l" defTabSz="1266376" rtl="0" eaLnBrk="1" latinLnBrk="0" hangingPunct="1">
        <a:spcBef>
          <a:spcPct val="20000"/>
        </a:spcBef>
        <a:buClr>
          <a:schemeClr val="tx1"/>
        </a:buClr>
        <a:buSzPct val="70000"/>
        <a:buFont typeface="Arial" pitchFamily="34" charset="0"/>
        <a:buChar char="►"/>
        <a:defRPr sz="2000" b="0" i="0" kern="1200">
          <a:solidFill>
            <a:schemeClr val="bg1"/>
          </a:solidFill>
          <a:latin typeface="EYInterstate Light" panose="02000506000000020004" pitchFamily="2" charset="0"/>
          <a:ea typeface="+mn-ea"/>
          <a:cs typeface="+mn-cs"/>
        </a:defRPr>
      </a:lvl2pPr>
      <a:lvl3pPr marL="1481660" indent="-493888" algn="l" defTabSz="1266376" rtl="0" eaLnBrk="1" latinLnBrk="0" hangingPunct="1">
        <a:spcBef>
          <a:spcPct val="20000"/>
        </a:spcBef>
        <a:buClr>
          <a:schemeClr val="tx1"/>
        </a:buClr>
        <a:buSzPct val="70000"/>
        <a:buFont typeface="Arial" pitchFamily="34" charset="0"/>
        <a:buChar char="►"/>
        <a:defRPr sz="1799" b="0" i="0" kern="1200">
          <a:solidFill>
            <a:schemeClr val="bg1"/>
          </a:solidFill>
          <a:latin typeface="EYInterstate Light" panose="02000506000000020004" pitchFamily="2" charset="0"/>
          <a:ea typeface="+mn-ea"/>
          <a:cs typeface="+mn-cs"/>
        </a:defRPr>
      </a:lvl3pPr>
      <a:lvl4pPr marL="1975545" indent="-493888" algn="l" defTabSz="1266376" rtl="0" eaLnBrk="1" latinLnBrk="0" hangingPunct="1">
        <a:spcBef>
          <a:spcPct val="20000"/>
        </a:spcBef>
        <a:buClr>
          <a:schemeClr val="tx1"/>
        </a:buClr>
        <a:buSzPct val="70000"/>
        <a:buFont typeface="Arial" pitchFamily="34" charset="0"/>
        <a:buChar char="►"/>
        <a:defRPr sz="1600" b="0" i="0" kern="1200">
          <a:solidFill>
            <a:schemeClr val="bg1"/>
          </a:solidFill>
          <a:latin typeface="EYInterstate Light" panose="02000506000000020004" pitchFamily="2" charset="0"/>
          <a:ea typeface="+mn-ea"/>
          <a:cs typeface="+mn-cs"/>
        </a:defRPr>
      </a:lvl4pPr>
      <a:lvl5pPr marL="2469430" indent="-493888" algn="l" defTabSz="1266376" rtl="0" eaLnBrk="1" latinLnBrk="0" hangingPunct="1">
        <a:spcBef>
          <a:spcPct val="20000"/>
        </a:spcBef>
        <a:buClr>
          <a:schemeClr val="tx1"/>
        </a:buClr>
        <a:buSzPct val="70000"/>
        <a:buFont typeface="Arial" pitchFamily="34" charset="0"/>
        <a:buChar char="►"/>
        <a:defRPr sz="1400" b="0" i="0" kern="1200">
          <a:solidFill>
            <a:schemeClr val="bg1"/>
          </a:solidFill>
          <a:latin typeface="EYInterstate Light" panose="02000506000000020004" pitchFamily="2" charset="0"/>
          <a:ea typeface="+mn-ea"/>
          <a:cs typeface="+mn-cs"/>
        </a:defRPr>
      </a:lvl5pPr>
      <a:lvl6pPr marL="3482533" indent="-316595" algn="l" defTabSz="1266376" rtl="0" eaLnBrk="1" latinLnBrk="0" hangingPunct="1">
        <a:spcBef>
          <a:spcPct val="20000"/>
        </a:spcBef>
        <a:buFont typeface="Arial" pitchFamily="34" charset="0"/>
        <a:buChar char="•"/>
        <a:defRPr sz="2771" kern="1200">
          <a:solidFill>
            <a:schemeClr val="tx1"/>
          </a:solidFill>
          <a:latin typeface="+mn-lt"/>
          <a:ea typeface="+mn-ea"/>
          <a:cs typeface="+mn-cs"/>
        </a:defRPr>
      </a:lvl6pPr>
      <a:lvl7pPr marL="4115721" indent="-316595" algn="l" defTabSz="1266376" rtl="0" eaLnBrk="1" latinLnBrk="0" hangingPunct="1">
        <a:spcBef>
          <a:spcPct val="20000"/>
        </a:spcBef>
        <a:buFont typeface="Arial" pitchFamily="34" charset="0"/>
        <a:buChar char="•"/>
        <a:defRPr sz="2771" kern="1200">
          <a:solidFill>
            <a:schemeClr val="tx1"/>
          </a:solidFill>
          <a:latin typeface="+mn-lt"/>
          <a:ea typeface="+mn-ea"/>
          <a:cs typeface="+mn-cs"/>
        </a:defRPr>
      </a:lvl7pPr>
      <a:lvl8pPr marL="4748910" indent="-316595" algn="l" defTabSz="1266376" rtl="0" eaLnBrk="1" latinLnBrk="0" hangingPunct="1">
        <a:spcBef>
          <a:spcPct val="20000"/>
        </a:spcBef>
        <a:buFont typeface="Arial" pitchFamily="34" charset="0"/>
        <a:buChar char="•"/>
        <a:defRPr sz="2771" kern="1200">
          <a:solidFill>
            <a:schemeClr val="tx1"/>
          </a:solidFill>
          <a:latin typeface="+mn-lt"/>
          <a:ea typeface="+mn-ea"/>
          <a:cs typeface="+mn-cs"/>
        </a:defRPr>
      </a:lvl8pPr>
      <a:lvl9pPr marL="5382095" indent="-316595" algn="l" defTabSz="1266376" rtl="0" eaLnBrk="1" latinLnBrk="0" hangingPunct="1">
        <a:spcBef>
          <a:spcPct val="20000"/>
        </a:spcBef>
        <a:buFont typeface="Arial" pitchFamily="34" charset="0"/>
        <a:buChar char="•"/>
        <a:defRPr sz="2771" kern="1200">
          <a:solidFill>
            <a:schemeClr val="tx1"/>
          </a:solidFill>
          <a:latin typeface="+mn-lt"/>
          <a:ea typeface="+mn-ea"/>
          <a:cs typeface="+mn-cs"/>
        </a:defRPr>
      </a:lvl9pPr>
    </p:bodyStyle>
    <p:otherStyle>
      <a:defPPr>
        <a:defRPr lang="en-US"/>
      </a:defPPr>
      <a:lvl1pPr marL="0" algn="l" defTabSz="1266376" rtl="0" eaLnBrk="1" latinLnBrk="0" hangingPunct="1">
        <a:defRPr sz="2493" kern="1200">
          <a:solidFill>
            <a:schemeClr val="tx1"/>
          </a:solidFill>
          <a:latin typeface="+mn-lt"/>
          <a:ea typeface="+mn-ea"/>
          <a:cs typeface="+mn-cs"/>
        </a:defRPr>
      </a:lvl1pPr>
      <a:lvl2pPr marL="633187" algn="l" defTabSz="1266376" rtl="0" eaLnBrk="1" latinLnBrk="0" hangingPunct="1">
        <a:defRPr sz="2493" kern="1200">
          <a:solidFill>
            <a:schemeClr val="tx1"/>
          </a:solidFill>
          <a:latin typeface="+mn-lt"/>
          <a:ea typeface="+mn-ea"/>
          <a:cs typeface="+mn-cs"/>
        </a:defRPr>
      </a:lvl2pPr>
      <a:lvl3pPr marL="1266376" algn="l" defTabSz="1266376" rtl="0" eaLnBrk="1" latinLnBrk="0" hangingPunct="1">
        <a:defRPr sz="2493" kern="1200">
          <a:solidFill>
            <a:schemeClr val="tx1"/>
          </a:solidFill>
          <a:latin typeface="+mn-lt"/>
          <a:ea typeface="+mn-ea"/>
          <a:cs typeface="+mn-cs"/>
        </a:defRPr>
      </a:lvl3pPr>
      <a:lvl4pPr marL="1899563" algn="l" defTabSz="1266376" rtl="0" eaLnBrk="1" latinLnBrk="0" hangingPunct="1">
        <a:defRPr sz="2493" kern="1200">
          <a:solidFill>
            <a:schemeClr val="tx1"/>
          </a:solidFill>
          <a:latin typeface="+mn-lt"/>
          <a:ea typeface="+mn-ea"/>
          <a:cs typeface="+mn-cs"/>
        </a:defRPr>
      </a:lvl4pPr>
      <a:lvl5pPr marL="2532752" algn="l" defTabSz="1266376" rtl="0" eaLnBrk="1" latinLnBrk="0" hangingPunct="1">
        <a:defRPr sz="2493" kern="1200">
          <a:solidFill>
            <a:schemeClr val="tx1"/>
          </a:solidFill>
          <a:latin typeface="+mn-lt"/>
          <a:ea typeface="+mn-ea"/>
          <a:cs typeface="+mn-cs"/>
        </a:defRPr>
      </a:lvl5pPr>
      <a:lvl6pPr marL="3165939" algn="l" defTabSz="1266376" rtl="0" eaLnBrk="1" latinLnBrk="0" hangingPunct="1">
        <a:defRPr sz="2493" kern="1200">
          <a:solidFill>
            <a:schemeClr val="tx1"/>
          </a:solidFill>
          <a:latin typeface="+mn-lt"/>
          <a:ea typeface="+mn-ea"/>
          <a:cs typeface="+mn-cs"/>
        </a:defRPr>
      </a:lvl6pPr>
      <a:lvl7pPr marL="3799125" algn="l" defTabSz="1266376" rtl="0" eaLnBrk="1" latinLnBrk="0" hangingPunct="1">
        <a:defRPr sz="2493" kern="1200">
          <a:solidFill>
            <a:schemeClr val="tx1"/>
          </a:solidFill>
          <a:latin typeface="+mn-lt"/>
          <a:ea typeface="+mn-ea"/>
          <a:cs typeface="+mn-cs"/>
        </a:defRPr>
      </a:lvl7pPr>
      <a:lvl8pPr marL="4432315" algn="l" defTabSz="1266376" rtl="0" eaLnBrk="1" latinLnBrk="0" hangingPunct="1">
        <a:defRPr sz="2493" kern="1200">
          <a:solidFill>
            <a:schemeClr val="tx1"/>
          </a:solidFill>
          <a:latin typeface="+mn-lt"/>
          <a:ea typeface="+mn-ea"/>
          <a:cs typeface="+mn-cs"/>
        </a:defRPr>
      </a:lvl8pPr>
      <a:lvl9pPr marL="5065500" algn="l" defTabSz="1266376" rtl="0" eaLnBrk="1" latinLnBrk="0" hangingPunct="1">
        <a:defRPr sz="2493"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67.xml"/><Relationship Id="rId1" Type="http://schemas.openxmlformats.org/officeDocument/2006/relationships/vmlDrawing" Target="../drawings/vmlDrawing39.vml"/><Relationship Id="rId6" Type="http://schemas.openxmlformats.org/officeDocument/2006/relationships/image" Target="../media/image26.png"/><Relationship Id="rId5" Type="http://schemas.openxmlformats.org/officeDocument/2006/relationships/image" Target="../media/image9.emf"/><Relationship Id="rId4" Type="http://schemas.openxmlformats.org/officeDocument/2006/relationships/oleObject" Target="../embeddings/oleObject39.bin"/></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57.png"/><Relationship Id="rId1" Type="http://schemas.openxmlformats.org/officeDocument/2006/relationships/slideLayout" Target="../slideLayouts/slideLayout7.xml"/><Relationship Id="rId4" Type="http://schemas.openxmlformats.org/officeDocument/2006/relationships/image" Target="../media/image59.svg"/></Relationships>
</file>

<file path=ppt/slides/_rels/slide13.xml.rels><?xml version="1.0" encoding="UTF-8" standalone="yes"?>
<Relationships xmlns="http://schemas.openxmlformats.org/package/2006/relationships"><Relationship Id="rId3" Type="http://schemas.openxmlformats.org/officeDocument/2006/relationships/tags" Target="../tags/tag79.xml"/><Relationship Id="rId7" Type="http://schemas.openxmlformats.org/officeDocument/2006/relationships/image" Target="../media/image32.emf"/><Relationship Id="rId2" Type="http://schemas.openxmlformats.org/officeDocument/2006/relationships/tags" Target="../tags/tag78.xml"/><Relationship Id="rId1" Type="http://schemas.openxmlformats.org/officeDocument/2006/relationships/vmlDrawing" Target="../drawings/vmlDrawing45.vml"/><Relationship Id="rId6" Type="http://schemas.openxmlformats.org/officeDocument/2006/relationships/oleObject" Target="../embeddings/oleObject45.bin"/><Relationship Id="rId5" Type="http://schemas.openxmlformats.org/officeDocument/2006/relationships/notesSlide" Target="../notesSlides/notesSlide6.xml"/><Relationship Id="rId4" Type="http://schemas.openxmlformats.org/officeDocument/2006/relationships/slideLayout" Target="../slideLayouts/slideLayout8.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3" Type="http://schemas.openxmlformats.org/officeDocument/2006/relationships/tags" Target="../tags/tag81.xml"/><Relationship Id="rId7" Type="http://schemas.openxmlformats.org/officeDocument/2006/relationships/image" Target="../media/image32.emf"/><Relationship Id="rId2" Type="http://schemas.openxmlformats.org/officeDocument/2006/relationships/tags" Target="../tags/tag80.xml"/><Relationship Id="rId1" Type="http://schemas.openxmlformats.org/officeDocument/2006/relationships/vmlDrawing" Target="../drawings/vmlDrawing46.vml"/><Relationship Id="rId6" Type="http://schemas.openxmlformats.org/officeDocument/2006/relationships/oleObject" Target="../embeddings/oleObject46.bin"/><Relationship Id="rId5" Type="http://schemas.openxmlformats.org/officeDocument/2006/relationships/notesSlide" Target="../notesSlides/notesSlide8.xml"/><Relationship Id="rId4" Type="http://schemas.openxmlformats.org/officeDocument/2006/relationships/slideLayout" Target="../slideLayouts/slideLayout8.xml"/></Relationships>
</file>

<file path=ppt/slides/_rels/slide17.xml.rels><?xml version="1.0" encoding="UTF-8" standalone="yes"?>
<Relationships xmlns="http://schemas.openxmlformats.org/package/2006/relationships"><Relationship Id="rId8" Type="http://schemas.openxmlformats.org/officeDocument/2006/relationships/image" Target="../media/image64.jpg"/><Relationship Id="rId13" Type="http://schemas.openxmlformats.org/officeDocument/2006/relationships/image" Target="../media/image68.jpeg"/><Relationship Id="rId3" Type="http://schemas.openxmlformats.org/officeDocument/2006/relationships/image" Target="../media/image60.jpeg"/><Relationship Id="rId7" Type="http://schemas.openxmlformats.org/officeDocument/2006/relationships/image" Target="../media/image63.jpeg"/><Relationship Id="rId12" Type="http://schemas.microsoft.com/office/2007/relationships/hdphoto" Target="../media/hdphoto3.wdp"/><Relationship Id="rId2" Type="http://schemas.openxmlformats.org/officeDocument/2006/relationships/notesSlide" Target="../notesSlides/notesSlide9.xml"/><Relationship Id="rId1" Type="http://schemas.openxmlformats.org/officeDocument/2006/relationships/slideLayout" Target="../slideLayouts/slideLayout2.xml"/><Relationship Id="rId6" Type="http://schemas.openxmlformats.org/officeDocument/2006/relationships/image" Target="../media/image62.png"/><Relationship Id="rId11" Type="http://schemas.openxmlformats.org/officeDocument/2006/relationships/image" Target="../media/image67.png"/><Relationship Id="rId5" Type="http://schemas.microsoft.com/office/2007/relationships/hdphoto" Target="../media/hdphoto2.wdp"/><Relationship Id="rId10" Type="http://schemas.openxmlformats.org/officeDocument/2006/relationships/image" Target="../media/image66.jpg"/><Relationship Id="rId4" Type="http://schemas.openxmlformats.org/officeDocument/2006/relationships/image" Target="../media/image61.png"/><Relationship Id="rId9" Type="http://schemas.openxmlformats.org/officeDocument/2006/relationships/image" Target="../media/image65.jpeg"/></Relationships>
</file>

<file path=ppt/slides/_rels/slide18.xml.rels><?xml version="1.0" encoding="UTF-8" standalone="yes"?>
<Relationships xmlns="http://schemas.openxmlformats.org/package/2006/relationships"><Relationship Id="rId3" Type="http://schemas.openxmlformats.org/officeDocument/2006/relationships/image" Target="../media/image60.jpeg"/><Relationship Id="rId2" Type="http://schemas.openxmlformats.org/officeDocument/2006/relationships/notesSlide" Target="../notesSlides/notesSlide10.xml"/><Relationship Id="rId1" Type="http://schemas.openxmlformats.org/officeDocument/2006/relationships/slideLayout" Target="../slideLayouts/slideLayout2.xml"/><Relationship Id="rId5" Type="http://schemas.microsoft.com/office/2007/relationships/hdphoto" Target="../media/hdphoto2.wdp"/><Relationship Id="rId4" Type="http://schemas.openxmlformats.org/officeDocument/2006/relationships/image" Target="../media/image61.png"/></Relationships>
</file>

<file path=ppt/slides/_rels/slide19.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11.xml"/><Relationship Id="rId1" Type="http://schemas.openxmlformats.org/officeDocument/2006/relationships/slideLayout" Target="../slideLayouts/slideLayout2.xml"/><Relationship Id="rId5" Type="http://schemas.openxmlformats.org/officeDocument/2006/relationships/image" Target="../media/image68.jpeg"/><Relationship Id="rId4" Type="http://schemas.microsoft.com/office/2007/relationships/hdphoto" Target="../media/hdphoto3.wdp"/></Relationships>
</file>

<file path=ppt/slides/_rels/slide2.xml.rels><?xml version="1.0" encoding="UTF-8" standalone="yes"?>
<Relationships xmlns="http://schemas.openxmlformats.org/package/2006/relationships"><Relationship Id="rId3" Type="http://schemas.microsoft.com/office/2007/relationships/hdphoto" Target="../media/hdphoto1.wdp"/><Relationship Id="rId7" Type="http://schemas.openxmlformats.org/officeDocument/2006/relationships/image" Target="../media/image31.png"/><Relationship Id="rId2" Type="http://schemas.openxmlformats.org/officeDocument/2006/relationships/image" Target="../media/image27.png"/><Relationship Id="rId1" Type="http://schemas.openxmlformats.org/officeDocument/2006/relationships/slideLayout" Target="../slideLayouts/slideLayout76.xml"/><Relationship Id="rId6" Type="http://schemas.openxmlformats.org/officeDocument/2006/relationships/image" Target="../media/image30.png"/><Relationship Id="rId5" Type="http://schemas.openxmlformats.org/officeDocument/2006/relationships/image" Target="../media/image29.svg"/><Relationship Id="rId4" Type="http://schemas.openxmlformats.org/officeDocument/2006/relationships/image" Target="../media/image28.png"/></Relationships>
</file>

<file path=ppt/slides/_rels/slide20.xml.rels><?xml version="1.0" encoding="UTF-8" standalone="yes"?>
<Relationships xmlns="http://schemas.openxmlformats.org/package/2006/relationships"><Relationship Id="rId3" Type="http://schemas.openxmlformats.org/officeDocument/2006/relationships/image" Target="../media/image63.jpeg"/><Relationship Id="rId2" Type="http://schemas.openxmlformats.org/officeDocument/2006/relationships/notesSlide" Target="../notesSlides/notesSlide12.xml"/><Relationship Id="rId1" Type="http://schemas.openxmlformats.org/officeDocument/2006/relationships/slideLayout" Target="../slideLayouts/slideLayout2.xml"/><Relationship Id="rId4" Type="http://schemas.openxmlformats.org/officeDocument/2006/relationships/image" Target="../media/image64.jpg"/></Relationships>
</file>

<file path=ppt/slides/_rels/slide21.xml.rels><?xml version="1.0" encoding="UTF-8" standalone="yes"?>
<Relationships xmlns="http://schemas.openxmlformats.org/package/2006/relationships"><Relationship Id="rId3" Type="http://schemas.openxmlformats.org/officeDocument/2006/relationships/image" Target="../media/image65.jpeg"/><Relationship Id="rId2" Type="http://schemas.openxmlformats.org/officeDocument/2006/relationships/notesSlide" Target="../notesSlides/notesSlide13.xml"/><Relationship Id="rId1" Type="http://schemas.openxmlformats.org/officeDocument/2006/relationships/slideLayout" Target="../slideLayouts/slideLayout2.xml"/><Relationship Id="rId4" Type="http://schemas.openxmlformats.org/officeDocument/2006/relationships/image" Target="../media/image66.jpg"/></Relationships>
</file>

<file path=ppt/slides/_rels/slide22.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tags" Target="../tags/tag83.xml"/><Relationship Id="rId7" Type="http://schemas.openxmlformats.org/officeDocument/2006/relationships/image" Target="../media/image32.emf"/><Relationship Id="rId2" Type="http://schemas.openxmlformats.org/officeDocument/2006/relationships/tags" Target="../tags/tag82.xml"/><Relationship Id="rId1" Type="http://schemas.openxmlformats.org/officeDocument/2006/relationships/vmlDrawing" Target="../drawings/vmlDrawing47.vml"/><Relationship Id="rId6" Type="http://schemas.openxmlformats.org/officeDocument/2006/relationships/oleObject" Target="../embeddings/oleObject47.bin"/><Relationship Id="rId5" Type="http://schemas.openxmlformats.org/officeDocument/2006/relationships/notesSlide" Target="../notesSlides/notesSlide15.xml"/><Relationship Id="rId4" Type="http://schemas.openxmlformats.org/officeDocument/2006/relationships/slideLayout" Target="../slideLayouts/slideLayout8.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3" Type="http://schemas.openxmlformats.org/officeDocument/2006/relationships/tags" Target="../tags/tag85.xml"/><Relationship Id="rId7" Type="http://schemas.openxmlformats.org/officeDocument/2006/relationships/image" Target="../media/image32.emf"/><Relationship Id="rId2" Type="http://schemas.openxmlformats.org/officeDocument/2006/relationships/tags" Target="../tags/tag84.xml"/><Relationship Id="rId1" Type="http://schemas.openxmlformats.org/officeDocument/2006/relationships/vmlDrawing" Target="../drawings/vmlDrawing48.vml"/><Relationship Id="rId6" Type="http://schemas.openxmlformats.org/officeDocument/2006/relationships/oleObject" Target="../embeddings/oleObject48.bin"/><Relationship Id="rId5" Type="http://schemas.openxmlformats.org/officeDocument/2006/relationships/notesSlide" Target="../notesSlides/notesSlide16.xml"/><Relationship Id="rId4" Type="http://schemas.openxmlformats.org/officeDocument/2006/relationships/slideLayout" Target="../slideLayouts/slideLayout8.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tags" Target="../tags/tag87.xml"/><Relationship Id="rId7" Type="http://schemas.openxmlformats.org/officeDocument/2006/relationships/image" Target="../media/image32.emf"/><Relationship Id="rId2" Type="http://schemas.openxmlformats.org/officeDocument/2006/relationships/tags" Target="../tags/tag86.xml"/><Relationship Id="rId1" Type="http://schemas.openxmlformats.org/officeDocument/2006/relationships/vmlDrawing" Target="../drawings/vmlDrawing49.vml"/><Relationship Id="rId6" Type="http://schemas.openxmlformats.org/officeDocument/2006/relationships/oleObject" Target="../embeddings/oleObject49.bin"/><Relationship Id="rId5" Type="http://schemas.openxmlformats.org/officeDocument/2006/relationships/notesSlide" Target="../notesSlides/notesSlide17.xml"/><Relationship Id="rId4"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82.xml"/></Relationships>
</file>

<file path=ppt/slides/_rels/slide3.xml.rels><?xml version="1.0" encoding="UTF-8" standalone="yes"?>
<Relationships xmlns="http://schemas.openxmlformats.org/package/2006/relationships"><Relationship Id="rId3" Type="http://schemas.openxmlformats.org/officeDocument/2006/relationships/tags" Target="../tags/tag69.xml"/><Relationship Id="rId7" Type="http://schemas.openxmlformats.org/officeDocument/2006/relationships/image" Target="../media/image32.emf"/><Relationship Id="rId2" Type="http://schemas.openxmlformats.org/officeDocument/2006/relationships/tags" Target="../tags/tag68.xml"/><Relationship Id="rId1" Type="http://schemas.openxmlformats.org/officeDocument/2006/relationships/vmlDrawing" Target="../drawings/vmlDrawing40.vml"/><Relationship Id="rId6" Type="http://schemas.openxmlformats.org/officeDocument/2006/relationships/oleObject" Target="../embeddings/oleObject40.bin"/><Relationship Id="rId5" Type="http://schemas.openxmlformats.org/officeDocument/2006/relationships/notesSlide" Target="../notesSlides/notesSlide1.xml"/><Relationship Id="rId4"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tags" Target="../tags/tag71.xml"/><Relationship Id="rId7" Type="http://schemas.openxmlformats.org/officeDocument/2006/relationships/image" Target="../media/image9.emf"/><Relationship Id="rId2" Type="http://schemas.openxmlformats.org/officeDocument/2006/relationships/tags" Target="../tags/tag70.xml"/><Relationship Id="rId1" Type="http://schemas.openxmlformats.org/officeDocument/2006/relationships/vmlDrawing" Target="../drawings/vmlDrawing41.vml"/><Relationship Id="rId6" Type="http://schemas.openxmlformats.org/officeDocument/2006/relationships/oleObject" Target="../embeddings/oleObject41.bin"/><Relationship Id="rId5" Type="http://schemas.openxmlformats.org/officeDocument/2006/relationships/notesSlide" Target="../notesSlides/notesSlide2.xml"/><Relationship Id="rId10" Type="http://schemas.openxmlformats.org/officeDocument/2006/relationships/image" Target="../media/image35.svg"/><Relationship Id="rId4" Type="http://schemas.openxmlformats.org/officeDocument/2006/relationships/slideLayout" Target="../slideLayouts/slideLayout84.xml"/><Relationship Id="rId9" Type="http://schemas.openxmlformats.org/officeDocument/2006/relationships/image" Target="../media/image34.png"/></Relationships>
</file>

<file path=ppt/slides/_rels/slide5.xml.rels><?xml version="1.0" encoding="UTF-8" standalone="yes"?>
<Relationships xmlns="http://schemas.openxmlformats.org/package/2006/relationships"><Relationship Id="rId3" Type="http://schemas.openxmlformats.org/officeDocument/2006/relationships/tags" Target="../tags/tag73.xml"/><Relationship Id="rId7" Type="http://schemas.openxmlformats.org/officeDocument/2006/relationships/image" Target="../media/image32.emf"/><Relationship Id="rId2" Type="http://schemas.openxmlformats.org/officeDocument/2006/relationships/tags" Target="../tags/tag72.xml"/><Relationship Id="rId1" Type="http://schemas.openxmlformats.org/officeDocument/2006/relationships/vmlDrawing" Target="../drawings/vmlDrawing42.vml"/><Relationship Id="rId6" Type="http://schemas.openxmlformats.org/officeDocument/2006/relationships/oleObject" Target="../embeddings/oleObject42.bin"/><Relationship Id="rId5" Type="http://schemas.openxmlformats.org/officeDocument/2006/relationships/notesSlide" Target="../notesSlides/notesSlide3.xml"/><Relationship Id="rId4"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8" Type="http://schemas.openxmlformats.org/officeDocument/2006/relationships/hyperlink" Target="https://www.ey.com/en_gl/news/2018/02/ey-is-first-to-achieve-the-highest-recognition-in-intelligent-automation-delivery-and-capability-from-blue-prism" TargetMode="External"/><Relationship Id="rId13" Type="http://schemas.openxmlformats.org/officeDocument/2006/relationships/image" Target="../media/image38.png"/><Relationship Id="rId18" Type="http://schemas.openxmlformats.org/officeDocument/2006/relationships/image" Target="../media/image42.svg"/><Relationship Id="rId26" Type="http://schemas.openxmlformats.org/officeDocument/2006/relationships/image" Target="../media/image50.png"/><Relationship Id="rId3" Type="http://schemas.openxmlformats.org/officeDocument/2006/relationships/tags" Target="../tags/tag75.xml"/><Relationship Id="rId21" Type="http://schemas.openxmlformats.org/officeDocument/2006/relationships/image" Target="../media/image45.png"/><Relationship Id="rId7" Type="http://schemas.openxmlformats.org/officeDocument/2006/relationships/image" Target="../media/image9.emf"/><Relationship Id="rId12" Type="http://schemas.openxmlformats.org/officeDocument/2006/relationships/hyperlink" Target="https://www.ey.com/en_gl/news/2019/02/ey-named-a-leader-in-magic-quadrant-for-data-and-analytics-service-providers-worldwide-by-gartner" TargetMode="External"/><Relationship Id="rId17" Type="http://schemas.openxmlformats.org/officeDocument/2006/relationships/image" Target="../media/image41.png"/><Relationship Id="rId25" Type="http://schemas.openxmlformats.org/officeDocument/2006/relationships/image" Target="../media/image49.svg"/><Relationship Id="rId2" Type="http://schemas.openxmlformats.org/officeDocument/2006/relationships/tags" Target="../tags/tag74.xml"/><Relationship Id="rId16" Type="http://schemas.openxmlformats.org/officeDocument/2006/relationships/image" Target="../media/image40.png"/><Relationship Id="rId20" Type="http://schemas.openxmlformats.org/officeDocument/2006/relationships/image" Target="../media/image44.svg"/><Relationship Id="rId1" Type="http://schemas.openxmlformats.org/officeDocument/2006/relationships/vmlDrawing" Target="../drawings/vmlDrawing43.vml"/><Relationship Id="rId6" Type="http://schemas.openxmlformats.org/officeDocument/2006/relationships/oleObject" Target="../embeddings/oleObject43.bin"/><Relationship Id="rId11" Type="http://schemas.openxmlformats.org/officeDocument/2006/relationships/image" Target="../media/image37.png"/><Relationship Id="rId24" Type="http://schemas.openxmlformats.org/officeDocument/2006/relationships/image" Target="../media/image48.png"/><Relationship Id="rId5" Type="http://schemas.openxmlformats.org/officeDocument/2006/relationships/notesSlide" Target="../notesSlides/notesSlide4.xml"/><Relationship Id="rId15" Type="http://schemas.openxmlformats.org/officeDocument/2006/relationships/image" Target="../media/image39.png"/><Relationship Id="rId23" Type="http://schemas.openxmlformats.org/officeDocument/2006/relationships/image" Target="../media/image47.svg"/><Relationship Id="rId10" Type="http://schemas.openxmlformats.org/officeDocument/2006/relationships/hyperlink" Target="https://reprints.forrester.com/#/assets/2/1485/RES142515/reports" TargetMode="External"/><Relationship Id="rId19" Type="http://schemas.openxmlformats.org/officeDocument/2006/relationships/image" Target="../media/image43.png"/><Relationship Id="rId4" Type="http://schemas.openxmlformats.org/officeDocument/2006/relationships/slideLayout" Target="../slideLayouts/slideLayout7.xml"/><Relationship Id="rId9" Type="http://schemas.openxmlformats.org/officeDocument/2006/relationships/image" Target="../media/image36.png"/><Relationship Id="rId14" Type="http://schemas.openxmlformats.org/officeDocument/2006/relationships/hyperlink" Target="https://www.ey.com/en_gl/news/2018/06/ey-named-a-worldwide-leader-in-business-analytics-consulting" TargetMode="External"/><Relationship Id="rId22" Type="http://schemas.openxmlformats.org/officeDocument/2006/relationships/image" Target="../media/image46.png"/></Relationships>
</file>

<file path=ppt/slides/_rels/slide7.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51.png"/><Relationship Id="rId1" Type="http://schemas.openxmlformats.org/officeDocument/2006/relationships/slideLayout" Target="../slideLayouts/slideLayout7.xml"/><Relationship Id="rId4" Type="http://schemas.openxmlformats.org/officeDocument/2006/relationships/image" Target="../media/image53.png"/></Relationships>
</file>

<file path=ppt/slides/_rels/slide8.xml.rels><?xml version="1.0" encoding="UTF-8" standalone="yes"?>
<Relationships xmlns="http://schemas.openxmlformats.org/package/2006/relationships"><Relationship Id="rId3" Type="http://schemas.openxmlformats.org/officeDocument/2006/relationships/tags" Target="../tags/tag77.xml"/><Relationship Id="rId7" Type="http://schemas.openxmlformats.org/officeDocument/2006/relationships/image" Target="../media/image32.emf"/><Relationship Id="rId2" Type="http://schemas.openxmlformats.org/officeDocument/2006/relationships/tags" Target="../tags/tag76.xml"/><Relationship Id="rId1" Type="http://schemas.openxmlformats.org/officeDocument/2006/relationships/vmlDrawing" Target="../drawings/vmlDrawing44.vml"/><Relationship Id="rId6" Type="http://schemas.openxmlformats.org/officeDocument/2006/relationships/oleObject" Target="../embeddings/oleObject44.bin"/><Relationship Id="rId5" Type="http://schemas.openxmlformats.org/officeDocument/2006/relationships/notesSlide" Target="../notesSlides/notesSlide5.xml"/><Relationship Id="rId4" Type="http://schemas.openxmlformats.org/officeDocument/2006/relationships/slideLayout" Target="../slideLayouts/slideLayout8.xml"/></Relationships>
</file>

<file path=ppt/slides/_rels/slide9.xml.rels><?xml version="1.0" encoding="UTF-8" standalone="yes"?>
<Relationships xmlns="http://schemas.openxmlformats.org/package/2006/relationships"><Relationship Id="rId3" Type="http://schemas.openxmlformats.org/officeDocument/2006/relationships/image" Target="../media/image55.svg"/><Relationship Id="rId2" Type="http://schemas.openxmlformats.org/officeDocument/2006/relationships/image" Target="../media/image54.png"/><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B22A758-39C9-46E6-9DE4-F2F0550B1008}"/>
              </a:ext>
            </a:extLst>
          </p:cNvPr>
          <p:cNvGraphicFramePr>
            <a:graphicFrameLocks noChangeAspect="1"/>
          </p:cNvGraphicFramePr>
          <p:nvPr>
            <p:custDataLst>
              <p:tags r:id="rId2"/>
            </p:custDataLst>
          </p:nvPr>
        </p:nvGraphicFramePr>
        <p:xfrm>
          <a:off x="4733" y="3357"/>
          <a:ext cx="1587" cy="1587"/>
        </p:xfrm>
        <a:graphic>
          <a:graphicData uri="http://schemas.openxmlformats.org/presentationml/2006/ole">
            <mc:AlternateContent xmlns:mc="http://schemas.openxmlformats.org/markup-compatibility/2006">
              <mc:Choice xmlns:v="urn:schemas-microsoft-com:vml" Requires="v">
                <p:oleObj spid="_x0000_s39938" name="think-cell Slide" r:id="rId4" imgW="473" imgH="476" progId="TCLayout.ActiveDocument.1">
                  <p:embed/>
                </p:oleObj>
              </mc:Choice>
              <mc:Fallback>
                <p:oleObj name="think-cell Slide" r:id="rId4" imgW="473" imgH="476" progId="TCLayout.ActiveDocument.1">
                  <p:embed/>
                  <p:pic>
                    <p:nvPicPr>
                      <p:cNvPr id="5" name="Object 4" hidden="1">
                        <a:extLst>
                          <a:ext uri="{FF2B5EF4-FFF2-40B4-BE49-F238E27FC236}">
                            <a16:creationId xmlns:a16="http://schemas.microsoft.com/office/drawing/2014/main" id="{7B22A758-39C9-46E6-9DE4-F2F0550B1008}"/>
                          </a:ext>
                        </a:extLst>
                      </p:cNvPr>
                      <p:cNvPicPr/>
                      <p:nvPr/>
                    </p:nvPicPr>
                    <p:blipFill>
                      <a:blip r:embed="rId5"/>
                      <a:stretch>
                        <a:fillRect/>
                      </a:stretch>
                    </p:blipFill>
                    <p:spPr>
                      <a:xfrm>
                        <a:off x="4733" y="3357"/>
                        <a:ext cx="1587" cy="1587"/>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3C8A32CE-810C-4F16-B2CF-D04E2CE2E0D4}"/>
              </a:ext>
            </a:extLst>
          </p:cNvPr>
          <p:cNvSpPr/>
          <p:nvPr/>
        </p:nvSpPr>
        <p:spPr>
          <a:xfrm>
            <a:off x="0" y="3437389"/>
            <a:ext cx="13447683" cy="2466755"/>
          </a:xfrm>
          <a:prstGeom prst="rect">
            <a:avLst/>
          </a:prstGeom>
          <a:solidFill>
            <a:srgbClr val="000000">
              <a:alpha val="87000"/>
            </a:srgbClr>
          </a:solidFill>
          <a:ln w="12700" cap="flat" cmpd="sng" algn="ctr">
            <a:noFill/>
            <a:prstDash val="solid"/>
            <a:miter lim="800000"/>
          </a:ln>
          <a:effectLst/>
        </p:spPr>
        <p:txBody>
          <a:bodyPr rtlCol="0" anchor="ctr"/>
          <a:lstStyle/>
          <a:p>
            <a:pPr marL="0" marR="0" lvl="0" indent="0" algn="ctr" defTabSz="1007669" rtl="0" eaLnBrk="1" fontAlgn="auto" latinLnBrk="0" hangingPunct="1">
              <a:lnSpc>
                <a:spcPct val="100000"/>
              </a:lnSpc>
              <a:spcBef>
                <a:spcPts val="0"/>
              </a:spcBef>
              <a:spcAft>
                <a:spcPts val="0"/>
              </a:spcAft>
              <a:buClrTx/>
              <a:buSzTx/>
              <a:buFont typeface="Arial" charset="0"/>
              <a:buNone/>
              <a:tabLst/>
              <a:defRPr/>
            </a:pPr>
            <a:endParaRPr kumimoji="0" lang="en-US" sz="1984" b="0" i="0" u="none" strike="noStrike" kern="0" cap="none" spc="0" normalizeH="0" baseline="0" noProof="0">
              <a:ln>
                <a:noFill/>
              </a:ln>
              <a:solidFill>
                <a:prstClr val="white"/>
              </a:solidFill>
              <a:effectLst/>
              <a:uLnTx/>
              <a:uFillTx/>
              <a:latin typeface="EYInterstate" panose="02000503020000020004" pitchFamily="2" charset="0"/>
              <a:ea typeface="+mn-ea"/>
              <a:cs typeface="+mn-cs"/>
            </a:endParaRPr>
          </a:p>
        </p:txBody>
      </p:sp>
      <p:sp>
        <p:nvSpPr>
          <p:cNvPr id="11" name="Text Placeholder 3">
            <a:extLst>
              <a:ext uri="{FF2B5EF4-FFF2-40B4-BE49-F238E27FC236}">
                <a16:creationId xmlns:a16="http://schemas.microsoft.com/office/drawing/2014/main" id="{B9D4F65C-C90D-427D-A699-33D75CA2161D}"/>
              </a:ext>
            </a:extLst>
          </p:cNvPr>
          <p:cNvSpPr txBox="1">
            <a:spLocks/>
          </p:cNvSpPr>
          <p:nvPr/>
        </p:nvSpPr>
        <p:spPr>
          <a:xfrm>
            <a:off x="407624" y="3658400"/>
            <a:ext cx="12935907" cy="2103422"/>
          </a:xfrm>
          <a:prstGeom prst="rect">
            <a:avLst/>
          </a:prstGeom>
        </p:spPr>
        <p:txBody>
          <a:bodyPr lIns="0" tIns="0" rIns="0" bIns="0" anchor="t" anchorCtr="0"/>
          <a:lstStyle>
            <a:lvl1pPr marL="0" indent="0" algn="l" rtl="0" eaLnBrk="1" fontAlgn="base" hangingPunct="1">
              <a:spcBef>
                <a:spcPct val="20000"/>
              </a:spcBef>
              <a:spcAft>
                <a:spcPct val="0"/>
              </a:spcAft>
              <a:buNone/>
              <a:defRPr sz="2800" i="1">
                <a:solidFill>
                  <a:srgbClr val="FF0000"/>
                </a:solidFill>
                <a:latin typeface="Century Gothic" panose="020B0502020202020204" pitchFamily="34" charset="0"/>
                <a:ea typeface="+mn-ea"/>
                <a:cs typeface="+mn-cs"/>
              </a:defRPr>
            </a:lvl1pPr>
            <a:lvl2pPr marL="743003" indent="-285771" algn="l" rtl="0" eaLnBrk="1" fontAlgn="base" hangingPunct="1">
              <a:spcBef>
                <a:spcPct val="20000"/>
              </a:spcBef>
              <a:spcAft>
                <a:spcPct val="0"/>
              </a:spcAft>
              <a:buChar char="–"/>
              <a:defRPr sz="2801">
                <a:solidFill>
                  <a:schemeClr val="bg1"/>
                </a:solidFill>
                <a:latin typeface="Century Gothic" panose="020B0502020202020204" pitchFamily="34" charset="0"/>
                <a:cs typeface="+mn-cs"/>
              </a:defRPr>
            </a:lvl2pPr>
            <a:lvl3pPr marL="1143082" indent="-228617" algn="l" rtl="0" eaLnBrk="1" fontAlgn="base" hangingPunct="1">
              <a:spcBef>
                <a:spcPct val="20000"/>
              </a:spcBef>
              <a:spcAft>
                <a:spcPct val="0"/>
              </a:spcAft>
              <a:buChar char="•"/>
              <a:defRPr sz="2400">
                <a:solidFill>
                  <a:schemeClr val="bg1"/>
                </a:solidFill>
                <a:latin typeface="Century Gothic" panose="020B0502020202020204" pitchFamily="34" charset="0"/>
                <a:cs typeface="+mn-cs"/>
              </a:defRPr>
            </a:lvl3pPr>
            <a:lvl4pPr marL="1600315" indent="-228617" algn="l" rtl="0" eaLnBrk="1" fontAlgn="base" hangingPunct="1">
              <a:spcBef>
                <a:spcPct val="20000"/>
              </a:spcBef>
              <a:spcAft>
                <a:spcPct val="0"/>
              </a:spcAft>
              <a:buChar char="–"/>
              <a:defRPr sz="2000">
                <a:solidFill>
                  <a:schemeClr val="bg1"/>
                </a:solidFill>
                <a:latin typeface="Century Gothic" panose="020B0502020202020204" pitchFamily="34" charset="0"/>
                <a:cs typeface="+mn-cs"/>
              </a:defRPr>
            </a:lvl4pPr>
            <a:lvl5pPr marL="2057547" indent="-228617" algn="l" rtl="0" eaLnBrk="1" fontAlgn="base" hangingPunct="1">
              <a:spcBef>
                <a:spcPct val="20000"/>
              </a:spcBef>
              <a:spcAft>
                <a:spcPct val="0"/>
              </a:spcAft>
              <a:buChar char="»"/>
              <a:defRPr sz="2000">
                <a:solidFill>
                  <a:schemeClr val="bg1"/>
                </a:solidFill>
                <a:latin typeface="Century Gothic" panose="020B0502020202020204" pitchFamily="34" charset="0"/>
                <a:cs typeface="+mn-cs"/>
              </a:defRPr>
            </a:lvl5pPr>
            <a:lvl6pPr marL="2514781" indent="-228617" algn="l" rtl="0" eaLnBrk="1" fontAlgn="base" hangingPunct="1">
              <a:spcBef>
                <a:spcPct val="20000"/>
              </a:spcBef>
              <a:spcAft>
                <a:spcPct val="0"/>
              </a:spcAft>
              <a:buChar char="»"/>
              <a:defRPr sz="2000">
                <a:solidFill>
                  <a:schemeClr val="tx1"/>
                </a:solidFill>
                <a:latin typeface="+mn-lt"/>
                <a:cs typeface="+mn-cs"/>
              </a:defRPr>
            </a:lvl6pPr>
            <a:lvl7pPr marL="2972013" indent="-228617" algn="l" rtl="0" eaLnBrk="1" fontAlgn="base" hangingPunct="1">
              <a:spcBef>
                <a:spcPct val="20000"/>
              </a:spcBef>
              <a:spcAft>
                <a:spcPct val="0"/>
              </a:spcAft>
              <a:buChar char="»"/>
              <a:defRPr sz="2000">
                <a:solidFill>
                  <a:schemeClr val="tx1"/>
                </a:solidFill>
                <a:latin typeface="+mn-lt"/>
                <a:cs typeface="+mn-cs"/>
              </a:defRPr>
            </a:lvl7pPr>
            <a:lvl8pPr marL="3429246" indent="-228617" algn="l" rtl="0" eaLnBrk="1" fontAlgn="base" hangingPunct="1">
              <a:spcBef>
                <a:spcPct val="20000"/>
              </a:spcBef>
              <a:spcAft>
                <a:spcPct val="0"/>
              </a:spcAft>
              <a:buChar char="»"/>
              <a:defRPr sz="2000">
                <a:solidFill>
                  <a:schemeClr val="tx1"/>
                </a:solidFill>
                <a:latin typeface="+mn-lt"/>
                <a:cs typeface="+mn-cs"/>
              </a:defRPr>
            </a:lvl8pPr>
            <a:lvl9pPr marL="3886479" indent="-228617" algn="l" rtl="0" eaLnBrk="1" fontAlgn="base" hangingPunct="1">
              <a:spcBef>
                <a:spcPct val="20000"/>
              </a:spcBef>
              <a:spcAft>
                <a:spcPct val="0"/>
              </a:spcAft>
              <a:buChar char="»"/>
              <a:defRPr sz="2000">
                <a:solidFill>
                  <a:schemeClr val="tx1"/>
                </a:solidFill>
                <a:latin typeface="+mn-lt"/>
                <a:cs typeface="+mn-cs"/>
              </a:defRPr>
            </a:lvl9pPr>
          </a:lstStyle>
          <a:p>
            <a:pPr marL="58718" marR="0" lvl="0" indent="0" algn="l" defTabSz="914019" rtl="0" eaLnBrk="1" fontAlgn="base" latinLnBrk="0" hangingPunct="1">
              <a:lnSpc>
                <a:spcPct val="100000"/>
              </a:lnSpc>
              <a:spcBef>
                <a:spcPts val="0"/>
              </a:spcBef>
              <a:spcAft>
                <a:spcPts val="1200"/>
              </a:spcAft>
              <a:buClr>
                <a:srgbClr val="FFE600"/>
              </a:buClr>
              <a:buSzPct val="80000"/>
              <a:buFont typeface="Arial" charset="0"/>
              <a:buNone/>
              <a:tabLst/>
              <a:defRPr/>
            </a:pPr>
            <a:r>
              <a:rPr kumimoji="0" lang="en-US" sz="2000" b="1" i="0" u="none" strike="noStrike" kern="0" cap="none" spc="0" normalizeH="0" baseline="0" noProof="0" dirty="0">
                <a:ln>
                  <a:noFill/>
                </a:ln>
                <a:solidFill>
                  <a:srgbClr val="FFE600"/>
                </a:solidFill>
                <a:effectLst/>
                <a:uLnTx/>
                <a:uFillTx/>
                <a:latin typeface="EYInterstate" panose="02000503020000020004" pitchFamily="2" charset="0"/>
                <a:ea typeface="+mn-ea"/>
                <a:cs typeface="+mn-cs"/>
              </a:rPr>
              <a:t>RFP Response</a:t>
            </a:r>
            <a:endParaRPr kumimoji="0" lang="en-US" sz="2000" b="1" i="0" u="none" strike="noStrike" kern="0" cap="none" spc="0" normalizeH="0" baseline="0" noProof="0" dirty="0">
              <a:ln>
                <a:noFill/>
              </a:ln>
              <a:solidFill>
                <a:srgbClr val="FFFFFF"/>
              </a:solidFill>
              <a:effectLst/>
              <a:uLnTx/>
              <a:uFillTx/>
              <a:latin typeface="EYInterstate" panose="02000503020000020004" pitchFamily="2" charset="0"/>
              <a:ea typeface="+mn-ea"/>
              <a:cs typeface="+mn-cs"/>
            </a:endParaRPr>
          </a:p>
          <a:p>
            <a:pPr marL="58718" lvl="0" defTabSz="914019">
              <a:spcBef>
                <a:spcPts val="0"/>
              </a:spcBef>
              <a:spcAft>
                <a:spcPts val="1200"/>
              </a:spcAft>
              <a:buClr>
                <a:srgbClr val="FFE600"/>
              </a:buClr>
              <a:defRPr/>
            </a:pPr>
            <a:r>
              <a:rPr lang="en-US" sz="3200" b="1" i="0" kern="0" dirty="0">
                <a:solidFill>
                  <a:srgbClr val="FFE600"/>
                </a:solidFill>
                <a:latin typeface="EYInterstate" panose="02000503020000020004" pitchFamily="2" charset="0"/>
              </a:rPr>
              <a:t>Propensity to Buy Models</a:t>
            </a:r>
          </a:p>
          <a:p>
            <a:pPr marL="58718" marR="0" lvl="0" indent="0" algn="l" defTabSz="914019" rtl="0" eaLnBrk="1" fontAlgn="base" latinLnBrk="0" hangingPunct="1">
              <a:lnSpc>
                <a:spcPct val="100000"/>
              </a:lnSpc>
              <a:spcBef>
                <a:spcPts val="0"/>
              </a:spcBef>
              <a:spcAft>
                <a:spcPts val="1200"/>
              </a:spcAft>
              <a:buClr>
                <a:srgbClr val="FFE600"/>
              </a:buClr>
              <a:buSzPct val="80000"/>
              <a:buFont typeface="Arial" charset="0"/>
              <a:buNone/>
              <a:tabLst/>
              <a:defRPr/>
            </a:pPr>
            <a:r>
              <a:rPr kumimoji="0" lang="en-US" sz="2000" b="1" i="0" u="none" strike="noStrike" kern="0" cap="none" spc="0" normalizeH="0" baseline="0" noProof="0" dirty="0">
                <a:ln>
                  <a:noFill/>
                </a:ln>
                <a:solidFill>
                  <a:srgbClr val="FFFFFF"/>
                </a:solidFill>
                <a:effectLst/>
                <a:uLnTx/>
                <a:uFillTx/>
                <a:latin typeface="EYInterstate" panose="02000503020000020004" pitchFamily="2" charset="0"/>
                <a:ea typeface="+mn-ea"/>
                <a:cs typeface="+mn-cs"/>
              </a:rPr>
              <a:t>July 2020</a:t>
            </a:r>
            <a:endParaRPr kumimoji="0" lang="en-GB" sz="2000" b="1" i="0" u="none" strike="noStrike" kern="0" cap="none" spc="0" normalizeH="0" baseline="0" noProof="0" dirty="0">
              <a:ln>
                <a:noFill/>
              </a:ln>
              <a:solidFill>
                <a:srgbClr val="FFE600"/>
              </a:solidFill>
              <a:effectLst/>
              <a:uLnTx/>
              <a:uFillTx/>
              <a:latin typeface="EYInterstate" panose="02000503020000020004" pitchFamily="2" charset="0"/>
              <a:ea typeface="+mn-ea"/>
              <a:cs typeface="+mn-cs"/>
            </a:endParaRPr>
          </a:p>
        </p:txBody>
      </p:sp>
      <p:pic>
        <p:nvPicPr>
          <p:cNvPr id="10" name="Picture 9">
            <a:extLst>
              <a:ext uri="{FF2B5EF4-FFF2-40B4-BE49-F238E27FC236}">
                <a16:creationId xmlns:a16="http://schemas.microsoft.com/office/drawing/2014/main" id="{47A1DCC2-314B-481A-9DE7-9615BF7A27E5}"/>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12600542" y="79073"/>
            <a:ext cx="742989" cy="760192"/>
          </a:xfrm>
          <a:prstGeom prst="rect">
            <a:avLst/>
          </a:prstGeom>
        </p:spPr>
      </p:pic>
    </p:spTree>
    <p:extLst>
      <p:ext uri="{BB962C8B-B14F-4D97-AF65-F5344CB8AC3E}">
        <p14:creationId xmlns:p14="http://schemas.microsoft.com/office/powerpoint/2010/main" val="364805765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D9B050-75C3-48E4-8D86-71D4E1F121F9}"/>
              </a:ext>
            </a:extLst>
          </p:cNvPr>
          <p:cNvSpPr>
            <a:spLocks noGrp="1"/>
          </p:cNvSpPr>
          <p:nvPr>
            <p:ph type="title"/>
          </p:nvPr>
        </p:nvSpPr>
        <p:spPr/>
        <p:txBody>
          <a:bodyPr/>
          <a:lstStyle/>
          <a:p>
            <a:r>
              <a:rPr lang="en-US"/>
              <a:t>We will enable the development of Propensity-to-buy models through a 2-stage approach ensuring quality and performance</a:t>
            </a:r>
          </a:p>
        </p:txBody>
      </p:sp>
      <p:sp>
        <p:nvSpPr>
          <p:cNvPr id="3" name="Rectangle 2">
            <a:extLst>
              <a:ext uri="{FF2B5EF4-FFF2-40B4-BE49-F238E27FC236}">
                <a16:creationId xmlns:a16="http://schemas.microsoft.com/office/drawing/2014/main" id="{0D14A42C-0681-4DB3-8489-1A599EC850D6}"/>
              </a:ext>
            </a:extLst>
          </p:cNvPr>
          <p:cNvSpPr/>
          <p:nvPr/>
        </p:nvSpPr>
        <p:spPr>
          <a:xfrm>
            <a:off x="4644120" y="2940869"/>
            <a:ext cx="8480753" cy="4507345"/>
          </a:xfrm>
          <a:prstGeom prst="rect">
            <a:avLst/>
          </a:prstGeom>
          <a:solidFill>
            <a:srgbClr val="FFFFFF"/>
          </a:solidFill>
          <a:ln w="19050" cap="flat" cmpd="sng" algn="ctr">
            <a:solidFill>
              <a:schemeClr val="tx2"/>
            </a:solidFill>
            <a:prstDash val="solid"/>
            <a:miter lim="800000"/>
          </a:ln>
          <a:effectLst/>
        </p:spPr>
        <p:txBody>
          <a:bodyPr lIns="72000" tIns="216000" rIns="72000" bIns="216000" rtlCol="0" anchor="t" anchorCtr="0"/>
          <a:lstStyle/>
          <a:p>
            <a:pPr marL="182563" indent="-182563">
              <a:spcAft>
                <a:spcPts val="600"/>
              </a:spcAft>
              <a:buClr>
                <a:srgbClr val="404040"/>
              </a:buClr>
              <a:buSzPct val="70000"/>
              <a:buFont typeface="Arial" pitchFamily="34" charset="0"/>
              <a:buChar char="►"/>
            </a:pPr>
            <a:r>
              <a:rPr lang="en-US" sz="1100" b="1" dirty="0"/>
              <a:t>Model data preparation:</a:t>
            </a:r>
          </a:p>
          <a:p>
            <a:pPr marL="639363" lvl="1" indent="-182563">
              <a:spcAft>
                <a:spcPts val="600"/>
              </a:spcAft>
              <a:buClr>
                <a:srgbClr val="404040"/>
              </a:buClr>
              <a:buSzPct val="70000"/>
              <a:buFont typeface="Arial" panose="020B0604020202020204" pitchFamily="34" charset="0"/>
              <a:buChar char="•"/>
            </a:pPr>
            <a:r>
              <a:rPr lang="en-US" sz="1100" dirty="0"/>
              <a:t>Define model event, apply model exclusions, extract data as per the observation &amp; performance window.</a:t>
            </a:r>
          </a:p>
          <a:p>
            <a:pPr marL="639363" lvl="1" indent="-182563">
              <a:spcAft>
                <a:spcPts val="600"/>
              </a:spcAft>
              <a:buClr>
                <a:srgbClr val="404040"/>
              </a:buClr>
              <a:buSzPct val="70000"/>
              <a:buFont typeface="Arial" panose="020B0604020202020204" pitchFamily="34" charset="0"/>
              <a:buChar char="•"/>
            </a:pPr>
            <a:r>
              <a:rPr lang="en-US" sz="1100" dirty="0"/>
              <a:t>Perform data cleansing through missing-value and outlier treatments using statistical &amp; ML methods (like imputations using mean, median, KNN, etc. and outlier detection using HBOS, LOF etc.).</a:t>
            </a:r>
          </a:p>
          <a:p>
            <a:pPr marL="628250" lvl="1" indent="-171450">
              <a:spcAft>
                <a:spcPts val="600"/>
              </a:spcAft>
              <a:buClr>
                <a:srgbClr val="404040"/>
              </a:buClr>
              <a:buSzPct val="70000"/>
              <a:buFont typeface="Arial" panose="020B0604020202020204" pitchFamily="34" charset="0"/>
              <a:buChar char="•"/>
            </a:pPr>
            <a:r>
              <a:rPr lang="en-US" sz="1100" dirty="0"/>
              <a:t>Check on data distributions and perform hypothesis testing to confirm consistency across key data variables.</a:t>
            </a:r>
          </a:p>
          <a:p>
            <a:pPr marL="182563" indent="-182563">
              <a:spcAft>
                <a:spcPts val="600"/>
              </a:spcAft>
              <a:buClr>
                <a:srgbClr val="404040"/>
              </a:buClr>
              <a:buSzPct val="70000"/>
              <a:buFont typeface="Arial" pitchFamily="34" charset="0"/>
              <a:buChar char="►"/>
            </a:pPr>
            <a:r>
              <a:rPr lang="en-US" sz="1100" b="1" dirty="0"/>
              <a:t>Feature engineering:</a:t>
            </a:r>
          </a:p>
          <a:p>
            <a:pPr marL="628250" lvl="1" indent="-171450">
              <a:spcAft>
                <a:spcPts val="600"/>
              </a:spcAft>
              <a:buClr>
                <a:srgbClr val="404040"/>
              </a:buClr>
              <a:buSzPct val="70000"/>
              <a:buFont typeface="Arial" panose="020B0604020202020204" pitchFamily="34" charset="0"/>
              <a:buChar char="•"/>
            </a:pPr>
            <a:r>
              <a:rPr lang="en-US" sz="1100" dirty="0"/>
              <a:t>Build both static and dynamic features which play an important role in model performance. Both of hypothesis driven features and machine driven features to be considered.</a:t>
            </a:r>
          </a:p>
          <a:p>
            <a:pPr marL="628250" lvl="1" indent="-171450">
              <a:spcAft>
                <a:spcPts val="600"/>
              </a:spcAft>
              <a:buClr>
                <a:srgbClr val="404040"/>
              </a:buClr>
              <a:buSzPct val="70000"/>
              <a:buFont typeface="Arial" panose="020B0604020202020204" pitchFamily="34" charset="0"/>
              <a:buChar char="•"/>
            </a:pPr>
            <a:r>
              <a:rPr lang="en-US" sz="1100" dirty="0"/>
              <a:t>Perform exploratory data analysis and use dimension reduction techniques like PCA, SVD, etc. to reduce feature noise and come up with final feature list for model build.</a:t>
            </a:r>
          </a:p>
          <a:p>
            <a:pPr marL="182563" indent="-182563">
              <a:spcAft>
                <a:spcPts val="600"/>
              </a:spcAft>
              <a:buClr>
                <a:srgbClr val="404040"/>
              </a:buClr>
              <a:buSzPct val="70000"/>
              <a:buFont typeface="Arial" pitchFamily="34" charset="0"/>
              <a:buChar char="►"/>
            </a:pPr>
            <a:r>
              <a:rPr lang="en-US" sz="1100" b="1" dirty="0"/>
              <a:t>Model development and validation:</a:t>
            </a:r>
          </a:p>
          <a:p>
            <a:pPr marL="628250" lvl="1" indent="-171450">
              <a:spcAft>
                <a:spcPts val="600"/>
              </a:spcAft>
              <a:buClr>
                <a:srgbClr val="404040"/>
              </a:buClr>
              <a:buSzPct val="70000"/>
              <a:buFont typeface="Arial" panose="020B0604020202020204" pitchFamily="34" charset="0"/>
              <a:buChar char="•"/>
            </a:pPr>
            <a:r>
              <a:rPr lang="en-US" sz="1100" dirty="0"/>
              <a:t>Set-up training and validation datasets (70:30 ratio) using sampling techniques like bootstrapping, stratification &amp; SMOTE, etc.</a:t>
            </a:r>
          </a:p>
          <a:p>
            <a:pPr marL="628250" lvl="1" indent="-171450">
              <a:spcAft>
                <a:spcPts val="600"/>
              </a:spcAft>
              <a:buClr>
                <a:srgbClr val="404040"/>
              </a:buClr>
              <a:buSzPct val="70000"/>
              <a:buFont typeface="Arial" panose="020B0604020202020204" pitchFamily="34" charset="0"/>
              <a:buChar char="•"/>
            </a:pPr>
            <a:r>
              <a:rPr lang="en-US" sz="1100" dirty="0"/>
              <a:t>Apply explainable ML techniques like Logistic Regression, Random Forest, Stochastic GD, Light-GBM, </a:t>
            </a:r>
            <a:r>
              <a:rPr lang="en-US" sz="1100" dirty="0" err="1"/>
              <a:t>XGBoost</a:t>
            </a:r>
            <a:r>
              <a:rPr lang="en-US" sz="1100" dirty="0"/>
              <a:t>, Naïve Bayes, SVM, etc. and tune model hyper-parameters using stochastic optimization.</a:t>
            </a:r>
          </a:p>
          <a:p>
            <a:pPr marL="628250" lvl="1" indent="-171450">
              <a:spcAft>
                <a:spcPts val="600"/>
              </a:spcAft>
              <a:buClr>
                <a:srgbClr val="404040"/>
              </a:buClr>
              <a:buSzPct val="70000"/>
              <a:buFont typeface="Arial" panose="020B0604020202020204" pitchFamily="34" charset="0"/>
              <a:buChar char="•"/>
            </a:pPr>
            <a:r>
              <a:rPr lang="en-US" sz="1100" dirty="0"/>
              <a:t>Evaluate model performance on the validation dataset for model finalization.</a:t>
            </a:r>
          </a:p>
          <a:p>
            <a:pPr marL="182563" indent="-182563">
              <a:spcAft>
                <a:spcPts val="600"/>
              </a:spcAft>
              <a:buClr>
                <a:srgbClr val="404040"/>
              </a:buClr>
              <a:buSzPct val="70000"/>
              <a:buFont typeface="Arial" pitchFamily="34" charset="0"/>
              <a:buChar char="►"/>
            </a:pPr>
            <a:r>
              <a:rPr lang="en-US" sz="1100" b="1" dirty="0"/>
              <a:t>Performance assessment:</a:t>
            </a:r>
          </a:p>
          <a:p>
            <a:pPr marL="628250" lvl="1" indent="-171450">
              <a:spcAft>
                <a:spcPts val="600"/>
              </a:spcAft>
              <a:buClr>
                <a:srgbClr val="404040"/>
              </a:buClr>
              <a:buSzPct val="70000"/>
              <a:buFont typeface="Arial" panose="020B0604020202020204" pitchFamily="34" charset="0"/>
              <a:buChar char="•"/>
            </a:pPr>
            <a:r>
              <a:rPr lang="en-US" sz="1100" dirty="0"/>
              <a:t>Assess model performance on Test dataset through Precision, Recall and AUC. </a:t>
            </a:r>
          </a:p>
          <a:p>
            <a:pPr marL="628250" lvl="1" indent="-171450">
              <a:spcAft>
                <a:spcPts val="600"/>
              </a:spcAft>
              <a:buClr>
                <a:srgbClr val="404040"/>
              </a:buClr>
              <a:buSzPct val="70000"/>
              <a:buFont typeface="Arial" panose="020B0604020202020204" pitchFamily="34" charset="0"/>
              <a:buChar char="•"/>
            </a:pPr>
            <a:r>
              <a:rPr lang="en-US" sz="1100" dirty="0"/>
              <a:t>Perform model input drift assessment using Population stability and Characteristic stability indices.</a:t>
            </a:r>
          </a:p>
        </p:txBody>
      </p:sp>
      <p:sp>
        <p:nvSpPr>
          <p:cNvPr id="5" name="Rectangle 4">
            <a:extLst>
              <a:ext uri="{FF2B5EF4-FFF2-40B4-BE49-F238E27FC236}">
                <a16:creationId xmlns:a16="http://schemas.microsoft.com/office/drawing/2014/main" id="{5200661F-BC05-4451-82B4-20487550ADE5}"/>
              </a:ext>
            </a:extLst>
          </p:cNvPr>
          <p:cNvSpPr/>
          <p:nvPr/>
        </p:nvSpPr>
        <p:spPr>
          <a:xfrm>
            <a:off x="1211724" y="3014772"/>
            <a:ext cx="2935400" cy="3238247"/>
          </a:xfrm>
          <a:prstGeom prst="rect">
            <a:avLst/>
          </a:prstGeom>
          <a:solidFill>
            <a:srgbClr val="FFFFFF"/>
          </a:solidFill>
          <a:ln w="19050" cap="flat" cmpd="sng" algn="ctr">
            <a:solidFill>
              <a:schemeClr val="tx2"/>
            </a:solidFill>
            <a:prstDash val="solid"/>
            <a:miter lim="800000"/>
          </a:ln>
          <a:effectLst/>
        </p:spPr>
        <p:txBody>
          <a:bodyPr lIns="72000" tIns="216000" rIns="72000" bIns="216000" rtlCol="0" anchor="t" anchorCtr="0"/>
          <a:lstStyle/>
          <a:p>
            <a:pPr marL="182563" indent="-182563">
              <a:spcAft>
                <a:spcPts val="600"/>
              </a:spcAft>
              <a:buClr>
                <a:srgbClr val="404040"/>
              </a:buClr>
              <a:buSzPct val="70000"/>
              <a:buFont typeface="Arial" pitchFamily="34" charset="0"/>
              <a:buChar char="►"/>
            </a:pPr>
            <a:r>
              <a:rPr lang="en-US" sz="1100" dirty="0"/>
              <a:t>Understand the data structure and definitions.</a:t>
            </a:r>
          </a:p>
          <a:p>
            <a:pPr marL="182563" indent="-182563">
              <a:spcAft>
                <a:spcPts val="600"/>
              </a:spcAft>
              <a:buClr>
                <a:srgbClr val="404040"/>
              </a:buClr>
              <a:buSzPct val="70000"/>
              <a:buFont typeface="Arial" pitchFamily="34" charset="0"/>
              <a:buChar char="►"/>
            </a:pPr>
            <a:endParaRPr lang="en-US" sz="1100" dirty="0"/>
          </a:p>
          <a:p>
            <a:pPr marL="182563" indent="-182563">
              <a:spcAft>
                <a:spcPts val="600"/>
              </a:spcAft>
              <a:buClr>
                <a:srgbClr val="404040"/>
              </a:buClr>
              <a:buSzPct val="70000"/>
              <a:buFont typeface="Arial" pitchFamily="34" charset="0"/>
              <a:buChar char="►"/>
            </a:pPr>
            <a:r>
              <a:rPr lang="en-US" sz="1100" dirty="0"/>
              <a:t>Perform data consolidation and aggregation to make it fit for consumption in modelling purposes. </a:t>
            </a:r>
          </a:p>
          <a:p>
            <a:pPr marL="182563" indent="-182563">
              <a:spcAft>
                <a:spcPts val="600"/>
              </a:spcAft>
              <a:buClr>
                <a:srgbClr val="404040"/>
              </a:buClr>
              <a:buSzPct val="70000"/>
              <a:buFont typeface="Arial" pitchFamily="34" charset="0"/>
              <a:buChar char="►"/>
            </a:pPr>
            <a:endParaRPr lang="en-US" sz="1100" dirty="0"/>
          </a:p>
          <a:p>
            <a:pPr marL="182563" indent="-182563">
              <a:spcAft>
                <a:spcPts val="600"/>
              </a:spcAft>
              <a:buClr>
                <a:srgbClr val="404040"/>
              </a:buClr>
              <a:buSzPct val="70000"/>
              <a:buFont typeface="Arial" pitchFamily="34" charset="0"/>
              <a:buChar char="►"/>
            </a:pPr>
            <a:r>
              <a:rPr lang="en-US" sz="1100" dirty="0"/>
              <a:t>Undertake data quality assessment exercise across dimensions of completeness, consistency, accuracy, conformity, uniqueness and timeliness to determine if the data is good enough for  model build and also identify key variable for data cleansing using statistical and ML methods.</a:t>
            </a:r>
          </a:p>
        </p:txBody>
      </p:sp>
      <p:cxnSp>
        <p:nvCxnSpPr>
          <p:cNvPr id="21" name="Straight Connector 20">
            <a:extLst>
              <a:ext uri="{FF2B5EF4-FFF2-40B4-BE49-F238E27FC236}">
                <a16:creationId xmlns:a16="http://schemas.microsoft.com/office/drawing/2014/main" id="{E131E0FD-AD5E-4CEF-926E-EE2B3C3CFA4E}"/>
              </a:ext>
            </a:extLst>
          </p:cNvPr>
          <p:cNvCxnSpPr/>
          <p:nvPr/>
        </p:nvCxnSpPr>
        <p:spPr>
          <a:xfrm>
            <a:off x="1169082" y="2996295"/>
            <a:ext cx="3105859" cy="0"/>
          </a:xfrm>
          <a:prstGeom prst="line">
            <a:avLst/>
          </a:prstGeom>
          <a:ln w="28575">
            <a:solidFill>
              <a:schemeClr val="accent5"/>
            </a:solidFill>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5431F59-B0C4-4AD2-89E1-760B33EFB1A1}"/>
              </a:ext>
            </a:extLst>
          </p:cNvPr>
          <p:cNvCxnSpPr/>
          <p:nvPr/>
        </p:nvCxnSpPr>
        <p:spPr>
          <a:xfrm>
            <a:off x="4643087" y="3024000"/>
            <a:ext cx="8235245" cy="0"/>
          </a:xfrm>
          <a:prstGeom prst="line">
            <a:avLst/>
          </a:prstGeom>
          <a:ln w="28575">
            <a:solidFill>
              <a:srgbClr val="91278F"/>
            </a:solidFill>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4A2B96EC-1147-4862-A84B-45AD27F2EABF}"/>
              </a:ext>
            </a:extLst>
          </p:cNvPr>
          <p:cNvCxnSpPr/>
          <p:nvPr/>
        </p:nvCxnSpPr>
        <p:spPr>
          <a:xfrm>
            <a:off x="2519873" y="2197504"/>
            <a:ext cx="0" cy="571695"/>
          </a:xfrm>
          <a:prstGeom prst="line">
            <a:avLst/>
          </a:prstGeom>
          <a:ln w="34925">
            <a:solidFill>
              <a:schemeClr val="accent5"/>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F306F29C-5AC3-4293-8C14-2A6C82CABA8A}"/>
              </a:ext>
            </a:extLst>
          </p:cNvPr>
          <p:cNvCxnSpPr/>
          <p:nvPr/>
        </p:nvCxnSpPr>
        <p:spPr>
          <a:xfrm>
            <a:off x="8493908" y="2197504"/>
            <a:ext cx="0" cy="571695"/>
          </a:xfrm>
          <a:prstGeom prst="line">
            <a:avLst/>
          </a:prstGeom>
          <a:ln w="34925">
            <a:solidFill>
              <a:srgbClr val="91278F"/>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id="{E86F0D0E-35DA-44C1-BD28-044C24927492}"/>
              </a:ext>
            </a:extLst>
          </p:cNvPr>
          <p:cNvSpPr txBox="1"/>
          <p:nvPr/>
        </p:nvSpPr>
        <p:spPr bwMode="gray">
          <a:xfrm>
            <a:off x="1203418" y="1885206"/>
            <a:ext cx="565886" cy="830564"/>
          </a:xfrm>
          <a:prstGeom prst="rect">
            <a:avLst/>
          </a:prstGeom>
          <a:noFill/>
        </p:spPr>
        <p:txBody>
          <a:bodyPr wrap="none" rtlCol="0">
            <a:spAutoFit/>
          </a:bodyPr>
          <a:lstStyle/>
          <a:p>
            <a:r>
              <a:rPr lang="en-GB" sz="4798" b="1">
                <a:solidFill>
                  <a:srgbClr val="00A3AE"/>
                </a:solidFill>
                <a:latin typeface="EYInterstate" panose="02000503020000020004" pitchFamily="2" charset="0"/>
              </a:rPr>
              <a:t>1</a:t>
            </a:r>
          </a:p>
        </p:txBody>
      </p:sp>
      <p:sp>
        <p:nvSpPr>
          <p:cNvPr id="29" name="TextBox 28">
            <a:extLst>
              <a:ext uri="{FF2B5EF4-FFF2-40B4-BE49-F238E27FC236}">
                <a16:creationId xmlns:a16="http://schemas.microsoft.com/office/drawing/2014/main" id="{582B1F0F-26B5-4E65-9182-D5E96B2FD79F}"/>
              </a:ext>
            </a:extLst>
          </p:cNvPr>
          <p:cNvSpPr txBox="1"/>
          <p:nvPr/>
        </p:nvSpPr>
        <p:spPr bwMode="gray">
          <a:xfrm>
            <a:off x="4687389" y="1877122"/>
            <a:ext cx="565886" cy="830564"/>
          </a:xfrm>
          <a:prstGeom prst="rect">
            <a:avLst/>
          </a:prstGeom>
          <a:noFill/>
        </p:spPr>
        <p:txBody>
          <a:bodyPr wrap="none" rtlCol="0">
            <a:spAutoFit/>
          </a:bodyPr>
          <a:lstStyle/>
          <a:p>
            <a:r>
              <a:rPr lang="en-GB" sz="4798" b="1">
                <a:solidFill>
                  <a:srgbClr val="91278F"/>
                </a:solidFill>
                <a:latin typeface="EYInterstate" panose="02000503020000020004" pitchFamily="2" charset="0"/>
              </a:rPr>
              <a:t>2</a:t>
            </a:r>
          </a:p>
        </p:txBody>
      </p:sp>
      <p:grpSp>
        <p:nvGrpSpPr>
          <p:cNvPr id="39" name="Group 38">
            <a:extLst>
              <a:ext uri="{FF2B5EF4-FFF2-40B4-BE49-F238E27FC236}">
                <a16:creationId xmlns:a16="http://schemas.microsoft.com/office/drawing/2014/main" id="{0AF36BF8-8231-40C9-932A-AEB65B2BDA4E}"/>
              </a:ext>
            </a:extLst>
          </p:cNvPr>
          <p:cNvGrpSpPr/>
          <p:nvPr/>
        </p:nvGrpSpPr>
        <p:grpSpPr>
          <a:xfrm>
            <a:off x="2002910" y="1225288"/>
            <a:ext cx="1091272" cy="1000680"/>
            <a:chOff x="5324096" y="1958415"/>
            <a:chExt cx="1480929" cy="1409595"/>
          </a:xfrm>
        </p:grpSpPr>
        <p:sp>
          <p:nvSpPr>
            <p:cNvPr id="10" name="Oval 9">
              <a:extLst>
                <a:ext uri="{FF2B5EF4-FFF2-40B4-BE49-F238E27FC236}">
                  <a16:creationId xmlns:a16="http://schemas.microsoft.com/office/drawing/2014/main" id="{2922A066-BCBD-4797-B798-A4219F7C575C}"/>
                </a:ext>
              </a:extLst>
            </p:cNvPr>
            <p:cNvSpPr>
              <a:spLocks/>
            </p:cNvSpPr>
            <p:nvPr/>
          </p:nvSpPr>
          <p:spPr>
            <a:xfrm>
              <a:off x="5324096" y="1958415"/>
              <a:ext cx="1480929" cy="1409595"/>
            </a:xfrm>
            <a:prstGeom prst="ellipse">
              <a:avLst/>
            </a:prstGeom>
            <a:solidFill>
              <a:schemeClr val="accent5"/>
            </a:solidFill>
            <a:ln w="76200" cmpd="tri">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ctr" defTabSz="685238">
                <a:spcAft>
                  <a:spcPts val="300"/>
                </a:spcAft>
              </a:pPr>
              <a:endParaRPr lang="en-ZA" sz="2800" b="1">
                <a:solidFill>
                  <a:schemeClr val="bg1"/>
                </a:solidFill>
                <a:latin typeface="+mj-lt"/>
              </a:endParaRPr>
            </a:p>
          </p:txBody>
        </p:sp>
        <p:sp>
          <p:nvSpPr>
            <p:cNvPr id="38" name="Freeform 78">
              <a:extLst>
                <a:ext uri="{FF2B5EF4-FFF2-40B4-BE49-F238E27FC236}">
                  <a16:creationId xmlns:a16="http://schemas.microsoft.com/office/drawing/2014/main" id="{44B88187-8D69-407A-A3C6-652EC649589F}"/>
                </a:ext>
              </a:extLst>
            </p:cNvPr>
            <p:cNvSpPr>
              <a:spLocks/>
            </p:cNvSpPr>
            <p:nvPr/>
          </p:nvSpPr>
          <p:spPr bwMode="auto">
            <a:xfrm rot="619041">
              <a:off x="5693901" y="2283591"/>
              <a:ext cx="804059" cy="801110"/>
            </a:xfrm>
            <a:custGeom>
              <a:avLst/>
              <a:gdLst>
                <a:gd name="T0" fmla="*/ 0 w 876"/>
                <a:gd name="T1" fmla="*/ 113 h 876"/>
                <a:gd name="T2" fmla="*/ 0 w 876"/>
                <a:gd name="T3" fmla="*/ 89 h 876"/>
                <a:gd name="T4" fmla="*/ 12 w 876"/>
                <a:gd name="T5" fmla="*/ 58 h 876"/>
                <a:gd name="T6" fmla="*/ 89 w 876"/>
                <a:gd name="T7" fmla="*/ 0 h 876"/>
                <a:gd name="T8" fmla="*/ 113 w 876"/>
                <a:gd name="T9" fmla="*/ 0 h 876"/>
                <a:gd name="T10" fmla="*/ 118 w 876"/>
                <a:gd name="T11" fmla="*/ 3 h 876"/>
                <a:gd name="T12" fmla="*/ 188 w 876"/>
                <a:gd name="T13" fmla="*/ 151 h 876"/>
                <a:gd name="T14" fmla="*/ 193 w 876"/>
                <a:gd name="T15" fmla="*/ 170 h 876"/>
                <a:gd name="T16" fmla="*/ 291 w 876"/>
                <a:gd name="T17" fmla="*/ 268 h 876"/>
                <a:gd name="T18" fmla="*/ 330 w 876"/>
                <a:gd name="T19" fmla="*/ 310 h 876"/>
                <a:gd name="T20" fmla="*/ 485 w 876"/>
                <a:gd name="T21" fmla="*/ 277 h 876"/>
                <a:gd name="T22" fmla="*/ 516 w 876"/>
                <a:gd name="T23" fmla="*/ 202 h 876"/>
                <a:gd name="T24" fmla="*/ 509 w 876"/>
                <a:gd name="T25" fmla="*/ 178 h 876"/>
                <a:gd name="T26" fmla="*/ 501 w 876"/>
                <a:gd name="T27" fmla="*/ 32 h 876"/>
                <a:gd name="T28" fmla="*/ 562 w 876"/>
                <a:gd name="T29" fmla="*/ 0 h 876"/>
                <a:gd name="T30" fmla="*/ 586 w 876"/>
                <a:gd name="T31" fmla="*/ 0 h 876"/>
                <a:gd name="T32" fmla="*/ 632 w 876"/>
                <a:gd name="T33" fmla="*/ 21 h 876"/>
                <a:gd name="T34" fmla="*/ 667 w 876"/>
                <a:gd name="T35" fmla="*/ 136 h 876"/>
                <a:gd name="T36" fmla="*/ 565 w 876"/>
                <a:gd name="T37" fmla="*/ 202 h 876"/>
                <a:gd name="T38" fmla="*/ 550 w 876"/>
                <a:gd name="T39" fmla="*/ 206 h 876"/>
                <a:gd name="T40" fmla="*/ 516 w 876"/>
                <a:gd name="T41" fmla="*/ 289 h 876"/>
                <a:gd name="T42" fmla="*/ 586 w 876"/>
                <a:gd name="T43" fmla="*/ 360 h 876"/>
                <a:gd name="T44" fmla="*/ 606 w 876"/>
                <a:gd name="T45" fmla="*/ 455 h 876"/>
                <a:gd name="T46" fmla="*/ 665 w 876"/>
                <a:gd name="T47" fmla="*/ 467 h 876"/>
                <a:gd name="T48" fmla="*/ 689 w 876"/>
                <a:gd name="T49" fmla="*/ 457 h 876"/>
                <a:gd name="T50" fmla="*/ 830 w 876"/>
                <a:gd name="T51" fmla="*/ 422 h 876"/>
                <a:gd name="T52" fmla="*/ 876 w 876"/>
                <a:gd name="T53" fmla="*/ 493 h 876"/>
                <a:gd name="T54" fmla="*/ 876 w 876"/>
                <a:gd name="T55" fmla="*/ 517 h 876"/>
                <a:gd name="T56" fmla="*/ 856 w 876"/>
                <a:gd name="T57" fmla="*/ 565 h 876"/>
                <a:gd name="T58" fmla="*/ 752 w 876"/>
                <a:gd name="T59" fmla="*/ 603 h 876"/>
                <a:gd name="T60" fmla="*/ 676 w 876"/>
                <a:gd name="T61" fmla="*/ 518 h 876"/>
                <a:gd name="T62" fmla="*/ 668 w 876"/>
                <a:gd name="T63" fmla="*/ 502 h 876"/>
                <a:gd name="T64" fmla="*/ 599 w 876"/>
                <a:gd name="T65" fmla="*/ 487 h 876"/>
                <a:gd name="T66" fmla="*/ 528 w 876"/>
                <a:gd name="T67" fmla="*/ 581 h 876"/>
                <a:gd name="T68" fmla="*/ 570 w 876"/>
                <a:gd name="T69" fmla="*/ 666 h 876"/>
                <a:gd name="T70" fmla="*/ 592 w 876"/>
                <a:gd name="T71" fmla="*/ 677 h 876"/>
                <a:gd name="T72" fmla="*/ 689 w 876"/>
                <a:gd name="T73" fmla="*/ 718 h 876"/>
                <a:gd name="T74" fmla="*/ 695 w 876"/>
                <a:gd name="T75" fmla="*/ 823 h 876"/>
                <a:gd name="T76" fmla="*/ 620 w 876"/>
                <a:gd name="T77" fmla="*/ 876 h 876"/>
                <a:gd name="T78" fmla="*/ 592 w 876"/>
                <a:gd name="T79" fmla="*/ 876 h 876"/>
                <a:gd name="T80" fmla="*/ 578 w 876"/>
                <a:gd name="T81" fmla="*/ 871 h 876"/>
                <a:gd name="T82" fmla="*/ 522 w 876"/>
                <a:gd name="T83" fmla="*/ 722 h 876"/>
                <a:gd name="T84" fmla="*/ 547 w 876"/>
                <a:gd name="T85" fmla="*/ 692 h 876"/>
                <a:gd name="T86" fmla="*/ 498 w 876"/>
                <a:gd name="T87" fmla="*/ 595 h 876"/>
                <a:gd name="T88" fmla="*/ 318 w 876"/>
                <a:gd name="T89" fmla="*/ 556 h 876"/>
                <a:gd name="T90" fmla="*/ 190 w 876"/>
                <a:gd name="T91" fmla="*/ 658 h 876"/>
                <a:gd name="T92" fmla="*/ 196 w 876"/>
                <a:gd name="T93" fmla="*/ 677 h 876"/>
                <a:gd name="T94" fmla="*/ 162 w 876"/>
                <a:gd name="T95" fmla="*/ 788 h 876"/>
                <a:gd name="T96" fmla="*/ 48 w 876"/>
                <a:gd name="T97" fmla="*/ 793 h 876"/>
                <a:gd name="T98" fmla="*/ 0 w 876"/>
                <a:gd name="T99" fmla="*/ 722 h 876"/>
                <a:gd name="T100" fmla="*/ 0 w 876"/>
                <a:gd name="T101" fmla="*/ 695 h 876"/>
                <a:gd name="T102" fmla="*/ 3 w 876"/>
                <a:gd name="T103" fmla="*/ 689 h 876"/>
                <a:gd name="T104" fmla="*/ 161 w 876"/>
                <a:gd name="T105" fmla="*/ 627 h 876"/>
                <a:gd name="T106" fmla="*/ 180 w 876"/>
                <a:gd name="T107" fmla="*/ 625 h 876"/>
                <a:gd name="T108" fmla="*/ 289 w 876"/>
                <a:gd name="T109" fmla="*/ 537 h 876"/>
                <a:gd name="T110" fmla="*/ 297 w 876"/>
                <a:gd name="T111" fmla="*/ 529 h 876"/>
                <a:gd name="T112" fmla="*/ 309 w 876"/>
                <a:gd name="T113" fmla="*/ 331 h 876"/>
                <a:gd name="T114" fmla="*/ 168 w 876"/>
                <a:gd name="T115" fmla="*/ 190 h 876"/>
                <a:gd name="T116" fmla="*/ 148 w 876"/>
                <a:gd name="T117" fmla="*/ 190 h 876"/>
                <a:gd name="T118" fmla="*/ 50 w 876"/>
                <a:gd name="T119" fmla="*/ 187 h 876"/>
                <a:gd name="T120" fmla="*/ 0 w 876"/>
                <a:gd name="T121" fmla="*/ 113 h 8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76" h="876">
                  <a:moveTo>
                    <a:pt x="0" y="113"/>
                  </a:moveTo>
                  <a:cubicBezTo>
                    <a:pt x="0" y="105"/>
                    <a:pt x="0" y="97"/>
                    <a:pt x="0" y="89"/>
                  </a:cubicBezTo>
                  <a:cubicBezTo>
                    <a:pt x="4" y="79"/>
                    <a:pt x="7" y="68"/>
                    <a:pt x="12" y="58"/>
                  </a:cubicBezTo>
                  <a:cubicBezTo>
                    <a:pt x="27" y="25"/>
                    <a:pt x="56" y="9"/>
                    <a:pt x="89" y="0"/>
                  </a:cubicBezTo>
                  <a:cubicBezTo>
                    <a:pt x="97" y="0"/>
                    <a:pt x="105" y="0"/>
                    <a:pt x="113" y="0"/>
                  </a:cubicBezTo>
                  <a:cubicBezTo>
                    <a:pt x="115" y="1"/>
                    <a:pt x="116" y="2"/>
                    <a:pt x="118" y="3"/>
                  </a:cubicBezTo>
                  <a:cubicBezTo>
                    <a:pt x="184" y="12"/>
                    <a:pt x="224" y="89"/>
                    <a:pt x="188" y="151"/>
                  </a:cubicBezTo>
                  <a:cubicBezTo>
                    <a:pt x="183" y="160"/>
                    <a:pt x="187" y="165"/>
                    <a:pt x="193" y="170"/>
                  </a:cubicBezTo>
                  <a:cubicBezTo>
                    <a:pt x="226" y="203"/>
                    <a:pt x="258" y="235"/>
                    <a:pt x="291" y="268"/>
                  </a:cubicBezTo>
                  <a:cubicBezTo>
                    <a:pt x="304" y="282"/>
                    <a:pt x="317" y="296"/>
                    <a:pt x="330" y="310"/>
                  </a:cubicBezTo>
                  <a:cubicBezTo>
                    <a:pt x="379" y="274"/>
                    <a:pt x="429" y="262"/>
                    <a:pt x="485" y="277"/>
                  </a:cubicBezTo>
                  <a:cubicBezTo>
                    <a:pt x="496" y="251"/>
                    <a:pt x="505" y="226"/>
                    <a:pt x="516" y="202"/>
                  </a:cubicBezTo>
                  <a:cubicBezTo>
                    <a:pt x="521" y="191"/>
                    <a:pt x="518" y="186"/>
                    <a:pt x="509" y="178"/>
                  </a:cubicBezTo>
                  <a:cubicBezTo>
                    <a:pt x="464" y="141"/>
                    <a:pt x="461" y="75"/>
                    <a:pt x="501" y="32"/>
                  </a:cubicBezTo>
                  <a:cubicBezTo>
                    <a:pt x="517" y="14"/>
                    <a:pt x="539" y="7"/>
                    <a:pt x="562" y="0"/>
                  </a:cubicBezTo>
                  <a:cubicBezTo>
                    <a:pt x="570" y="0"/>
                    <a:pt x="578" y="0"/>
                    <a:pt x="586" y="0"/>
                  </a:cubicBezTo>
                  <a:cubicBezTo>
                    <a:pt x="601" y="7"/>
                    <a:pt x="618" y="12"/>
                    <a:pt x="632" y="21"/>
                  </a:cubicBezTo>
                  <a:cubicBezTo>
                    <a:pt x="669" y="46"/>
                    <a:pt x="682" y="93"/>
                    <a:pt x="667" y="136"/>
                  </a:cubicBezTo>
                  <a:cubicBezTo>
                    <a:pt x="653" y="178"/>
                    <a:pt x="611" y="204"/>
                    <a:pt x="565" y="202"/>
                  </a:cubicBezTo>
                  <a:cubicBezTo>
                    <a:pt x="560" y="201"/>
                    <a:pt x="551" y="203"/>
                    <a:pt x="550" y="206"/>
                  </a:cubicBezTo>
                  <a:cubicBezTo>
                    <a:pt x="537" y="234"/>
                    <a:pt x="527" y="262"/>
                    <a:pt x="516" y="289"/>
                  </a:cubicBezTo>
                  <a:cubicBezTo>
                    <a:pt x="547" y="307"/>
                    <a:pt x="570" y="330"/>
                    <a:pt x="586" y="360"/>
                  </a:cubicBezTo>
                  <a:cubicBezTo>
                    <a:pt x="602" y="390"/>
                    <a:pt x="607" y="422"/>
                    <a:pt x="606" y="455"/>
                  </a:cubicBezTo>
                  <a:cubicBezTo>
                    <a:pt x="627" y="459"/>
                    <a:pt x="646" y="462"/>
                    <a:pt x="665" y="467"/>
                  </a:cubicBezTo>
                  <a:cubicBezTo>
                    <a:pt x="677" y="471"/>
                    <a:pt x="682" y="468"/>
                    <a:pt x="689" y="457"/>
                  </a:cubicBezTo>
                  <a:cubicBezTo>
                    <a:pt x="717" y="406"/>
                    <a:pt x="782" y="390"/>
                    <a:pt x="830" y="422"/>
                  </a:cubicBezTo>
                  <a:cubicBezTo>
                    <a:pt x="856" y="439"/>
                    <a:pt x="869" y="464"/>
                    <a:pt x="876" y="493"/>
                  </a:cubicBezTo>
                  <a:cubicBezTo>
                    <a:pt x="876" y="501"/>
                    <a:pt x="876" y="509"/>
                    <a:pt x="876" y="517"/>
                  </a:cubicBezTo>
                  <a:cubicBezTo>
                    <a:pt x="870" y="533"/>
                    <a:pt x="865" y="551"/>
                    <a:pt x="856" y="565"/>
                  </a:cubicBezTo>
                  <a:cubicBezTo>
                    <a:pt x="833" y="599"/>
                    <a:pt x="790" y="613"/>
                    <a:pt x="752" y="603"/>
                  </a:cubicBezTo>
                  <a:cubicBezTo>
                    <a:pt x="710" y="592"/>
                    <a:pt x="682" y="561"/>
                    <a:pt x="676" y="518"/>
                  </a:cubicBezTo>
                  <a:cubicBezTo>
                    <a:pt x="675" y="512"/>
                    <a:pt x="672" y="503"/>
                    <a:pt x="668" y="502"/>
                  </a:cubicBezTo>
                  <a:cubicBezTo>
                    <a:pt x="645" y="496"/>
                    <a:pt x="622" y="492"/>
                    <a:pt x="599" y="487"/>
                  </a:cubicBezTo>
                  <a:cubicBezTo>
                    <a:pt x="586" y="528"/>
                    <a:pt x="561" y="557"/>
                    <a:pt x="528" y="581"/>
                  </a:cubicBezTo>
                  <a:cubicBezTo>
                    <a:pt x="542" y="610"/>
                    <a:pt x="557" y="637"/>
                    <a:pt x="570" y="666"/>
                  </a:cubicBezTo>
                  <a:cubicBezTo>
                    <a:pt x="575" y="676"/>
                    <a:pt x="580" y="679"/>
                    <a:pt x="592" y="677"/>
                  </a:cubicBezTo>
                  <a:cubicBezTo>
                    <a:pt x="632" y="671"/>
                    <a:pt x="665" y="685"/>
                    <a:pt x="689" y="718"/>
                  </a:cubicBezTo>
                  <a:cubicBezTo>
                    <a:pt x="712" y="751"/>
                    <a:pt x="713" y="787"/>
                    <a:pt x="695" y="823"/>
                  </a:cubicBezTo>
                  <a:cubicBezTo>
                    <a:pt x="679" y="854"/>
                    <a:pt x="651" y="868"/>
                    <a:pt x="620" y="876"/>
                  </a:cubicBezTo>
                  <a:cubicBezTo>
                    <a:pt x="611" y="876"/>
                    <a:pt x="602" y="876"/>
                    <a:pt x="592" y="876"/>
                  </a:cubicBezTo>
                  <a:cubicBezTo>
                    <a:pt x="588" y="875"/>
                    <a:pt x="583" y="873"/>
                    <a:pt x="578" y="871"/>
                  </a:cubicBezTo>
                  <a:cubicBezTo>
                    <a:pt x="515" y="852"/>
                    <a:pt x="487" y="779"/>
                    <a:pt x="522" y="722"/>
                  </a:cubicBezTo>
                  <a:cubicBezTo>
                    <a:pt x="529" y="711"/>
                    <a:pt x="538" y="702"/>
                    <a:pt x="547" y="692"/>
                  </a:cubicBezTo>
                  <a:cubicBezTo>
                    <a:pt x="531" y="660"/>
                    <a:pt x="515" y="628"/>
                    <a:pt x="498" y="595"/>
                  </a:cubicBezTo>
                  <a:cubicBezTo>
                    <a:pt x="430" y="619"/>
                    <a:pt x="370" y="603"/>
                    <a:pt x="318" y="556"/>
                  </a:cubicBezTo>
                  <a:cubicBezTo>
                    <a:pt x="274" y="591"/>
                    <a:pt x="232" y="624"/>
                    <a:pt x="190" y="658"/>
                  </a:cubicBezTo>
                  <a:cubicBezTo>
                    <a:pt x="192" y="665"/>
                    <a:pt x="195" y="671"/>
                    <a:pt x="196" y="677"/>
                  </a:cubicBezTo>
                  <a:cubicBezTo>
                    <a:pt x="210" y="718"/>
                    <a:pt x="196" y="761"/>
                    <a:pt x="162" y="788"/>
                  </a:cubicBezTo>
                  <a:cubicBezTo>
                    <a:pt x="129" y="813"/>
                    <a:pt x="83" y="815"/>
                    <a:pt x="48" y="793"/>
                  </a:cubicBezTo>
                  <a:cubicBezTo>
                    <a:pt x="22" y="776"/>
                    <a:pt x="9" y="751"/>
                    <a:pt x="0" y="722"/>
                  </a:cubicBezTo>
                  <a:cubicBezTo>
                    <a:pt x="0" y="713"/>
                    <a:pt x="0" y="704"/>
                    <a:pt x="0" y="695"/>
                  </a:cubicBezTo>
                  <a:cubicBezTo>
                    <a:pt x="1" y="693"/>
                    <a:pt x="3" y="691"/>
                    <a:pt x="3" y="689"/>
                  </a:cubicBezTo>
                  <a:cubicBezTo>
                    <a:pt x="16" y="619"/>
                    <a:pt x="100" y="583"/>
                    <a:pt x="161" y="627"/>
                  </a:cubicBezTo>
                  <a:cubicBezTo>
                    <a:pt x="169" y="634"/>
                    <a:pt x="174" y="630"/>
                    <a:pt x="180" y="625"/>
                  </a:cubicBezTo>
                  <a:cubicBezTo>
                    <a:pt x="216" y="595"/>
                    <a:pt x="253" y="566"/>
                    <a:pt x="289" y="537"/>
                  </a:cubicBezTo>
                  <a:cubicBezTo>
                    <a:pt x="292" y="535"/>
                    <a:pt x="294" y="532"/>
                    <a:pt x="297" y="529"/>
                  </a:cubicBezTo>
                  <a:cubicBezTo>
                    <a:pt x="258" y="460"/>
                    <a:pt x="263" y="395"/>
                    <a:pt x="309" y="331"/>
                  </a:cubicBezTo>
                  <a:cubicBezTo>
                    <a:pt x="261" y="284"/>
                    <a:pt x="214" y="237"/>
                    <a:pt x="168" y="190"/>
                  </a:cubicBezTo>
                  <a:cubicBezTo>
                    <a:pt x="160" y="183"/>
                    <a:pt x="155" y="186"/>
                    <a:pt x="148" y="190"/>
                  </a:cubicBezTo>
                  <a:cubicBezTo>
                    <a:pt x="115" y="207"/>
                    <a:pt x="82" y="206"/>
                    <a:pt x="50" y="187"/>
                  </a:cubicBezTo>
                  <a:cubicBezTo>
                    <a:pt x="21" y="171"/>
                    <a:pt x="8" y="144"/>
                    <a:pt x="0" y="113"/>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50000"/>
                </a:spcAft>
                <a:buClr>
                  <a:srgbClr val="FFE600"/>
                </a:buClr>
                <a:buSzPct val="80000"/>
                <a:buFont typeface="Arial" charset="0"/>
                <a:buNone/>
                <a:tabLst/>
                <a:defRPr/>
              </a:pPr>
              <a:endParaRPr kumimoji="0" lang="en-GB" sz="900" b="0" i="0" u="none" strike="noStrike" kern="1200" cap="none" spc="0" normalizeH="0" baseline="0" noProof="0">
                <a:ln>
                  <a:noFill/>
                </a:ln>
                <a:solidFill>
                  <a:srgbClr val="000000"/>
                </a:solidFill>
                <a:effectLst/>
                <a:uLnTx/>
                <a:uFillTx/>
                <a:latin typeface="EYInterstate Light" pitchFamily="2" charset="0"/>
                <a:ea typeface="+mn-ea"/>
                <a:cs typeface="+mn-cs"/>
              </a:endParaRPr>
            </a:p>
          </p:txBody>
        </p:sp>
      </p:grpSp>
      <p:grpSp>
        <p:nvGrpSpPr>
          <p:cNvPr id="59" name="Group 58">
            <a:extLst>
              <a:ext uri="{FF2B5EF4-FFF2-40B4-BE49-F238E27FC236}">
                <a16:creationId xmlns:a16="http://schemas.microsoft.com/office/drawing/2014/main" id="{CC5DA652-0756-4B8B-BC8A-87E34E15FE66}"/>
              </a:ext>
            </a:extLst>
          </p:cNvPr>
          <p:cNvGrpSpPr/>
          <p:nvPr/>
        </p:nvGrpSpPr>
        <p:grpSpPr>
          <a:xfrm>
            <a:off x="7955584" y="1206816"/>
            <a:ext cx="1040634" cy="1000680"/>
            <a:chOff x="8943881" y="1502373"/>
            <a:chExt cx="1480929" cy="1409595"/>
          </a:xfrm>
        </p:grpSpPr>
        <p:sp>
          <p:nvSpPr>
            <p:cNvPr id="41" name="Oval 40">
              <a:extLst>
                <a:ext uri="{FF2B5EF4-FFF2-40B4-BE49-F238E27FC236}">
                  <a16:creationId xmlns:a16="http://schemas.microsoft.com/office/drawing/2014/main" id="{60AC1638-4BFC-4125-BCFB-0EE8B3DD6AD9}"/>
                </a:ext>
              </a:extLst>
            </p:cNvPr>
            <p:cNvSpPr>
              <a:spLocks/>
            </p:cNvSpPr>
            <p:nvPr/>
          </p:nvSpPr>
          <p:spPr>
            <a:xfrm>
              <a:off x="8943881" y="1502373"/>
              <a:ext cx="1480929" cy="1409595"/>
            </a:xfrm>
            <a:prstGeom prst="ellipse">
              <a:avLst/>
            </a:prstGeom>
            <a:solidFill>
              <a:srgbClr val="91278F"/>
            </a:solidFill>
            <a:ln w="76200" cmpd="tri">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ctr" defTabSz="685238">
                <a:spcAft>
                  <a:spcPts val="300"/>
                </a:spcAft>
              </a:pPr>
              <a:endParaRPr lang="en-ZA" sz="2800" b="1">
                <a:solidFill>
                  <a:schemeClr val="bg1"/>
                </a:solidFill>
                <a:latin typeface="+mj-lt"/>
              </a:endParaRPr>
            </a:p>
          </p:txBody>
        </p:sp>
        <p:grpSp>
          <p:nvGrpSpPr>
            <p:cNvPr id="43" name="Group 42">
              <a:extLst>
                <a:ext uri="{FF2B5EF4-FFF2-40B4-BE49-F238E27FC236}">
                  <a16:creationId xmlns:a16="http://schemas.microsoft.com/office/drawing/2014/main" id="{BF6EC0B9-6B78-4EFC-8B4E-B3C9C4E435BE}"/>
                </a:ext>
              </a:extLst>
            </p:cNvPr>
            <p:cNvGrpSpPr/>
            <p:nvPr/>
          </p:nvGrpSpPr>
          <p:grpSpPr>
            <a:xfrm>
              <a:off x="9108781" y="1785017"/>
              <a:ext cx="1154173" cy="832734"/>
              <a:chOff x="559457" y="4152534"/>
              <a:chExt cx="2628900" cy="1817688"/>
            </a:xfrm>
            <a:solidFill>
              <a:schemeClr val="tx2"/>
            </a:solidFill>
          </p:grpSpPr>
          <p:sp>
            <p:nvSpPr>
              <p:cNvPr id="44" name="Freeform 6">
                <a:extLst>
                  <a:ext uri="{FF2B5EF4-FFF2-40B4-BE49-F238E27FC236}">
                    <a16:creationId xmlns:a16="http://schemas.microsoft.com/office/drawing/2014/main" id="{79759231-B467-4F84-A09A-0A331DD4F494}"/>
                  </a:ext>
                </a:extLst>
              </p:cNvPr>
              <p:cNvSpPr>
                <a:spLocks noEditPoints="1"/>
              </p:cNvSpPr>
              <p:nvPr/>
            </p:nvSpPr>
            <p:spPr bwMode="auto">
              <a:xfrm>
                <a:off x="767420" y="4330334"/>
                <a:ext cx="2224088" cy="1433513"/>
              </a:xfrm>
              <a:custGeom>
                <a:avLst/>
                <a:gdLst>
                  <a:gd name="T0" fmla="*/ 130 w 1400"/>
                  <a:gd name="T1" fmla="*/ 141 h 902"/>
                  <a:gd name="T2" fmla="*/ 109 w 1400"/>
                  <a:gd name="T3" fmla="*/ 6 h 902"/>
                  <a:gd name="T4" fmla="*/ 205 w 1400"/>
                  <a:gd name="T5" fmla="*/ 44 h 902"/>
                  <a:gd name="T6" fmla="*/ 454 w 1400"/>
                  <a:gd name="T7" fmla="*/ 53 h 902"/>
                  <a:gd name="T8" fmla="*/ 493 w 1400"/>
                  <a:gd name="T9" fmla="*/ 97 h 902"/>
                  <a:gd name="T10" fmla="*/ 819 w 1400"/>
                  <a:gd name="T11" fmla="*/ 81 h 902"/>
                  <a:gd name="T12" fmla="*/ 1115 w 1400"/>
                  <a:gd name="T13" fmla="*/ 67 h 902"/>
                  <a:gd name="T14" fmla="*/ 1350 w 1400"/>
                  <a:gd name="T15" fmla="*/ 270 h 902"/>
                  <a:gd name="T16" fmla="*/ 1349 w 1400"/>
                  <a:gd name="T17" fmla="*/ 643 h 902"/>
                  <a:gd name="T18" fmla="*/ 1155 w 1400"/>
                  <a:gd name="T19" fmla="*/ 827 h 902"/>
                  <a:gd name="T20" fmla="*/ 984 w 1400"/>
                  <a:gd name="T21" fmla="*/ 865 h 902"/>
                  <a:gd name="T22" fmla="*/ 736 w 1400"/>
                  <a:gd name="T23" fmla="*/ 799 h 902"/>
                  <a:gd name="T24" fmla="*/ 439 w 1400"/>
                  <a:gd name="T25" fmla="*/ 814 h 902"/>
                  <a:gd name="T26" fmla="*/ 399 w 1400"/>
                  <a:gd name="T27" fmla="*/ 850 h 902"/>
                  <a:gd name="T28" fmla="*/ 132 w 1400"/>
                  <a:gd name="T29" fmla="*/ 858 h 902"/>
                  <a:gd name="T30" fmla="*/ 10 w 1400"/>
                  <a:gd name="T31" fmla="*/ 798 h 902"/>
                  <a:gd name="T32" fmla="*/ 136 w 1400"/>
                  <a:gd name="T33" fmla="*/ 793 h 902"/>
                  <a:gd name="T34" fmla="*/ 378 w 1400"/>
                  <a:gd name="T35" fmla="*/ 799 h 902"/>
                  <a:gd name="T36" fmla="*/ 407 w 1400"/>
                  <a:gd name="T37" fmla="*/ 772 h 902"/>
                  <a:gd name="T38" fmla="*/ 777 w 1400"/>
                  <a:gd name="T39" fmla="*/ 747 h 902"/>
                  <a:gd name="T40" fmla="*/ 946 w 1400"/>
                  <a:gd name="T41" fmla="*/ 807 h 902"/>
                  <a:gd name="T42" fmla="*/ 1239 w 1400"/>
                  <a:gd name="T43" fmla="*/ 701 h 902"/>
                  <a:gd name="T44" fmla="*/ 1337 w 1400"/>
                  <a:gd name="T45" fmla="*/ 478 h 902"/>
                  <a:gd name="T46" fmla="*/ 1155 w 1400"/>
                  <a:gd name="T47" fmla="*/ 146 h 902"/>
                  <a:gd name="T48" fmla="*/ 826 w 1400"/>
                  <a:gd name="T49" fmla="*/ 139 h 902"/>
                  <a:gd name="T50" fmla="*/ 707 w 1400"/>
                  <a:gd name="T51" fmla="*/ 147 h 902"/>
                  <a:gd name="T52" fmla="*/ 465 w 1400"/>
                  <a:gd name="T53" fmla="*/ 150 h 902"/>
                  <a:gd name="T54" fmla="*/ 425 w 1400"/>
                  <a:gd name="T55" fmla="*/ 105 h 902"/>
                  <a:gd name="T56" fmla="*/ 191 w 1400"/>
                  <a:gd name="T57" fmla="*/ 97 h 902"/>
                  <a:gd name="T58" fmla="*/ 124 w 1400"/>
                  <a:gd name="T59" fmla="*/ 49 h 902"/>
                  <a:gd name="T60" fmla="*/ 127 w 1400"/>
                  <a:gd name="T61" fmla="*/ 97 h 902"/>
                  <a:gd name="T62" fmla="*/ 73 w 1400"/>
                  <a:gd name="T63" fmla="*/ 800 h 902"/>
                  <a:gd name="T64" fmla="*/ 72 w 1400"/>
                  <a:gd name="T65" fmla="*/ 847 h 902"/>
                  <a:gd name="T66" fmla="*/ 73 w 1400"/>
                  <a:gd name="T67" fmla="*/ 800 h 9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400" h="902">
                    <a:moveTo>
                      <a:pt x="191" y="97"/>
                    </a:moveTo>
                    <a:cubicBezTo>
                      <a:pt x="180" y="126"/>
                      <a:pt x="157" y="139"/>
                      <a:pt x="130" y="141"/>
                    </a:cubicBezTo>
                    <a:cubicBezTo>
                      <a:pt x="107" y="144"/>
                      <a:pt x="79" y="129"/>
                      <a:pt x="67" y="106"/>
                    </a:cubicBezTo>
                    <a:cubicBezTo>
                      <a:pt x="43" y="63"/>
                      <a:pt x="72" y="16"/>
                      <a:pt x="109" y="6"/>
                    </a:cubicBezTo>
                    <a:cubicBezTo>
                      <a:pt x="135" y="0"/>
                      <a:pt x="167" y="9"/>
                      <a:pt x="181" y="32"/>
                    </a:cubicBezTo>
                    <a:cubicBezTo>
                      <a:pt x="187" y="41"/>
                      <a:pt x="194" y="45"/>
                      <a:pt x="205" y="44"/>
                    </a:cubicBezTo>
                    <a:cubicBezTo>
                      <a:pt x="282" y="44"/>
                      <a:pt x="360" y="44"/>
                      <a:pt x="437" y="44"/>
                    </a:cubicBezTo>
                    <a:cubicBezTo>
                      <a:pt x="445" y="44"/>
                      <a:pt x="450" y="45"/>
                      <a:pt x="454" y="53"/>
                    </a:cubicBezTo>
                    <a:cubicBezTo>
                      <a:pt x="461" y="65"/>
                      <a:pt x="469" y="76"/>
                      <a:pt x="476" y="88"/>
                    </a:cubicBezTo>
                    <a:cubicBezTo>
                      <a:pt x="480" y="94"/>
                      <a:pt x="485" y="97"/>
                      <a:pt x="493" y="97"/>
                    </a:cubicBezTo>
                    <a:cubicBezTo>
                      <a:pt x="587" y="97"/>
                      <a:pt x="680" y="98"/>
                      <a:pt x="774" y="96"/>
                    </a:cubicBezTo>
                    <a:cubicBezTo>
                      <a:pt x="789" y="96"/>
                      <a:pt x="804" y="87"/>
                      <a:pt x="819" y="81"/>
                    </a:cubicBezTo>
                    <a:cubicBezTo>
                      <a:pt x="855" y="65"/>
                      <a:pt x="892" y="54"/>
                      <a:pt x="931" y="49"/>
                    </a:cubicBezTo>
                    <a:cubicBezTo>
                      <a:pt x="993" y="42"/>
                      <a:pt x="1055" y="46"/>
                      <a:pt x="1115" y="67"/>
                    </a:cubicBezTo>
                    <a:cubicBezTo>
                      <a:pt x="1166" y="84"/>
                      <a:pt x="1211" y="111"/>
                      <a:pt x="1252" y="145"/>
                    </a:cubicBezTo>
                    <a:cubicBezTo>
                      <a:pt x="1293" y="180"/>
                      <a:pt x="1325" y="222"/>
                      <a:pt x="1350" y="270"/>
                    </a:cubicBezTo>
                    <a:cubicBezTo>
                      <a:pt x="1373" y="315"/>
                      <a:pt x="1387" y="364"/>
                      <a:pt x="1392" y="415"/>
                    </a:cubicBezTo>
                    <a:cubicBezTo>
                      <a:pt x="1400" y="496"/>
                      <a:pt x="1385" y="571"/>
                      <a:pt x="1349" y="643"/>
                    </a:cubicBezTo>
                    <a:cubicBezTo>
                      <a:pt x="1332" y="676"/>
                      <a:pt x="1308" y="704"/>
                      <a:pt x="1284" y="732"/>
                    </a:cubicBezTo>
                    <a:cubicBezTo>
                      <a:pt x="1248" y="774"/>
                      <a:pt x="1204" y="804"/>
                      <a:pt x="1155" y="827"/>
                    </a:cubicBezTo>
                    <a:cubicBezTo>
                      <a:pt x="1118" y="845"/>
                      <a:pt x="1078" y="857"/>
                      <a:pt x="1037" y="861"/>
                    </a:cubicBezTo>
                    <a:cubicBezTo>
                      <a:pt x="1020" y="862"/>
                      <a:pt x="1002" y="866"/>
                      <a:pt x="984" y="865"/>
                    </a:cubicBezTo>
                    <a:cubicBezTo>
                      <a:pt x="914" y="863"/>
                      <a:pt x="847" y="849"/>
                      <a:pt x="786" y="813"/>
                    </a:cubicBezTo>
                    <a:cubicBezTo>
                      <a:pt x="771" y="804"/>
                      <a:pt x="755" y="799"/>
                      <a:pt x="736" y="799"/>
                    </a:cubicBezTo>
                    <a:cubicBezTo>
                      <a:pt x="647" y="800"/>
                      <a:pt x="557" y="800"/>
                      <a:pt x="468" y="799"/>
                    </a:cubicBezTo>
                    <a:cubicBezTo>
                      <a:pt x="454" y="799"/>
                      <a:pt x="446" y="805"/>
                      <a:pt x="439" y="814"/>
                    </a:cubicBezTo>
                    <a:cubicBezTo>
                      <a:pt x="433" y="823"/>
                      <a:pt x="427" y="831"/>
                      <a:pt x="421" y="840"/>
                    </a:cubicBezTo>
                    <a:cubicBezTo>
                      <a:pt x="416" y="847"/>
                      <a:pt x="409" y="850"/>
                      <a:pt x="399" y="850"/>
                    </a:cubicBezTo>
                    <a:cubicBezTo>
                      <a:pt x="316" y="850"/>
                      <a:pt x="232" y="850"/>
                      <a:pt x="149" y="850"/>
                    </a:cubicBezTo>
                    <a:cubicBezTo>
                      <a:pt x="141" y="850"/>
                      <a:pt x="136" y="852"/>
                      <a:pt x="132" y="858"/>
                    </a:cubicBezTo>
                    <a:cubicBezTo>
                      <a:pt x="108" y="896"/>
                      <a:pt x="63" y="902"/>
                      <a:pt x="28" y="874"/>
                    </a:cubicBezTo>
                    <a:cubicBezTo>
                      <a:pt x="8" y="858"/>
                      <a:pt x="0" y="826"/>
                      <a:pt x="10" y="798"/>
                    </a:cubicBezTo>
                    <a:cubicBezTo>
                      <a:pt x="18" y="775"/>
                      <a:pt x="45" y="756"/>
                      <a:pt x="69" y="755"/>
                    </a:cubicBezTo>
                    <a:cubicBezTo>
                      <a:pt x="100" y="753"/>
                      <a:pt x="121" y="767"/>
                      <a:pt x="136" y="793"/>
                    </a:cubicBezTo>
                    <a:cubicBezTo>
                      <a:pt x="138" y="796"/>
                      <a:pt x="143" y="800"/>
                      <a:pt x="147" y="800"/>
                    </a:cubicBezTo>
                    <a:cubicBezTo>
                      <a:pt x="224" y="800"/>
                      <a:pt x="301" y="800"/>
                      <a:pt x="378" y="799"/>
                    </a:cubicBezTo>
                    <a:cubicBezTo>
                      <a:pt x="384" y="799"/>
                      <a:pt x="391" y="793"/>
                      <a:pt x="396" y="788"/>
                    </a:cubicBezTo>
                    <a:cubicBezTo>
                      <a:pt x="400" y="784"/>
                      <a:pt x="404" y="778"/>
                      <a:pt x="407" y="772"/>
                    </a:cubicBezTo>
                    <a:cubicBezTo>
                      <a:pt x="416" y="749"/>
                      <a:pt x="436" y="747"/>
                      <a:pt x="456" y="747"/>
                    </a:cubicBezTo>
                    <a:cubicBezTo>
                      <a:pt x="563" y="747"/>
                      <a:pt x="670" y="747"/>
                      <a:pt x="777" y="747"/>
                    </a:cubicBezTo>
                    <a:cubicBezTo>
                      <a:pt x="785" y="748"/>
                      <a:pt x="794" y="753"/>
                      <a:pt x="802" y="758"/>
                    </a:cubicBezTo>
                    <a:cubicBezTo>
                      <a:pt x="846" y="785"/>
                      <a:pt x="895" y="802"/>
                      <a:pt x="946" y="807"/>
                    </a:cubicBezTo>
                    <a:cubicBezTo>
                      <a:pt x="1007" y="813"/>
                      <a:pt x="1066" y="805"/>
                      <a:pt x="1123" y="780"/>
                    </a:cubicBezTo>
                    <a:cubicBezTo>
                      <a:pt x="1167" y="761"/>
                      <a:pt x="1206" y="735"/>
                      <a:pt x="1239" y="701"/>
                    </a:cubicBezTo>
                    <a:cubicBezTo>
                      <a:pt x="1273" y="666"/>
                      <a:pt x="1298" y="625"/>
                      <a:pt x="1315" y="580"/>
                    </a:cubicBezTo>
                    <a:cubicBezTo>
                      <a:pt x="1328" y="547"/>
                      <a:pt x="1334" y="513"/>
                      <a:pt x="1337" y="478"/>
                    </a:cubicBezTo>
                    <a:cubicBezTo>
                      <a:pt x="1342" y="412"/>
                      <a:pt x="1328" y="350"/>
                      <a:pt x="1297" y="291"/>
                    </a:cubicBezTo>
                    <a:cubicBezTo>
                      <a:pt x="1265" y="229"/>
                      <a:pt x="1217" y="181"/>
                      <a:pt x="1155" y="146"/>
                    </a:cubicBezTo>
                    <a:cubicBezTo>
                      <a:pt x="1093" y="111"/>
                      <a:pt x="1026" y="98"/>
                      <a:pt x="955" y="103"/>
                    </a:cubicBezTo>
                    <a:cubicBezTo>
                      <a:pt x="910" y="106"/>
                      <a:pt x="866" y="118"/>
                      <a:pt x="826" y="139"/>
                    </a:cubicBezTo>
                    <a:cubicBezTo>
                      <a:pt x="813" y="146"/>
                      <a:pt x="800" y="151"/>
                      <a:pt x="785" y="150"/>
                    </a:cubicBezTo>
                    <a:cubicBezTo>
                      <a:pt x="759" y="148"/>
                      <a:pt x="733" y="148"/>
                      <a:pt x="707" y="147"/>
                    </a:cubicBezTo>
                    <a:cubicBezTo>
                      <a:pt x="671" y="147"/>
                      <a:pt x="635" y="147"/>
                      <a:pt x="599" y="147"/>
                    </a:cubicBezTo>
                    <a:cubicBezTo>
                      <a:pt x="554" y="148"/>
                      <a:pt x="510" y="149"/>
                      <a:pt x="465" y="150"/>
                    </a:cubicBezTo>
                    <a:cubicBezTo>
                      <a:pt x="456" y="150"/>
                      <a:pt x="451" y="147"/>
                      <a:pt x="447" y="140"/>
                    </a:cubicBezTo>
                    <a:cubicBezTo>
                      <a:pt x="440" y="128"/>
                      <a:pt x="433" y="116"/>
                      <a:pt x="425" y="105"/>
                    </a:cubicBezTo>
                    <a:cubicBezTo>
                      <a:pt x="422" y="101"/>
                      <a:pt x="417" y="97"/>
                      <a:pt x="412" y="97"/>
                    </a:cubicBezTo>
                    <a:cubicBezTo>
                      <a:pt x="339" y="97"/>
                      <a:pt x="265" y="97"/>
                      <a:pt x="191" y="97"/>
                    </a:cubicBezTo>
                    <a:close/>
                    <a:moveTo>
                      <a:pt x="151" y="72"/>
                    </a:moveTo>
                    <a:cubicBezTo>
                      <a:pt x="151" y="58"/>
                      <a:pt x="140" y="49"/>
                      <a:pt x="124" y="49"/>
                    </a:cubicBezTo>
                    <a:cubicBezTo>
                      <a:pt x="113" y="50"/>
                      <a:pt x="102" y="61"/>
                      <a:pt x="102" y="72"/>
                    </a:cubicBezTo>
                    <a:cubicBezTo>
                      <a:pt x="103" y="87"/>
                      <a:pt x="114" y="98"/>
                      <a:pt x="127" y="97"/>
                    </a:cubicBezTo>
                    <a:cubicBezTo>
                      <a:pt x="140" y="96"/>
                      <a:pt x="152" y="85"/>
                      <a:pt x="151" y="72"/>
                    </a:cubicBezTo>
                    <a:close/>
                    <a:moveTo>
                      <a:pt x="73" y="800"/>
                    </a:moveTo>
                    <a:cubicBezTo>
                      <a:pt x="63" y="799"/>
                      <a:pt x="51" y="809"/>
                      <a:pt x="49" y="820"/>
                    </a:cubicBezTo>
                    <a:cubicBezTo>
                      <a:pt x="48" y="832"/>
                      <a:pt x="60" y="846"/>
                      <a:pt x="72" y="847"/>
                    </a:cubicBezTo>
                    <a:cubicBezTo>
                      <a:pt x="84" y="849"/>
                      <a:pt x="96" y="837"/>
                      <a:pt x="98" y="824"/>
                    </a:cubicBezTo>
                    <a:cubicBezTo>
                      <a:pt x="99" y="810"/>
                      <a:pt x="90" y="801"/>
                      <a:pt x="73" y="8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5" name="Freeform 7">
                <a:extLst>
                  <a:ext uri="{FF2B5EF4-FFF2-40B4-BE49-F238E27FC236}">
                    <a16:creationId xmlns:a16="http://schemas.microsoft.com/office/drawing/2014/main" id="{6E93E79F-1665-4BC3-9FD7-19F453B2E83F}"/>
                  </a:ext>
                </a:extLst>
              </p:cNvPr>
              <p:cNvSpPr>
                <a:spLocks/>
              </p:cNvSpPr>
              <p:nvPr/>
            </p:nvSpPr>
            <p:spPr bwMode="auto">
              <a:xfrm>
                <a:off x="1734207" y="4152534"/>
                <a:ext cx="1454150" cy="1817688"/>
              </a:xfrm>
              <a:custGeom>
                <a:avLst/>
                <a:gdLst>
                  <a:gd name="T0" fmla="*/ 0 w 915"/>
                  <a:gd name="T1" fmla="*/ 936 h 1144"/>
                  <a:gd name="T2" fmla="*/ 104 w 915"/>
                  <a:gd name="T3" fmla="*/ 937 h 1144"/>
                  <a:gd name="T4" fmla="*/ 137 w 915"/>
                  <a:gd name="T5" fmla="*/ 956 h 1144"/>
                  <a:gd name="T6" fmla="*/ 279 w 915"/>
                  <a:gd name="T7" fmla="*/ 1014 h 1144"/>
                  <a:gd name="T8" fmla="*/ 354 w 915"/>
                  <a:gd name="T9" fmla="*/ 1023 h 1144"/>
                  <a:gd name="T10" fmla="*/ 579 w 915"/>
                  <a:gd name="T11" fmla="*/ 977 h 1144"/>
                  <a:gd name="T12" fmla="*/ 729 w 915"/>
                  <a:gd name="T13" fmla="*/ 859 h 1144"/>
                  <a:gd name="T14" fmla="*/ 826 w 915"/>
                  <a:gd name="T15" fmla="*/ 651 h 1144"/>
                  <a:gd name="T16" fmla="*/ 832 w 915"/>
                  <a:gd name="T17" fmla="*/ 528 h 1144"/>
                  <a:gd name="T18" fmla="*/ 784 w 915"/>
                  <a:gd name="T19" fmla="*/ 360 h 1144"/>
                  <a:gd name="T20" fmla="*/ 727 w 915"/>
                  <a:gd name="T21" fmla="*/ 275 h 1144"/>
                  <a:gd name="T22" fmla="*/ 620 w 915"/>
                  <a:gd name="T23" fmla="*/ 181 h 1144"/>
                  <a:gd name="T24" fmla="*/ 449 w 915"/>
                  <a:gd name="T25" fmla="*/ 117 h 1144"/>
                  <a:gd name="T26" fmla="*/ 336 w 915"/>
                  <a:gd name="T27" fmla="*/ 112 h 1144"/>
                  <a:gd name="T28" fmla="*/ 200 w 915"/>
                  <a:gd name="T29" fmla="*/ 146 h 1144"/>
                  <a:gd name="T30" fmla="*/ 136 w 915"/>
                  <a:gd name="T31" fmla="*/ 179 h 1144"/>
                  <a:gd name="T32" fmla="*/ 125 w 915"/>
                  <a:gd name="T33" fmla="*/ 182 h 1144"/>
                  <a:gd name="T34" fmla="*/ 16 w 915"/>
                  <a:gd name="T35" fmla="*/ 183 h 1144"/>
                  <a:gd name="T36" fmla="*/ 524 w 915"/>
                  <a:gd name="T37" fmla="*/ 60 h 1144"/>
                  <a:gd name="T38" fmla="*/ 902 w 915"/>
                  <a:gd name="T39" fmla="*/ 508 h 1144"/>
                  <a:gd name="T40" fmla="*/ 830 w 915"/>
                  <a:gd name="T41" fmla="*/ 840 h 1144"/>
                  <a:gd name="T42" fmla="*/ 561 w 915"/>
                  <a:gd name="T43" fmla="*/ 1062 h 1144"/>
                  <a:gd name="T44" fmla="*/ 0 w 915"/>
                  <a:gd name="T45" fmla="*/ 936 h 1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15" h="1144">
                    <a:moveTo>
                      <a:pt x="0" y="936"/>
                    </a:moveTo>
                    <a:cubicBezTo>
                      <a:pt x="36" y="936"/>
                      <a:pt x="70" y="934"/>
                      <a:pt x="104" y="937"/>
                    </a:cubicBezTo>
                    <a:cubicBezTo>
                      <a:pt x="115" y="937"/>
                      <a:pt x="126" y="949"/>
                      <a:pt x="137" y="956"/>
                    </a:cubicBezTo>
                    <a:cubicBezTo>
                      <a:pt x="180" y="985"/>
                      <a:pt x="229" y="1002"/>
                      <a:pt x="279" y="1014"/>
                    </a:cubicBezTo>
                    <a:cubicBezTo>
                      <a:pt x="303" y="1020"/>
                      <a:pt x="329" y="1021"/>
                      <a:pt x="354" y="1023"/>
                    </a:cubicBezTo>
                    <a:cubicBezTo>
                      <a:pt x="433" y="1029"/>
                      <a:pt x="508" y="1011"/>
                      <a:pt x="579" y="977"/>
                    </a:cubicBezTo>
                    <a:cubicBezTo>
                      <a:pt x="637" y="949"/>
                      <a:pt x="688" y="909"/>
                      <a:pt x="729" y="859"/>
                    </a:cubicBezTo>
                    <a:cubicBezTo>
                      <a:pt x="779" y="798"/>
                      <a:pt x="812" y="729"/>
                      <a:pt x="826" y="651"/>
                    </a:cubicBezTo>
                    <a:cubicBezTo>
                      <a:pt x="833" y="610"/>
                      <a:pt x="836" y="569"/>
                      <a:pt x="832" y="528"/>
                    </a:cubicBezTo>
                    <a:cubicBezTo>
                      <a:pt x="826" y="468"/>
                      <a:pt x="811" y="412"/>
                      <a:pt x="784" y="360"/>
                    </a:cubicBezTo>
                    <a:cubicBezTo>
                      <a:pt x="769" y="330"/>
                      <a:pt x="747" y="302"/>
                      <a:pt x="727" y="275"/>
                    </a:cubicBezTo>
                    <a:cubicBezTo>
                      <a:pt x="698" y="237"/>
                      <a:pt x="661" y="207"/>
                      <a:pt x="620" y="181"/>
                    </a:cubicBezTo>
                    <a:cubicBezTo>
                      <a:pt x="567" y="148"/>
                      <a:pt x="511" y="124"/>
                      <a:pt x="449" y="117"/>
                    </a:cubicBezTo>
                    <a:cubicBezTo>
                      <a:pt x="411" y="113"/>
                      <a:pt x="373" y="110"/>
                      <a:pt x="336" y="112"/>
                    </a:cubicBezTo>
                    <a:cubicBezTo>
                      <a:pt x="289" y="115"/>
                      <a:pt x="243" y="126"/>
                      <a:pt x="200" y="146"/>
                    </a:cubicBezTo>
                    <a:cubicBezTo>
                      <a:pt x="178" y="156"/>
                      <a:pt x="157" y="168"/>
                      <a:pt x="136" y="179"/>
                    </a:cubicBezTo>
                    <a:cubicBezTo>
                      <a:pt x="133" y="181"/>
                      <a:pt x="129" y="182"/>
                      <a:pt x="125" y="182"/>
                    </a:cubicBezTo>
                    <a:cubicBezTo>
                      <a:pt x="89" y="183"/>
                      <a:pt x="53" y="183"/>
                      <a:pt x="16" y="183"/>
                    </a:cubicBezTo>
                    <a:cubicBezTo>
                      <a:pt x="123" y="73"/>
                      <a:pt x="321" y="0"/>
                      <a:pt x="524" y="60"/>
                    </a:cubicBezTo>
                    <a:cubicBezTo>
                      <a:pt x="746" y="125"/>
                      <a:pt x="881" y="316"/>
                      <a:pt x="902" y="508"/>
                    </a:cubicBezTo>
                    <a:cubicBezTo>
                      <a:pt x="915" y="627"/>
                      <a:pt x="891" y="738"/>
                      <a:pt x="830" y="840"/>
                    </a:cubicBezTo>
                    <a:cubicBezTo>
                      <a:pt x="766" y="944"/>
                      <a:pt x="676" y="1019"/>
                      <a:pt x="561" y="1062"/>
                    </a:cubicBezTo>
                    <a:cubicBezTo>
                      <a:pt x="343" y="1144"/>
                      <a:pt x="119" y="1066"/>
                      <a:pt x="0" y="9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6" name="Freeform 8">
                <a:extLst>
                  <a:ext uri="{FF2B5EF4-FFF2-40B4-BE49-F238E27FC236}">
                    <a16:creationId xmlns:a16="http://schemas.microsoft.com/office/drawing/2014/main" id="{437D0044-7A1D-45D0-B64D-F43156C3EC53}"/>
                  </a:ext>
                </a:extLst>
              </p:cNvPr>
              <p:cNvSpPr>
                <a:spLocks noEditPoints="1"/>
              </p:cNvSpPr>
              <p:nvPr/>
            </p:nvSpPr>
            <p:spPr bwMode="auto">
              <a:xfrm>
                <a:off x="559457" y="4579572"/>
                <a:ext cx="1338263" cy="280988"/>
              </a:xfrm>
              <a:custGeom>
                <a:avLst/>
                <a:gdLst>
                  <a:gd name="T0" fmla="*/ 842 w 842"/>
                  <a:gd name="T1" fmla="*/ 72 h 176"/>
                  <a:gd name="T2" fmla="*/ 809 w 842"/>
                  <a:gd name="T3" fmla="*/ 119 h 176"/>
                  <a:gd name="T4" fmla="*/ 792 w 842"/>
                  <a:gd name="T5" fmla="*/ 124 h 176"/>
                  <a:gd name="T6" fmla="*/ 665 w 842"/>
                  <a:gd name="T7" fmla="*/ 122 h 176"/>
                  <a:gd name="T8" fmla="*/ 513 w 842"/>
                  <a:gd name="T9" fmla="*/ 125 h 176"/>
                  <a:gd name="T10" fmla="*/ 496 w 842"/>
                  <a:gd name="T11" fmla="*/ 116 h 176"/>
                  <a:gd name="T12" fmla="*/ 462 w 842"/>
                  <a:gd name="T13" fmla="*/ 63 h 176"/>
                  <a:gd name="T14" fmla="*/ 444 w 842"/>
                  <a:gd name="T15" fmla="*/ 53 h 176"/>
                  <a:gd name="T16" fmla="*/ 331 w 842"/>
                  <a:gd name="T17" fmla="*/ 53 h 176"/>
                  <a:gd name="T18" fmla="*/ 315 w 842"/>
                  <a:gd name="T19" fmla="*/ 62 h 176"/>
                  <a:gd name="T20" fmla="*/ 283 w 842"/>
                  <a:gd name="T21" fmla="*/ 119 h 176"/>
                  <a:gd name="T22" fmla="*/ 265 w 842"/>
                  <a:gd name="T23" fmla="*/ 130 h 176"/>
                  <a:gd name="T24" fmla="*/ 155 w 842"/>
                  <a:gd name="T25" fmla="*/ 130 h 176"/>
                  <a:gd name="T26" fmla="*/ 133 w 842"/>
                  <a:gd name="T27" fmla="*/ 141 h 176"/>
                  <a:gd name="T28" fmla="*/ 70 w 842"/>
                  <a:gd name="T29" fmla="*/ 174 h 176"/>
                  <a:gd name="T30" fmla="*/ 8 w 842"/>
                  <a:gd name="T31" fmla="*/ 122 h 176"/>
                  <a:gd name="T32" fmla="*/ 38 w 842"/>
                  <a:gd name="T33" fmla="*/ 48 h 176"/>
                  <a:gd name="T34" fmla="*/ 136 w 842"/>
                  <a:gd name="T35" fmla="*/ 73 h 176"/>
                  <a:gd name="T36" fmla="*/ 147 w 842"/>
                  <a:gd name="T37" fmla="*/ 79 h 176"/>
                  <a:gd name="T38" fmla="*/ 237 w 842"/>
                  <a:gd name="T39" fmla="*/ 80 h 176"/>
                  <a:gd name="T40" fmla="*/ 252 w 842"/>
                  <a:gd name="T41" fmla="*/ 67 h 176"/>
                  <a:gd name="T42" fmla="*/ 286 w 842"/>
                  <a:gd name="T43" fmla="*/ 10 h 176"/>
                  <a:gd name="T44" fmla="*/ 301 w 842"/>
                  <a:gd name="T45" fmla="*/ 1 h 176"/>
                  <a:gd name="T46" fmla="*/ 473 w 842"/>
                  <a:gd name="T47" fmla="*/ 1 h 176"/>
                  <a:gd name="T48" fmla="*/ 488 w 842"/>
                  <a:gd name="T49" fmla="*/ 9 h 176"/>
                  <a:gd name="T50" fmla="*/ 523 w 842"/>
                  <a:gd name="T51" fmla="*/ 61 h 176"/>
                  <a:gd name="T52" fmla="*/ 544 w 842"/>
                  <a:gd name="T53" fmla="*/ 72 h 176"/>
                  <a:gd name="T54" fmla="*/ 824 w 842"/>
                  <a:gd name="T55" fmla="*/ 72 h 176"/>
                  <a:gd name="T56" fmla="*/ 842 w 842"/>
                  <a:gd name="T57" fmla="*/ 72 h 176"/>
                  <a:gd name="T58" fmla="*/ 51 w 842"/>
                  <a:gd name="T59" fmla="*/ 104 h 176"/>
                  <a:gd name="T60" fmla="*/ 74 w 842"/>
                  <a:gd name="T61" fmla="*/ 130 h 176"/>
                  <a:gd name="T62" fmla="*/ 99 w 842"/>
                  <a:gd name="T63" fmla="*/ 105 h 176"/>
                  <a:gd name="T64" fmla="*/ 75 w 842"/>
                  <a:gd name="T65" fmla="*/ 80 h 176"/>
                  <a:gd name="T66" fmla="*/ 51 w 842"/>
                  <a:gd name="T67" fmla="*/ 104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42" h="176">
                    <a:moveTo>
                      <a:pt x="842" y="72"/>
                    </a:moveTo>
                    <a:cubicBezTo>
                      <a:pt x="830" y="89"/>
                      <a:pt x="820" y="105"/>
                      <a:pt x="809" y="119"/>
                    </a:cubicBezTo>
                    <a:cubicBezTo>
                      <a:pt x="806" y="123"/>
                      <a:pt x="798" y="124"/>
                      <a:pt x="792" y="124"/>
                    </a:cubicBezTo>
                    <a:cubicBezTo>
                      <a:pt x="750" y="124"/>
                      <a:pt x="707" y="122"/>
                      <a:pt x="665" y="122"/>
                    </a:cubicBezTo>
                    <a:cubicBezTo>
                      <a:pt x="614" y="123"/>
                      <a:pt x="564" y="124"/>
                      <a:pt x="513" y="125"/>
                    </a:cubicBezTo>
                    <a:cubicBezTo>
                      <a:pt x="505" y="125"/>
                      <a:pt x="501" y="122"/>
                      <a:pt x="496" y="116"/>
                    </a:cubicBezTo>
                    <a:cubicBezTo>
                      <a:pt x="485" y="98"/>
                      <a:pt x="473" y="81"/>
                      <a:pt x="462" y="63"/>
                    </a:cubicBezTo>
                    <a:cubicBezTo>
                      <a:pt x="458" y="57"/>
                      <a:pt x="453" y="53"/>
                      <a:pt x="444" y="53"/>
                    </a:cubicBezTo>
                    <a:cubicBezTo>
                      <a:pt x="406" y="54"/>
                      <a:pt x="368" y="54"/>
                      <a:pt x="331" y="53"/>
                    </a:cubicBezTo>
                    <a:cubicBezTo>
                      <a:pt x="323" y="53"/>
                      <a:pt x="319" y="56"/>
                      <a:pt x="315" y="62"/>
                    </a:cubicBezTo>
                    <a:cubicBezTo>
                      <a:pt x="305" y="81"/>
                      <a:pt x="294" y="100"/>
                      <a:pt x="283" y="119"/>
                    </a:cubicBezTo>
                    <a:cubicBezTo>
                      <a:pt x="279" y="127"/>
                      <a:pt x="274" y="130"/>
                      <a:pt x="265" y="130"/>
                    </a:cubicBezTo>
                    <a:cubicBezTo>
                      <a:pt x="228" y="129"/>
                      <a:pt x="192" y="130"/>
                      <a:pt x="155" y="130"/>
                    </a:cubicBezTo>
                    <a:cubicBezTo>
                      <a:pt x="145" y="129"/>
                      <a:pt x="138" y="132"/>
                      <a:pt x="133" y="141"/>
                    </a:cubicBezTo>
                    <a:cubicBezTo>
                      <a:pt x="119" y="165"/>
                      <a:pt x="96" y="176"/>
                      <a:pt x="70" y="174"/>
                    </a:cubicBezTo>
                    <a:cubicBezTo>
                      <a:pt x="39" y="172"/>
                      <a:pt x="18" y="153"/>
                      <a:pt x="8" y="122"/>
                    </a:cubicBezTo>
                    <a:cubicBezTo>
                      <a:pt x="0" y="95"/>
                      <a:pt x="13" y="64"/>
                      <a:pt x="38" y="48"/>
                    </a:cubicBezTo>
                    <a:cubicBezTo>
                      <a:pt x="75" y="24"/>
                      <a:pt x="116" y="42"/>
                      <a:pt x="136" y="73"/>
                    </a:cubicBezTo>
                    <a:cubicBezTo>
                      <a:pt x="138" y="76"/>
                      <a:pt x="143" y="79"/>
                      <a:pt x="147" y="79"/>
                    </a:cubicBezTo>
                    <a:cubicBezTo>
                      <a:pt x="177" y="80"/>
                      <a:pt x="207" y="79"/>
                      <a:pt x="237" y="80"/>
                    </a:cubicBezTo>
                    <a:cubicBezTo>
                      <a:pt x="247" y="80"/>
                      <a:pt x="249" y="73"/>
                      <a:pt x="252" y="67"/>
                    </a:cubicBezTo>
                    <a:cubicBezTo>
                      <a:pt x="264" y="48"/>
                      <a:pt x="274" y="29"/>
                      <a:pt x="286" y="10"/>
                    </a:cubicBezTo>
                    <a:cubicBezTo>
                      <a:pt x="289" y="5"/>
                      <a:pt x="296" y="1"/>
                      <a:pt x="301" y="1"/>
                    </a:cubicBezTo>
                    <a:cubicBezTo>
                      <a:pt x="358" y="0"/>
                      <a:pt x="415" y="0"/>
                      <a:pt x="473" y="1"/>
                    </a:cubicBezTo>
                    <a:cubicBezTo>
                      <a:pt x="478" y="1"/>
                      <a:pt x="485" y="5"/>
                      <a:pt x="488" y="9"/>
                    </a:cubicBezTo>
                    <a:cubicBezTo>
                      <a:pt x="501" y="26"/>
                      <a:pt x="513" y="44"/>
                      <a:pt x="523" y="61"/>
                    </a:cubicBezTo>
                    <a:cubicBezTo>
                      <a:pt x="529" y="70"/>
                      <a:pt x="535" y="72"/>
                      <a:pt x="544" y="72"/>
                    </a:cubicBezTo>
                    <a:cubicBezTo>
                      <a:pt x="637" y="72"/>
                      <a:pt x="730" y="72"/>
                      <a:pt x="824" y="72"/>
                    </a:cubicBezTo>
                    <a:cubicBezTo>
                      <a:pt x="829" y="72"/>
                      <a:pt x="834" y="72"/>
                      <a:pt x="842" y="72"/>
                    </a:cubicBezTo>
                    <a:close/>
                    <a:moveTo>
                      <a:pt x="51" y="104"/>
                    </a:moveTo>
                    <a:cubicBezTo>
                      <a:pt x="51" y="119"/>
                      <a:pt x="61" y="130"/>
                      <a:pt x="74" y="130"/>
                    </a:cubicBezTo>
                    <a:cubicBezTo>
                      <a:pt x="88" y="129"/>
                      <a:pt x="99" y="119"/>
                      <a:pt x="99" y="105"/>
                    </a:cubicBezTo>
                    <a:cubicBezTo>
                      <a:pt x="99" y="91"/>
                      <a:pt x="88" y="80"/>
                      <a:pt x="75" y="80"/>
                    </a:cubicBezTo>
                    <a:cubicBezTo>
                      <a:pt x="62" y="80"/>
                      <a:pt x="51" y="91"/>
                      <a:pt x="51" y="10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7" name="Freeform 9">
                <a:extLst>
                  <a:ext uri="{FF2B5EF4-FFF2-40B4-BE49-F238E27FC236}">
                    <a16:creationId xmlns:a16="http://schemas.microsoft.com/office/drawing/2014/main" id="{18460B41-5AA8-44EB-8466-C7470EBA0B62}"/>
                  </a:ext>
                </a:extLst>
              </p:cNvPr>
              <p:cNvSpPr>
                <a:spLocks noEditPoints="1"/>
              </p:cNvSpPr>
              <p:nvPr/>
            </p:nvSpPr>
            <p:spPr bwMode="auto">
              <a:xfrm>
                <a:off x="832507" y="5106622"/>
                <a:ext cx="954088" cy="247650"/>
              </a:xfrm>
              <a:custGeom>
                <a:avLst/>
                <a:gdLst>
                  <a:gd name="T0" fmla="*/ 600 w 600"/>
                  <a:gd name="T1" fmla="*/ 56 h 156"/>
                  <a:gd name="T2" fmla="*/ 583 w 600"/>
                  <a:gd name="T3" fmla="*/ 56 h 156"/>
                  <a:gd name="T4" fmla="*/ 292 w 600"/>
                  <a:gd name="T5" fmla="*/ 56 h 156"/>
                  <a:gd name="T6" fmla="*/ 268 w 600"/>
                  <a:gd name="T7" fmla="*/ 68 h 156"/>
                  <a:gd name="T8" fmla="*/ 243 w 600"/>
                  <a:gd name="T9" fmla="*/ 101 h 156"/>
                  <a:gd name="T10" fmla="*/ 230 w 600"/>
                  <a:gd name="T11" fmla="*/ 106 h 156"/>
                  <a:gd name="T12" fmla="*/ 150 w 600"/>
                  <a:gd name="T13" fmla="*/ 106 h 156"/>
                  <a:gd name="T14" fmla="*/ 134 w 600"/>
                  <a:gd name="T15" fmla="*/ 114 h 156"/>
                  <a:gd name="T16" fmla="*/ 28 w 600"/>
                  <a:gd name="T17" fmla="*/ 129 h 156"/>
                  <a:gd name="T18" fmla="*/ 19 w 600"/>
                  <a:gd name="T19" fmla="*/ 39 h 156"/>
                  <a:gd name="T20" fmla="*/ 135 w 600"/>
                  <a:gd name="T21" fmla="*/ 45 h 156"/>
                  <a:gd name="T22" fmla="*/ 149 w 600"/>
                  <a:gd name="T23" fmla="*/ 54 h 156"/>
                  <a:gd name="T24" fmla="*/ 203 w 600"/>
                  <a:gd name="T25" fmla="*/ 53 h 156"/>
                  <a:gd name="T26" fmla="*/ 221 w 600"/>
                  <a:gd name="T27" fmla="*/ 45 h 156"/>
                  <a:gd name="T28" fmla="*/ 243 w 600"/>
                  <a:gd name="T29" fmla="*/ 15 h 156"/>
                  <a:gd name="T30" fmla="*/ 268 w 600"/>
                  <a:gd name="T31" fmla="*/ 3 h 156"/>
                  <a:gd name="T32" fmla="*/ 577 w 600"/>
                  <a:gd name="T33" fmla="*/ 3 h 156"/>
                  <a:gd name="T34" fmla="*/ 593 w 600"/>
                  <a:gd name="T35" fmla="*/ 18 h 156"/>
                  <a:gd name="T36" fmla="*/ 600 w 600"/>
                  <a:gd name="T37" fmla="*/ 56 h 156"/>
                  <a:gd name="T38" fmla="*/ 51 w 600"/>
                  <a:gd name="T39" fmla="*/ 79 h 156"/>
                  <a:gd name="T40" fmla="*/ 75 w 600"/>
                  <a:gd name="T41" fmla="*/ 103 h 156"/>
                  <a:gd name="T42" fmla="*/ 101 w 600"/>
                  <a:gd name="T43" fmla="*/ 78 h 156"/>
                  <a:gd name="T44" fmla="*/ 74 w 600"/>
                  <a:gd name="T45" fmla="*/ 54 h 156"/>
                  <a:gd name="T46" fmla="*/ 51 w 600"/>
                  <a:gd name="T47" fmla="*/ 79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00" h="156">
                    <a:moveTo>
                      <a:pt x="600" y="56"/>
                    </a:moveTo>
                    <a:cubicBezTo>
                      <a:pt x="593" y="56"/>
                      <a:pt x="588" y="56"/>
                      <a:pt x="583" y="56"/>
                    </a:cubicBezTo>
                    <a:cubicBezTo>
                      <a:pt x="486" y="56"/>
                      <a:pt x="389" y="56"/>
                      <a:pt x="292" y="56"/>
                    </a:cubicBezTo>
                    <a:cubicBezTo>
                      <a:pt x="281" y="56"/>
                      <a:pt x="274" y="59"/>
                      <a:pt x="268" y="68"/>
                    </a:cubicBezTo>
                    <a:cubicBezTo>
                      <a:pt x="261" y="80"/>
                      <a:pt x="252" y="91"/>
                      <a:pt x="243" y="101"/>
                    </a:cubicBezTo>
                    <a:cubicBezTo>
                      <a:pt x="240" y="104"/>
                      <a:pt x="234" y="106"/>
                      <a:pt x="230" y="106"/>
                    </a:cubicBezTo>
                    <a:cubicBezTo>
                      <a:pt x="203" y="106"/>
                      <a:pt x="176" y="107"/>
                      <a:pt x="150" y="106"/>
                    </a:cubicBezTo>
                    <a:cubicBezTo>
                      <a:pt x="142" y="106"/>
                      <a:pt x="137" y="108"/>
                      <a:pt x="134" y="114"/>
                    </a:cubicBezTo>
                    <a:cubicBezTo>
                      <a:pt x="112" y="152"/>
                      <a:pt x="59" y="156"/>
                      <a:pt x="28" y="129"/>
                    </a:cubicBezTo>
                    <a:cubicBezTo>
                      <a:pt x="4" y="109"/>
                      <a:pt x="0" y="65"/>
                      <a:pt x="19" y="39"/>
                    </a:cubicBezTo>
                    <a:cubicBezTo>
                      <a:pt x="48" y="0"/>
                      <a:pt x="109" y="0"/>
                      <a:pt x="135" y="45"/>
                    </a:cubicBezTo>
                    <a:cubicBezTo>
                      <a:pt x="139" y="51"/>
                      <a:pt x="142" y="54"/>
                      <a:pt x="149" y="54"/>
                    </a:cubicBezTo>
                    <a:cubicBezTo>
                      <a:pt x="167" y="53"/>
                      <a:pt x="185" y="54"/>
                      <a:pt x="203" y="53"/>
                    </a:cubicBezTo>
                    <a:cubicBezTo>
                      <a:pt x="209" y="53"/>
                      <a:pt x="216" y="49"/>
                      <a:pt x="221" y="45"/>
                    </a:cubicBezTo>
                    <a:cubicBezTo>
                      <a:pt x="229" y="36"/>
                      <a:pt x="236" y="26"/>
                      <a:pt x="243" y="15"/>
                    </a:cubicBezTo>
                    <a:cubicBezTo>
                      <a:pt x="249" y="6"/>
                      <a:pt x="257" y="3"/>
                      <a:pt x="268" y="3"/>
                    </a:cubicBezTo>
                    <a:cubicBezTo>
                      <a:pt x="371" y="4"/>
                      <a:pt x="474" y="4"/>
                      <a:pt x="577" y="3"/>
                    </a:cubicBezTo>
                    <a:cubicBezTo>
                      <a:pt x="587" y="3"/>
                      <a:pt x="593" y="5"/>
                      <a:pt x="593" y="18"/>
                    </a:cubicBezTo>
                    <a:cubicBezTo>
                      <a:pt x="593" y="30"/>
                      <a:pt x="597" y="41"/>
                      <a:pt x="600" y="56"/>
                    </a:cubicBezTo>
                    <a:close/>
                    <a:moveTo>
                      <a:pt x="51" y="79"/>
                    </a:moveTo>
                    <a:cubicBezTo>
                      <a:pt x="51" y="90"/>
                      <a:pt x="65" y="104"/>
                      <a:pt x="75" y="103"/>
                    </a:cubicBezTo>
                    <a:cubicBezTo>
                      <a:pt x="87" y="103"/>
                      <a:pt x="101" y="89"/>
                      <a:pt x="101" y="78"/>
                    </a:cubicBezTo>
                    <a:cubicBezTo>
                      <a:pt x="100" y="67"/>
                      <a:pt x="85" y="53"/>
                      <a:pt x="74" y="54"/>
                    </a:cubicBezTo>
                    <a:cubicBezTo>
                      <a:pt x="63" y="54"/>
                      <a:pt x="50" y="68"/>
                      <a:pt x="51" y="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8" name="Freeform 10">
                <a:extLst>
                  <a:ext uri="{FF2B5EF4-FFF2-40B4-BE49-F238E27FC236}">
                    <a16:creationId xmlns:a16="http://schemas.microsoft.com/office/drawing/2014/main" id="{97D2E23C-06C8-445A-8A1B-FF8F54800611}"/>
                  </a:ext>
                </a:extLst>
              </p:cNvPr>
              <p:cNvSpPr>
                <a:spLocks noEditPoints="1"/>
              </p:cNvSpPr>
              <p:nvPr/>
            </p:nvSpPr>
            <p:spPr bwMode="auto">
              <a:xfrm>
                <a:off x="1053170" y="4817697"/>
                <a:ext cx="736600" cy="234950"/>
              </a:xfrm>
              <a:custGeom>
                <a:avLst/>
                <a:gdLst>
                  <a:gd name="T0" fmla="*/ 464 w 464"/>
                  <a:gd name="T1" fmla="*/ 49 h 148"/>
                  <a:gd name="T2" fmla="*/ 453 w 464"/>
                  <a:gd name="T3" fmla="*/ 102 h 148"/>
                  <a:gd name="T4" fmla="*/ 438 w 464"/>
                  <a:gd name="T5" fmla="*/ 102 h 148"/>
                  <a:gd name="T6" fmla="*/ 153 w 464"/>
                  <a:gd name="T7" fmla="*/ 102 h 148"/>
                  <a:gd name="T8" fmla="*/ 131 w 464"/>
                  <a:gd name="T9" fmla="*/ 113 h 148"/>
                  <a:gd name="T10" fmla="*/ 63 w 464"/>
                  <a:gd name="T11" fmla="*/ 143 h 148"/>
                  <a:gd name="T12" fmla="*/ 7 w 464"/>
                  <a:gd name="T13" fmla="*/ 88 h 148"/>
                  <a:gd name="T14" fmla="*/ 49 w 464"/>
                  <a:gd name="T15" fmla="*/ 11 h 148"/>
                  <a:gd name="T16" fmla="*/ 133 w 464"/>
                  <a:gd name="T17" fmla="*/ 40 h 148"/>
                  <a:gd name="T18" fmla="*/ 150 w 464"/>
                  <a:gd name="T19" fmla="*/ 49 h 148"/>
                  <a:gd name="T20" fmla="*/ 449 w 464"/>
                  <a:gd name="T21" fmla="*/ 49 h 148"/>
                  <a:gd name="T22" fmla="*/ 464 w 464"/>
                  <a:gd name="T23" fmla="*/ 49 h 148"/>
                  <a:gd name="T24" fmla="*/ 75 w 464"/>
                  <a:gd name="T25" fmla="*/ 52 h 148"/>
                  <a:gd name="T26" fmla="*/ 50 w 464"/>
                  <a:gd name="T27" fmla="*/ 75 h 148"/>
                  <a:gd name="T28" fmla="*/ 75 w 464"/>
                  <a:gd name="T29" fmla="*/ 99 h 148"/>
                  <a:gd name="T30" fmla="*/ 99 w 464"/>
                  <a:gd name="T31" fmla="*/ 75 h 148"/>
                  <a:gd name="T32" fmla="*/ 75 w 464"/>
                  <a:gd name="T33" fmla="*/ 52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64" h="148">
                    <a:moveTo>
                      <a:pt x="464" y="49"/>
                    </a:moveTo>
                    <a:cubicBezTo>
                      <a:pt x="461" y="67"/>
                      <a:pt x="457" y="84"/>
                      <a:pt x="453" y="102"/>
                    </a:cubicBezTo>
                    <a:cubicBezTo>
                      <a:pt x="448" y="102"/>
                      <a:pt x="443" y="102"/>
                      <a:pt x="438" y="102"/>
                    </a:cubicBezTo>
                    <a:cubicBezTo>
                      <a:pt x="343" y="102"/>
                      <a:pt x="248" y="102"/>
                      <a:pt x="153" y="102"/>
                    </a:cubicBezTo>
                    <a:cubicBezTo>
                      <a:pt x="143" y="102"/>
                      <a:pt x="137" y="103"/>
                      <a:pt x="131" y="113"/>
                    </a:cubicBezTo>
                    <a:cubicBezTo>
                      <a:pt x="118" y="135"/>
                      <a:pt x="86" y="148"/>
                      <a:pt x="63" y="143"/>
                    </a:cubicBezTo>
                    <a:cubicBezTo>
                      <a:pt x="32" y="136"/>
                      <a:pt x="12" y="113"/>
                      <a:pt x="7" y="88"/>
                    </a:cubicBezTo>
                    <a:cubicBezTo>
                      <a:pt x="0" y="51"/>
                      <a:pt x="24" y="20"/>
                      <a:pt x="49" y="11"/>
                    </a:cubicBezTo>
                    <a:cubicBezTo>
                      <a:pt x="80" y="0"/>
                      <a:pt x="116" y="11"/>
                      <a:pt x="133" y="40"/>
                    </a:cubicBezTo>
                    <a:cubicBezTo>
                      <a:pt x="137" y="48"/>
                      <a:pt x="142" y="49"/>
                      <a:pt x="150" y="49"/>
                    </a:cubicBezTo>
                    <a:cubicBezTo>
                      <a:pt x="250" y="49"/>
                      <a:pt x="349" y="49"/>
                      <a:pt x="449" y="49"/>
                    </a:cubicBezTo>
                    <a:cubicBezTo>
                      <a:pt x="454" y="49"/>
                      <a:pt x="459" y="49"/>
                      <a:pt x="464" y="49"/>
                    </a:cubicBezTo>
                    <a:close/>
                    <a:moveTo>
                      <a:pt x="75" y="52"/>
                    </a:moveTo>
                    <a:cubicBezTo>
                      <a:pt x="61" y="52"/>
                      <a:pt x="50" y="62"/>
                      <a:pt x="50" y="75"/>
                    </a:cubicBezTo>
                    <a:cubicBezTo>
                      <a:pt x="49" y="88"/>
                      <a:pt x="60" y="99"/>
                      <a:pt x="75" y="99"/>
                    </a:cubicBezTo>
                    <a:cubicBezTo>
                      <a:pt x="88" y="99"/>
                      <a:pt x="100" y="88"/>
                      <a:pt x="99" y="75"/>
                    </a:cubicBezTo>
                    <a:cubicBezTo>
                      <a:pt x="99" y="62"/>
                      <a:pt x="88" y="52"/>
                      <a:pt x="75" y="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9" name="Freeform 11">
                <a:extLst>
                  <a:ext uri="{FF2B5EF4-FFF2-40B4-BE49-F238E27FC236}">
                    <a16:creationId xmlns:a16="http://schemas.microsoft.com/office/drawing/2014/main" id="{CAA96125-B865-4B99-8E1E-BD29C7A232A5}"/>
                  </a:ext>
                </a:extLst>
              </p:cNvPr>
              <p:cNvSpPr>
                <a:spLocks noEditPoints="1"/>
              </p:cNvSpPr>
              <p:nvPr/>
            </p:nvSpPr>
            <p:spPr bwMode="auto">
              <a:xfrm>
                <a:off x="2185057" y="4778009"/>
                <a:ext cx="579438" cy="427038"/>
              </a:xfrm>
              <a:custGeom>
                <a:avLst/>
                <a:gdLst>
                  <a:gd name="T0" fmla="*/ 365 w 365"/>
                  <a:gd name="T1" fmla="*/ 0 h 269"/>
                  <a:gd name="T2" fmla="*/ 358 w 365"/>
                  <a:gd name="T3" fmla="*/ 13 h 269"/>
                  <a:gd name="T4" fmla="*/ 188 w 365"/>
                  <a:gd name="T5" fmla="*/ 150 h 269"/>
                  <a:gd name="T6" fmla="*/ 180 w 365"/>
                  <a:gd name="T7" fmla="*/ 168 h 269"/>
                  <a:gd name="T8" fmla="*/ 112 w 365"/>
                  <a:gd name="T9" fmla="*/ 258 h 269"/>
                  <a:gd name="T10" fmla="*/ 12 w 365"/>
                  <a:gd name="T11" fmla="*/ 204 h 269"/>
                  <a:gd name="T12" fmla="*/ 34 w 365"/>
                  <a:gd name="T13" fmla="*/ 110 h 269"/>
                  <a:gd name="T14" fmla="*/ 135 w 365"/>
                  <a:gd name="T15" fmla="*/ 97 h 269"/>
                  <a:gd name="T16" fmla="*/ 152 w 365"/>
                  <a:gd name="T17" fmla="*/ 98 h 269"/>
                  <a:gd name="T18" fmla="*/ 273 w 365"/>
                  <a:gd name="T19" fmla="*/ 40 h 269"/>
                  <a:gd name="T20" fmla="*/ 354 w 365"/>
                  <a:gd name="T21" fmla="*/ 2 h 269"/>
                  <a:gd name="T22" fmla="*/ 365 w 365"/>
                  <a:gd name="T23" fmla="*/ 0 h 269"/>
                  <a:gd name="T24" fmla="*/ 93 w 365"/>
                  <a:gd name="T25" fmla="*/ 208 h 269"/>
                  <a:gd name="T26" fmla="*/ 129 w 365"/>
                  <a:gd name="T27" fmla="*/ 173 h 269"/>
                  <a:gd name="T28" fmla="*/ 94 w 365"/>
                  <a:gd name="T29" fmla="*/ 140 h 269"/>
                  <a:gd name="T30" fmla="*/ 58 w 365"/>
                  <a:gd name="T31" fmla="*/ 174 h 269"/>
                  <a:gd name="T32" fmla="*/ 93 w 365"/>
                  <a:gd name="T33" fmla="*/ 208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65" h="269">
                    <a:moveTo>
                      <a:pt x="365" y="0"/>
                    </a:moveTo>
                    <a:cubicBezTo>
                      <a:pt x="362" y="6"/>
                      <a:pt x="361" y="11"/>
                      <a:pt x="358" y="13"/>
                    </a:cubicBezTo>
                    <a:cubicBezTo>
                      <a:pt x="301" y="59"/>
                      <a:pt x="244" y="105"/>
                      <a:pt x="188" y="150"/>
                    </a:cubicBezTo>
                    <a:cubicBezTo>
                      <a:pt x="183" y="155"/>
                      <a:pt x="180" y="159"/>
                      <a:pt x="180" y="168"/>
                    </a:cubicBezTo>
                    <a:cubicBezTo>
                      <a:pt x="182" y="210"/>
                      <a:pt x="157" y="248"/>
                      <a:pt x="112" y="258"/>
                    </a:cubicBezTo>
                    <a:cubicBezTo>
                      <a:pt x="63" y="269"/>
                      <a:pt x="24" y="237"/>
                      <a:pt x="12" y="204"/>
                    </a:cubicBezTo>
                    <a:cubicBezTo>
                      <a:pt x="0" y="167"/>
                      <a:pt x="9" y="132"/>
                      <a:pt x="34" y="110"/>
                    </a:cubicBezTo>
                    <a:cubicBezTo>
                      <a:pt x="61" y="85"/>
                      <a:pt x="102" y="80"/>
                      <a:pt x="135" y="97"/>
                    </a:cubicBezTo>
                    <a:cubicBezTo>
                      <a:pt x="141" y="100"/>
                      <a:pt x="146" y="101"/>
                      <a:pt x="152" y="98"/>
                    </a:cubicBezTo>
                    <a:cubicBezTo>
                      <a:pt x="193" y="78"/>
                      <a:pt x="233" y="59"/>
                      <a:pt x="273" y="40"/>
                    </a:cubicBezTo>
                    <a:cubicBezTo>
                      <a:pt x="300" y="27"/>
                      <a:pt x="327" y="15"/>
                      <a:pt x="354" y="2"/>
                    </a:cubicBezTo>
                    <a:cubicBezTo>
                      <a:pt x="356" y="1"/>
                      <a:pt x="358" y="1"/>
                      <a:pt x="365" y="0"/>
                    </a:cubicBezTo>
                    <a:close/>
                    <a:moveTo>
                      <a:pt x="93" y="208"/>
                    </a:moveTo>
                    <a:cubicBezTo>
                      <a:pt x="112" y="208"/>
                      <a:pt x="129" y="192"/>
                      <a:pt x="129" y="173"/>
                    </a:cubicBezTo>
                    <a:cubicBezTo>
                      <a:pt x="128" y="154"/>
                      <a:pt x="114" y="141"/>
                      <a:pt x="94" y="140"/>
                    </a:cubicBezTo>
                    <a:cubicBezTo>
                      <a:pt x="77" y="139"/>
                      <a:pt x="59" y="152"/>
                      <a:pt x="58" y="174"/>
                    </a:cubicBezTo>
                    <a:cubicBezTo>
                      <a:pt x="57" y="190"/>
                      <a:pt x="76" y="208"/>
                      <a:pt x="93" y="2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0" name="Freeform 12">
                <a:extLst>
                  <a:ext uri="{FF2B5EF4-FFF2-40B4-BE49-F238E27FC236}">
                    <a16:creationId xmlns:a16="http://schemas.microsoft.com/office/drawing/2014/main" id="{1C3FDCA1-20B2-40AA-9595-E78A61BC6355}"/>
                  </a:ext>
                </a:extLst>
              </p:cNvPr>
              <p:cNvSpPr>
                <a:spLocks noEditPoints="1"/>
              </p:cNvSpPr>
              <p:nvPr/>
            </p:nvSpPr>
            <p:spPr bwMode="auto">
              <a:xfrm>
                <a:off x="1278595" y="5235209"/>
                <a:ext cx="606425" cy="246063"/>
              </a:xfrm>
              <a:custGeom>
                <a:avLst/>
                <a:gdLst>
                  <a:gd name="T0" fmla="*/ 382 w 382"/>
                  <a:gd name="T1" fmla="*/ 102 h 155"/>
                  <a:gd name="T2" fmla="*/ 157 w 382"/>
                  <a:gd name="T3" fmla="*/ 101 h 155"/>
                  <a:gd name="T4" fmla="*/ 133 w 382"/>
                  <a:gd name="T5" fmla="*/ 113 h 155"/>
                  <a:gd name="T6" fmla="*/ 16 w 382"/>
                  <a:gd name="T7" fmla="*/ 108 h 155"/>
                  <a:gd name="T8" fmla="*/ 34 w 382"/>
                  <a:gd name="T9" fmla="*/ 22 h 155"/>
                  <a:gd name="T10" fmla="*/ 120 w 382"/>
                  <a:gd name="T11" fmla="*/ 24 h 155"/>
                  <a:gd name="T12" fmla="*/ 130 w 382"/>
                  <a:gd name="T13" fmla="*/ 34 h 155"/>
                  <a:gd name="T14" fmla="*/ 161 w 382"/>
                  <a:gd name="T15" fmla="*/ 49 h 155"/>
                  <a:gd name="T16" fmla="*/ 338 w 382"/>
                  <a:gd name="T17" fmla="*/ 49 h 155"/>
                  <a:gd name="T18" fmla="*/ 355 w 382"/>
                  <a:gd name="T19" fmla="*/ 58 h 155"/>
                  <a:gd name="T20" fmla="*/ 382 w 382"/>
                  <a:gd name="T21" fmla="*/ 102 h 155"/>
                  <a:gd name="T22" fmla="*/ 99 w 382"/>
                  <a:gd name="T23" fmla="*/ 75 h 155"/>
                  <a:gd name="T24" fmla="*/ 76 w 382"/>
                  <a:gd name="T25" fmla="*/ 52 h 155"/>
                  <a:gd name="T26" fmla="*/ 52 w 382"/>
                  <a:gd name="T27" fmla="*/ 75 h 155"/>
                  <a:gd name="T28" fmla="*/ 75 w 382"/>
                  <a:gd name="T29" fmla="*/ 100 h 155"/>
                  <a:gd name="T30" fmla="*/ 99 w 382"/>
                  <a:gd name="T31" fmla="*/ 75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82" h="155">
                    <a:moveTo>
                      <a:pt x="382" y="102"/>
                    </a:moveTo>
                    <a:cubicBezTo>
                      <a:pt x="305" y="102"/>
                      <a:pt x="231" y="102"/>
                      <a:pt x="157" y="101"/>
                    </a:cubicBezTo>
                    <a:cubicBezTo>
                      <a:pt x="146" y="101"/>
                      <a:pt x="140" y="103"/>
                      <a:pt x="133" y="113"/>
                    </a:cubicBezTo>
                    <a:cubicBezTo>
                      <a:pt x="107" y="155"/>
                      <a:pt x="43" y="155"/>
                      <a:pt x="16" y="108"/>
                    </a:cubicBezTo>
                    <a:cubicBezTo>
                      <a:pt x="0" y="79"/>
                      <a:pt x="6" y="44"/>
                      <a:pt x="34" y="22"/>
                    </a:cubicBezTo>
                    <a:cubicBezTo>
                      <a:pt x="60" y="0"/>
                      <a:pt x="97" y="2"/>
                      <a:pt x="120" y="24"/>
                    </a:cubicBezTo>
                    <a:cubicBezTo>
                      <a:pt x="124" y="27"/>
                      <a:pt x="128" y="30"/>
                      <a:pt x="130" y="34"/>
                    </a:cubicBezTo>
                    <a:cubicBezTo>
                      <a:pt x="136" y="48"/>
                      <a:pt x="148" y="49"/>
                      <a:pt x="161" y="49"/>
                    </a:cubicBezTo>
                    <a:cubicBezTo>
                      <a:pt x="220" y="49"/>
                      <a:pt x="279" y="49"/>
                      <a:pt x="338" y="49"/>
                    </a:cubicBezTo>
                    <a:cubicBezTo>
                      <a:pt x="346" y="49"/>
                      <a:pt x="351" y="51"/>
                      <a:pt x="355" y="58"/>
                    </a:cubicBezTo>
                    <a:cubicBezTo>
                      <a:pt x="362" y="72"/>
                      <a:pt x="372" y="86"/>
                      <a:pt x="382" y="102"/>
                    </a:cubicBezTo>
                    <a:close/>
                    <a:moveTo>
                      <a:pt x="99" y="75"/>
                    </a:moveTo>
                    <a:cubicBezTo>
                      <a:pt x="99" y="60"/>
                      <a:pt x="91" y="51"/>
                      <a:pt x="76" y="52"/>
                    </a:cubicBezTo>
                    <a:cubicBezTo>
                      <a:pt x="63" y="52"/>
                      <a:pt x="52" y="63"/>
                      <a:pt x="52" y="75"/>
                    </a:cubicBezTo>
                    <a:cubicBezTo>
                      <a:pt x="52" y="89"/>
                      <a:pt x="63" y="101"/>
                      <a:pt x="75" y="100"/>
                    </a:cubicBezTo>
                    <a:cubicBezTo>
                      <a:pt x="91" y="100"/>
                      <a:pt x="99" y="91"/>
                      <a:pt x="99" y="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1" name="Freeform 13">
                <a:extLst>
                  <a:ext uri="{FF2B5EF4-FFF2-40B4-BE49-F238E27FC236}">
                    <a16:creationId xmlns:a16="http://schemas.microsoft.com/office/drawing/2014/main" id="{6908C89E-3CF8-4E4D-BAC2-A45DEA59D064}"/>
                  </a:ext>
                </a:extLst>
              </p:cNvPr>
              <p:cNvSpPr>
                <a:spLocks/>
              </p:cNvSpPr>
              <p:nvPr/>
            </p:nvSpPr>
            <p:spPr bwMode="auto">
              <a:xfrm>
                <a:off x="2632732" y="5057409"/>
                <a:ext cx="141288" cy="188913"/>
              </a:xfrm>
              <a:custGeom>
                <a:avLst/>
                <a:gdLst>
                  <a:gd name="T0" fmla="*/ 52 w 89"/>
                  <a:gd name="T1" fmla="*/ 119 h 119"/>
                  <a:gd name="T2" fmla="*/ 0 w 89"/>
                  <a:gd name="T3" fmla="*/ 88 h 119"/>
                  <a:gd name="T4" fmla="*/ 18 w 89"/>
                  <a:gd name="T5" fmla="*/ 7 h 119"/>
                  <a:gd name="T6" fmla="*/ 26 w 89"/>
                  <a:gd name="T7" fmla="*/ 1 h 119"/>
                  <a:gd name="T8" fmla="*/ 84 w 89"/>
                  <a:gd name="T9" fmla="*/ 1 h 119"/>
                  <a:gd name="T10" fmla="*/ 52 w 89"/>
                  <a:gd name="T11" fmla="*/ 119 h 119"/>
                </a:gdLst>
                <a:ahLst/>
                <a:cxnLst>
                  <a:cxn ang="0">
                    <a:pos x="T0" y="T1"/>
                  </a:cxn>
                  <a:cxn ang="0">
                    <a:pos x="T2" y="T3"/>
                  </a:cxn>
                  <a:cxn ang="0">
                    <a:pos x="T4" y="T5"/>
                  </a:cxn>
                  <a:cxn ang="0">
                    <a:pos x="T6" y="T7"/>
                  </a:cxn>
                  <a:cxn ang="0">
                    <a:pos x="T8" y="T9"/>
                  </a:cxn>
                  <a:cxn ang="0">
                    <a:pos x="T10" y="T11"/>
                  </a:cxn>
                </a:cxnLst>
                <a:rect l="0" t="0" r="r" b="b"/>
                <a:pathLst>
                  <a:path w="89" h="119">
                    <a:moveTo>
                      <a:pt x="52" y="119"/>
                    </a:moveTo>
                    <a:cubicBezTo>
                      <a:pt x="33" y="108"/>
                      <a:pt x="15" y="97"/>
                      <a:pt x="0" y="88"/>
                    </a:cubicBezTo>
                    <a:cubicBezTo>
                      <a:pt x="6" y="60"/>
                      <a:pt x="11" y="34"/>
                      <a:pt x="18" y="7"/>
                    </a:cubicBezTo>
                    <a:cubicBezTo>
                      <a:pt x="18" y="5"/>
                      <a:pt x="23" y="1"/>
                      <a:pt x="26" y="1"/>
                    </a:cubicBezTo>
                    <a:cubicBezTo>
                      <a:pt x="45" y="0"/>
                      <a:pt x="65" y="1"/>
                      <a:pt x="84" y="1"/>
                    </a:cubicBezTo>
                    <a:cubicBezTo>
                      <a:pt x="89" y="26"/>
                      <a:pt x="70" y="100"/>
                      <a:pt x="52" y="1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2" name="Freeform 14">
                <a:extLst>
                  <a:ext uri="{FF2B5EF4-FFF2-40B4-BE49-F238E27FC236}">
                    <a16:creationId xmlns:a16="http://schemas.microsoft.com/office/drawing/2014/main" id="{75719C95-CFE3-4D9A-B6DB-FDA0FD260435}"/>
                  </a:ext>
                </a:extLst>
              </p:cNvPr>
              <p:cNvSpPr>
                <a:spLocks/>
              </p:cNvSpPr>
              <p:nvPr/>
            </p:nvSpPr>
            <p:spPr bwMode="auto">
              <a:xfrm>
                <a:off x="1900895" y="5057409"/>
                <a:ext cx="130175" cy="185738"/>
              </a:xfrm>
              <a:custGeom>
                <a:avLst/>
                <a:gdLst>
                  <a:gd name="T0" fmla="*/ 82 w 82"/>
                  <a:gd name="T1" fmla="*/ 88 h 117"/>
                  <a:gd name="T2" fmla="*/ 30 w 82"/>
                  <a:gd name="T3" fmla="*/ 117 h 117"/>
                  <a:gd name="T4" fmla="*/ 2 w 82"/>
                  <a:gd name="T5" fmla="*/ 36 h 117"/>
                  <a:gd name="T6" fmla="*/ 0 w 82"/>
                  <a:gd name="T7" fmla="*/ 10 h 117"/>
                  <a:gd name="T8" fmla="*/ 8 w 82"/>
                  <a:gd name="T9" fmla="*/ 1 h 117"/>
                  <a:gd name="T10" fmla="*/ 54 w 82"/>
                  <a:gd name="T11" fmla="*/ 2 h 117"/>
                  <a:gd name="T12" fmla="*/ 63 w 82"/>
                  <a:gd name="T13" fmla="*/ 11 h 117"/>
                  <a:gd name="T14" fmla="*/ 82 w 82"/>
                  <a:gd name="T15" fmla="*/ 88 h 1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 h="117">
                    <a:moveTo>
                      <a:pt x="82" y="88"/>
                    </a:moveTo>
                    <a:cubicBezTo>
                      <a:pt x="66" y="97"/>
                      <a:pt x="49" y="107"/>
                      <a:pt x="30" y="117"/>
                    </a:cubicBezTo>
                    <a:cubicBezTo>
                      <a:pt x="15" y="91"/>
                      <a:pt x="7" y="64"/>
                      <a:pt x="2" y="36"/>
                    </a:cubicBezTo>
                    <a:cubicBezTo>
                      <a:pt x="1" y="27"/>
                      <a:pt x="0" y="19"/>
                      <a:pt x="0" y="10"/>
                    </a:cubicBezTo>
                    <a:cubicBezTo>
                      <a:pt x="0" y="7"/>
                      <a:pt x="5" y="1"/>
                      <a:pt x="8" y="1"/>
                    </a:cubicBezTo>
                    <a:cubicBezTo>
                      <a:pt x="23" y="0"/>
                      <a:pt x="39" y="1"/>
                      <a:pt x="54" y="2"/>
                    </a:cubicBezTo>
                    <a:cubicBezTo>
                      <a:pt x="57" y="2"/>
                      <a:pt x="62" y="7"/>
                      <a:pt x="63" y="11"/>
                    </a:cubicBezTo>
                    <a:cubicBezTo>
                      <a:pt x="69" y="36"/>
                      <a:pt x="75" y="61"/>
                      <a:pt x="82"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3" name="Freeform 15">
                <a:extLst>
                  <a:ext uri="{FF2B5EF4-FFF2-40B4-BE49-F238E27FC236}">
                    <a16:creationId xmlns:a16="http://schemas.microsoft.com/office/drawing/2014/main" id="{49FBF055-D473-4637-8B43-783FF9E6E955}"/>
                  </a:ext>
                </a:extLst>
              </p:cNvPr>
              <p:cNvSpPr>
                <a:spLocks/>
              </p:cNvSpPr>
              <p:nvPr/>
            </p:nvSpPr>
            <p:spPr bwMode="auto">
              <a:xfrm>
                <a:off x="1899307" y="4843097"/>
                <a:ext cx="134938" cy="180975"/>
              </a:xfrm>
              <a:custGeom>
                <a:avLst/>
                <a:gdLst>
                  <a:gd name="T0" fmla="*/ 31 w 85"/>
                  <a:gd name="T1" fmla="*/ 0 h 114"/>
                  <a:gd name="T2" fmla="*/ 85 w 85"/>
                  <a:gd name="T3" fmla="*/ 31 h 114"/>
                  <a:gd name="T4" fmla="*/ 70 w 85"/>
                  <a:gd name="T5" fmla="*/ 72 h 114"/>
                  <a:gd name="T6" fmla="*/ 63 w 85"/>
                  <a:gd name="T7" fmla="*/ 114 h 114"/>
                  <a:gd name="T8" fmla="*/ 0 w 85"/>
                  <a:gd name="T9" fmla="*/ 114 h 114"/>
                  <a:gd name="T10" fmla="*/ 31 w 85"/>
                  <a:gd name="T11" fmla="*/ 0 h 114"/>
                </a:gdLst>
                <a:ahLst/>
                <a:cxnLst>
                  <a:cxn ang="0">
                    <a:pos x="T0" y="T1"/>
                  </a:cxn>
                  <a:cxn ang="0">
                    <a:pos x="T2" y="T3"/>
                  </a:cxn>
                  <a:cxn ang="0">
                    <a:pos x="T4" y="T5"/>
                  </a:cxn>
                  <a:cxn ang="0">
                    <a:pos x="T6" y="T7"/>
                  </a:cxn>
                  <a:cxn ang="0">
                    <a:pos x="T8" y="T9"/>
                  </a:cxn>
                  <a:cxn ang="0">
                    <a:pos x="T10" y="T11"/>
                  </a:cxn>
                </a:cxnLst>
                <a:rect l="0" t="0" r="r" b="b"/>
                <a:pathLst>
                  <a:path w="85" h="114">
                    <a:moveTo>
                      <a:pt x="31" y="0"/>
                    </a:moveTo>
                    <a:cubicBezTo>
                      <a:pt x="49" y="10"/>
                      <a:pt x="67" y="20"/>
                      <a:pt x="85" y="31"/>
                    </a:cubicBezTo>
                    <a:cubicBezTo>
                      <a:pt x="80" y="45"/>
                      <a:pt x="74" y="58"/>
                      <a:pt x="70" y="72"/>
                    </a:cubicBezTo>
                    <a:cubicBezTo>
                      <a:pt x="66" y="85"/>
                      <a:pt x="65" y="99"/>
                      <a:pt x="63" y="114"/>
                    </a:cubicBezTo>
                    <a:cubicBezTo>
                      <a:pt x="43" y="114"/>
                      <a:pt x="22" y="114"/>
                      <a:pt x="0" y="114"/>
                    </a:cubicBezTo>
                    <a:cubicBezTo>
                      <a:pt x="2" y="73"/>
                      <a:pt x="14" y="36"/>
                      <a:pt x="3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4" name="Freeform 16">
                <a:extLst>
                  <a:ext uri="{FF2B5EF4-FFF2-40B4-BE49-F238E27FC236}">
                    <a16:creationId xmlns:a16="http://schemas.microsoft.com/office/drawing/2014/main" id="{E04FE973-F38D-466E-8168-EEECC8154A48}"/>
                  </a:ext>
                </a:extLst>
              </p:cNvPr>
              <p:cNvSpPr>
                <a:spLocks/>
              </p:cNvSpPr>
              <p:nvPr/>
            </p:nvSpPr>
            <p:spPr bwMode="auto">
              <a:xfrm>
                <a:off x="2643845" y="4851034"/>
                <a:ext cx="128588" cy="177800"/>
              </a:xfrm>
              <a:custGeom>
                <a:avLst/>
                <a:gdLst>
                  <a:gd name="T0" fmla="*/ 77 w 81"/>
                  <a:gd name="T1" fmla="*/ 112 h 112"/>
                  <a:gd name="T2" fmla="*/ 18 w 81"/>
                  <a:gd name="T3" fmla="*/ 112 h 112"/>
                  <a:gd name="T4" fmla="*/ 11 w 81"/>
                  <a:gd name="T5" fmla="*/ 104 h 112"/>
                  <a:gd name="T6" fmla="*/ 1 w 81"/>
                  <a:gd name="T7" fmla="*/ 50 h 112"/>
                  <a:gd name="T8" fmla="*/ 3 w 81"/>
                  <a:gd name="T9" fmla="*/ 40 h 112"/>
                  <a:gd name="T10" fmla="*/ 53 w 81"/>
                  <a:gd name="T11" fmla="*/ 0 h 112"/>
                  <a:gd name="T12" fmla="*/ 77 w 81"/>
                  <a:gd name="T13" fmla="*/ 112 h 112"/>
                </a:gdLst>
                <a:ahLst/>
                <a:cxnLst>
                  <a:cxn ang="0">
                    <a:pos x="T0" y="T1"/>
                  </a:cxn>
                  <a:cxn ang="0">
                    <a:pos x="T2" y="T3"/>
                  </a:cxn>
                  <a:cxn ang="0">
                    <a:pos x="T4" y="T5"/>
                  </a:cxn>
                  <a:cxn ang="0">
                    <a:pos x="T6" y="T7"/>
                  </a:cxn>
                  <a:cxn ang="0">
                    <a:pos x="T8" y="T9"/>
                  </a:cxn>
                  <a:cxn ang="0">
                    <a:pos x="T10" y="T11"/>
                  </a:cxn>
                  <a:cxn ang="0">
                    <a:pos x="T12" y="T13"/>
                  </a:cxn>
                </a:cxnLst>
                <a:rect l="0" t="0" r="r" b="b"/>
                <a:pathLst>
                  <a:path w="81" h="112">
                    <a:moveTo>
                      <a:pt x="77" y="112"/>
                    </a:moveTo>
                    <a:cubicBezTo>
                      <a:pt x="58" y="112"/>
                      <a:pt x="38" y="112"/>
                      <a:pt x="18" y="112"/>
                    </a:cubicBezTo>
                    <a:cubicBezTo>
                      <a:pt x="16" y="112"/>
                      <a:pt x="11" y="107"/>
                      <a:pt x="11" y="104"/>
                    </a:cubicBezTo>
                    <a:cubicBezTo>
                      <a:pt x="7" y="86"/>
                      <a:pt x="3" y="68"/>
                      <a:pt x="1" y="50"/>
                    </a:cubicBezTo>
                    <a:cubicBezTo>
                      <a:pt x="0" y="47"/>
                      <a:pt x="1" y="42"/>
                      <a:pt x="3" y="40"/>
                    </a:cubicBezTo>
                    <a:cubicBezTo>
                      <a:pt x="20" y="26"/>
                      <a:pt x="37" y="13"/>
                      <a:pt x="53" y="0"/>
                    </a:cubicBezTo>
                    <a:cubicBezTo>
                      <a:pt x="68" y="25"/>
                      <a:pt x="81" y="86"/>
                      <a:pt x="77" y="1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5" name="Freeform 17">
                <a:extLst>
                  <a:ext uri="{FF2B5EF4-FFF2-40B4-BE49-F238E27FC236}">
                    <a16:creationId xmlns:a16="http://schemas.microsoft.com/office/drawing/2014/main" id="{47DFE95C-7018-4BD4-AEE6-682F64199094}"/>
                  </a:ext>
                </a:extLst>
              </p:cNvPr>
              <p:cNvSpPr>
                <a:spLocks/>
              </p:cNvSpPr>
              <p:nvPr/>
            </p:nvSpPr>
            <p:spPr bwMode="auto">
              <a:xfrm>
                <a:off x="2353332" y="4609734"/>
                <a:ext cx="179388" cy="134938"/>
              </a:xfrm>
              <a:custGeom>
                <a:avLst/>
                <a:gdLst>
                  <a:gd name="T0" fmla="*/ 113 w 113"/>
                  <a:gd name="T1" fmla="*/ 31 h 84"/>
                  <a:gd name="T2" fmla="*/ 82 w 113"/>
                  <a:gd name="T3" fmla="*/ 84 h 84"/>
                  <a:gd name="T4" fmla="*/ 41 w 113"/>
                  <a:gd name="T5" fmla="*/ 69 h 84"/>
                  <a:gd name="T6" fmla="*/ 0 w 113"/>
                  <a:gd name="T7" fmla="*/ 63 h 84"/>
                  <a:gd name="T8" fmla="*/ 0 w 113"/>
                  <a:gd name="T9" fmla="*/ 0 h 84"/>
                  <a:gd name="T10" fmla="*/ 113 w 113"/>
                  <a:gd name="T11" fmla="*/ 31 h 84"/>
                </a:gdLst>
                <a:ahLst/>
                <a:cxnLst>
                  <a:cxn ang="0">
                    <a:pos x="T0" y="T1"/>
                  </a:cxn>
                  <a:cxn ang="0">
                    <a:pos x="T2" y="T3"/>
                  </a:cxn>
                  <a:cxn ang="0">
                    <a:pos x="T4" y="T5"/>
                  </a:cxn>
                  <a:cxn ang="0">
                    <a:pos x="T6" y="T7"/>
                  </a:cxn>
                  <a:cxn ang="0">
                    <a:pos x="T8" y="T9"/>
                  </a:cxn>
                  <a:cxn ang="0">
                    <a:pos x="T10" y="T11"/>
                  </a:cxn>
                </a:cxnLst>
                <a:rect l="0" t="0" r="r" b="b"/>
                <a:pathLst>
                  <a:path w="113" h="84">
                    <a:moveTo>
                      <a:pt x="113" y="31"/>
                    </a:moveTo>
                    <a:cubicBezTo>
                      <a:pt x="102" y="50"/>
                      <a:pt x="92" y="67"/>
                      <a:pt x="82" y="84"/>
                    </a:cubicBezTo>
                    <a:cubicBezTo>
                      <a:pt x="67" y="79"/>
                      <a:pt x="54" y="73"/>
                      <a:pt x="41" y="69"/>
                    </a:cubicBezTo>
                    <a:cubicBezTo>
                      <a:pt x="28" y="66"/>
                      <a:pt x="14" y="65"/>
                      <a:pt x="0" y="63"/>
                    </a:cubicBezTo>
                    <a:cubicBezTo>
                      <a:pt x="0" y="42"/>
                      <a:pt x="0" y="22"/>
                      <a:pt x="0" y="0"/>
                    </a:cubicBezTo>
                    <a:cubicBezTo>
                      <a:pt x="40" y="2"/>
                      <a:pt x="77" y="11"/>
                      <a:pt x="113" y="3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6" name="Freeform 19">
                <a:extLst>
                  <a:ext uri="{FF2B5EF4-FFF2-40B4-BE49-F238E27FC236}">
                    <a16:creationId xmlns:a16="http://schemas.microsoft.com/office/drawing/2014/main" id="{0503BE97-234E-4C1A-A958-B55F144AE5E9}"/>
                  </a:ext>
                </a:extLst>
              </p:cNvPr>
              <p:cNvSpPr>
                <a:spLocks/>
              </p:cNvSpPr>
              <p:nvPr/>
            </p:nvSpPr>
            <p:spPr bwMode="auto">
              <a:xfrm>
                <a:off x="2510495" y="4666884"/>
                <a:ext cx="179388" cy="158750"/>
              </a:xfrm>
              <a:custGeom>
                <a:avLst/>
                <a:gdLst>
                  <a:gd name="T0" fmla="*/ 35 w 113"/>
                  <a:gd name="T1" fmla="*/ 0 h 99"/>
                  <a:gd name="T2" fmla="*/ 113 w 113"/>
                  <a:gd name="T3" fmla="*/ 70 h 99"/>
                  <a:gd name="T4" fmla="*/ 52 w 113"/>
                  <a:gd name="T5" fmla="*/ 98 h 99"/>
                  <a:gd name="T6" fmla="*/ 41 w 113"/>
                  <a:gd name="T7" fmla="*/ 95 h 99"/>
                  <a:gd name="T8" fmla="*/ 7 w 113"/>
                  <a:gd name="T9" fmla="*/ 67 h 99"/>
                  <a:gd name="T10" fmla="*/ 4 w 113"/>
                  <a:gd name="T11" fmla="*/ 53 h 99"/>
                  <a:gd name="T12" fmla="*/ 35 w 113"/>
                  <a:gd name="T13" fmla="*/ 0 h 99"/>
                </a:gdLst>
                <a:ahLst/>
                <a:cxnLst>
                  <a:cxn ang="0">
                    <a:pos x="T0" y="T1"/>
                  </a:cxn>
                  <a:cxn ang="0">
                    <a:pos x="T2" y="T3"/>
                  </a:cxn>
                  <a:cxn ang="0">
                    <a:pos x="T4" y="T5"/>
                  </a:cxn>
                  <a:cxn ang="0">
                    <a:pos x="T6" y="T7"/>
                  </a:cxn>
                  <a:cxn ang="0">
                    <a:pos x="T8" y="T9"/>
                  </a:cxn>
                  <a:cxn ang="0">
                    <a:pos x="T10" y="T11"/>
                  </a:cxn>
                  <a:cxn ang="0">
                    <a:pos x="T12" y="T13"/>
                  </a:cxn>
                </a:cxnLst>
                <a:rect l="0" t="0" r="r" b="b"/>
                <a:pathLst>
                  <a:path w="113" h="99">
                    <a:moveTo>
                      <a:pt x="35" y="0"/>
                    </a:moveTo>
                    <a:cubicBezTo>
                      <a:pt x="61" y="23"/>
                      <a:pt x="86" y="45"/>
                      <a:pt x="113" y="70"/>
                    </a:cubicBezTo>
                    <a:cubicBezTo>
                      <a:pt x="90" y="81"/>
                      <a:pt x="71" y="90"/>
                      <a:pt x="52" y="98"/>
                    </a:cubicBezTo>
                    <a:cubicBezTo>
                      <a:pt x="49" y="99"/>
                      <a:pt x="44" y="98"/>
                      <a:pt x="41" y="95"/>
                    </a:cubicBezTo>
                    <a:cubicBezTo>
                      <a:pt x="29" y="86"/>
                      <a:pt x="18" y="76"/>
                      <a:pt x="7" y="67"/>
                    </a:cubicBezTo>
                    <a:cubicBezTo>
                      <a:pt x="1" y="63"/>
                      <a:pt x="0" y="59"/>
                      <a:pt x="4" y="53"/>
                    </a:cubicBezTo>
                    <a:cubicBezTo>
                      <a:pt x="14" y="37"/>
                      <a:pt x="23" y="20"/>
                      <a:pt x="3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7" name="Freeform 15">
                <a:extLst>
                  <a:ext uri="{FF2B5EF4-FFF2-40B4-BE49-F238E27FC236}">
                    <a16:creationId xmlns:a16="http://schemas.microsoft.com/office/drawing/2014/main" id="{B99F5904-E01A-48E6-A3D8-FC480783A6CA}"/>
                  </a:ext>
                </a:extLst>
              </p:cNvPr>
              <p:cNvSpPr>
                <a:spLocks/>
              </p:cNvSpPr>
              <p:nvPr/>
            </p:nvSpPr>
            <p:spPr bwMode="auto">
              <a:xfrm rot="1831538">
                <a:off x="2002592" y="4683189"/>
                <a:ext cx="134938" cy="180975"/>
              </a:xfrm>
              <a:custGeom>
                <a:avLst/>
                <a:gdLst>
                  <a:gd name="T0" fmla="*/ 31 w 85"/>
                  <a:gd name="T1" fmla="*/ 0 h 114"/>
                  <a:gd name="T2" fmla="*/ 85 w 85"/>
                  <a:gd name="T3" fmla="*/ 31 h 114"/>
                  <a:gd name="T4" fmla="*/ 70 w 85"/>
                  <a:gd name="T5" fmla="*/ 72 h 114"/>
                  <a:gd name="T6" fmla="*/ 63 w 85"/>
                  <a:gd name="T7" fmla="*/ 114 h 114"/>
                  <a:gd name="T8" fmla="*/ 0 w 85"/>
                  <a:gd name="T9" fmla="*/ 114 h 114"/>
                  <a:gd name="T10" fmla="*/ 31 w 85"/>
                  <a:gd name="T11" fmla="*/ 0 h 114"/>
                </a:gdLst>
                <a:ahLst/>
                <a:cxnLst>
                  <a:cxn ang="0">
                    <a:pos x="T0" y="T1"/>
                  </a:cxn>
                  <a:cxn ang="0">
                    <a:pos x="T2" y="T3"/>
                  </a:cxn>
                  <a:cxn ang="0">
                    <a:pos x="T4" y="T5"/>
                  </a:cxn>
                  <a:cxn ang="0">
                    <a:pos x="T6" y="T7"/>
                  </a:cxn>
                  <a:cxn ang="0">
                    <a:pos x="T8" y="T9"/>
                  </a:cxn>
                  <a:cxn ang="0">
                    <a:pos x="T10" y="T11"/>
                  </a:cxn>
                </a:cxnLst>
                <a:rect l="0" t="0" r="r" b="b"/>
                <a:pathLst>
                  <a:path w="85" h="114">
                    <a:moveTo>
                      <a:pt x="31" y="0"/>
                    </a:moveTo>
                    <a:cubicBezTo>
                      <a:pt x="49" y="10"/>
                      <a:pt x="67" y="20"/>
                      <a:pt x="85" y="31"/>
                    </a:cubicBezTo>
                    <a:cubicBezTo>
                      <a:pt x="80" y="45"/>
                      <a:pt x="74" y="58"/>
                      <a:pt x="70" y="72"/>
                    </a:cubicBezTo>
                    <a:cubicBezTo>
                      <a:pt x="66" y="85"/>
                      <a:pt x="65" y="99"/>
                      <a:pt x="63" y="114"/>
                    </a:cubicBezTo>
                    <a:cubicBezTo>
                      <a:pt x="43" y="114"/>
                      <a:pt x="22" y="114"/>
                      <a:pt x="0" y="114"/>
                    </a:cubicBezTo>
                    <a:cubicBezTo>
                      <a:pt x="2" y="73"/>
                      <a:pt x="14" y="36"/>
                      <a:pt x="3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8" name="Freeform 17">
                <a:extLst>
                  <a:ext uri="{FF2B5EF4-FFF2-40B4-BE49-F238E27FC236}">
                    <a16:creationId xmlns:a16="http://schemas.microsoft.com/office/drawing/2014/main" id="{95F226F4-3A7D-4781-A03F-B172DD01256D}"/>
                  </a:ext>
                </a:extLst>
              </p:cNvPr>
              <p:cNvSpPr>
                <a:spLocks/>
              </p:cNvSpPr>
              <p:nvPr/>
            </p:nvSpPr>
            <p:spPr bwMode="auto">
              <a:xfrm rot="19723931">
                <a:off x="2156729" y="4609733"/>
                <a:ext cx="179388" cy="134938"/>
              </a:xfrm>
              <a:custGeom>
                <a:avLst/>
                <a:gdLst>
                  <a:gd name="T0" fmla="*/ 113 w 113"/>
                  <a:gd name="T1" fmla="*/ 31 h 84"/>
                  <a:gd name="T2" fmla="*/ 82 w 113"/>
                  <a:gd name="T3" fmla="*/ 84 h 84"/>
                  <a:gd name="T4" fmla="*/ 41 w 113"/>
                  <a:gd name="T5" fmla="*/ 69 h 84"/>
                  <a:gd name="T6" fmla="*/ 0 w 113"/>
                  <a:gd name="T7" fmla="*/ 63 h 84"/>
                  <a:gd name="T8" fmla="*/ 0 w 113"/>
                  <a:gd name="T9" fmla="*/ 0 h 84"/>
                  <a:gd name="T10" fmla="*/ 113 w 113"/>
                  <a:gd name="T11" fmla="*/ 31 h 84"/>
                </a:gdLst>
                <a:ahLst/>
                <a:cxnLst>
                  <a:cxn ang="0">
                    <a:pos x="T0" y="T1"/>
                  </a:cxn>
                  <a:cxn ang="0">
                    <a:pos x="T2" y="T3"/>
                  </a:cxn>
                  <a:cxn ang="0">
                    <a:pos x="T4" y="T5"/>
                  </a:cxn>
                  <a:cxn ang="0">
                    <a:pos x="T6" y="T7"/>
                  </a:cxn>
                  <a:cxn ang="0">
                    <a:pos x="T8" y="T9"/>
                  </a:cxn>
                  <a:cxn ang="0">
                    <a:pos x="T10" y="T11"/>
                  </a:cxn>
                </a:cxnLst>
                <a:rect l="0" t="0" r="r" b="b"/>
                <a:pathLst>
                  <a:path w="113" h="84">
                    <a:moveTo>
                      <a:pt x="113" y="31"/>
                    </a:moveTo>
                    <a:cubicBezTo>
                      <a:pt x="102" y="50"/>
                      <a:pt x="92" y="67"/>
                      <a:pt x="82" y="84"/>
                    </a:cubicBezTo>
                    <a:cubicBezTo>
                      <a:pt x="67" y="79"/>
                      <a:pt x="54" y="73"/>
                      <a:pt x="41" y="69"/>
                    </a:cubicBezTo>
                    <a:cubicBezTo>
                      <a:pt x="28" y="66"/>
                      <a:pt x="14" y="65"/>
                      <a:pt x="0" y="63"/>
                    </a:cubicBezTo>
                    <a:cubicBezTo>
                      <a:pt x="0" y="42"/>
                      <a:pt x="0" y="22"/>
                      <a:pt x="0" y="0"/>
                    </a:cubicBezTo>
                    <a:cubicBezTo>
                      <a:pt x="40" y="2"/>
                      <a:pt x="77" y="11"/>
                      <a:pt x="113" y="3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cxnSp>
        <p:nvCxnSpPr>
          <p:cNvPr id="42" name="Straight Connector 41">
            <a:extLst>
              <a:ext uri="{FF2B5EF4-FFF2-40B4-BE49-F238E27FC236}">
                <a16:creationId xmlns:a16="http://schemas.microsoft.com/office/drawing/2014/main" id="{A51E4351-F76A-4CCF-B2A5-0F03A1926152}"/>
              </a:ext>
            </a:extLst>
          </p:cNvPr>
          <p:cNvCxnSpPr/>
          <p:nvPr/>
        </p:nvCxnSpPr>
        <p:spPr>
          <a:xfrm>
            <a:off x="4643087" y="7448215"/>
            <a:ext cx="8235245" cy="0"/>
          </a:xfrm>
          <a:prstGeom prst="line">
            <a:avLst/>
          </a:prstGeom>
          <a:ln w="28575">
            <a:solidFill>
              <a:srgbClr val="91278F"/>
            </a:solidFill>
            <a:tailEnd type="none"/>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96E26C24-0C45-4FA1-AFBF-41922A76A61D}"/>
              </a:ext>
            </a:extLst>
          </p:cNvPr>
          <p:cNvCxnSpPr/>
          <p:nvPr/>
        </p:nvCxnSpPr>
        <p:spPr>
          <a:xfrm>
            <a:off x="1169082" y="6332535"/>
            <a:ext cx="3105859" cy="0"/>
          </a:xfrm>
          <a:prstGeom prst="line">
            <a:avLst/>
          </a:prstGeom>
          <a:ln w="28575">
            <a:solidFill>
              <a:schemeClr val="accent5"/>
            </a:solidFill>
            <a:tailEnd type="none"/>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432BC00-82B6-4168-A2CF-BC6BFB35E174}"/>
              </a:ext>
            </a:extLst>
          </p:cNvPr>
          <p:cNvSpPr txBox="1"/>
          <p:nvPr/>
        </p:nvSpPr>
        <p:spPr bwMode="gray">
          <a:xfrm>
            <a:off x="1165540" y="2563299"/>
            <a:ext cx="2981583" cy="328266"/>
          </a:xfrm>
          <a:prstGeom prst="roundRect">
            <a:avLst>
              <a:gd name="adj" fmla="val 50000"/>
            </a:avLst>
          </a:prstGeom>
          <a:solidFill>
            <a:schemeClr val="accent5"/>
          </a:solidFill>
        </p:spPr>
        <p:txBody>
          <a:bodyPr wrap="square" lIns="144000" tIns="72000" rIns="72000" bIns="72000" rtlCol="0" anchor="ctr">
            <a:noAutofit/>
          </a:bodyPr>
          <a:lstStyle/>
          <a:p>
            <a:pPr lvl="0" defTabSz="914400">
              <a:buClr>
                <a:srgbClr val="FFD200"/>
              </a:buClr>
              <a:buSzPct val="70000"/>
            </a:pPr>
            <a:r>
              <a:rPr lang="en-GB" sz="1600" b="1" kern="0">
                <a:solidFill>
                  <a:schemeClr val="tx2"/>
                </a:solidFill>
                <a:latin typeface="EYInterstate" panose="02000503020000020004" pitchFamily="2" charset="0"/>
              </a:rPr>
              <a:t>Data quality assessment</a:t>
            </a:r>
          </a:p>
        </p:txBody>
      </p:sp>
      <p:sp>
        <p:nvSpPr>
          <p:cNvPr id="4" name="TextBox 3">
            <a:extLst>
              <a:ext uri="{FF2B5EF4-FFF2-40B4-BE49-F238E27FC236}">
                <a16:creationId xmlns:a16="http://schemas.microsoft.com/office/drawing/2014/main" id="{32FCC754-9EF9-4F77-BC68-A1DBDA81C057}"/>
              </a:ext>
            </a:extLst>
          </p:cNvPr>
          <p:cNvSpPr txBox="1"/>
          <p:nvPr/>
        </p:nvSpPr>
        <p:spPr bwMode="gray">
          <a:xfrm>
            <a:off x="4581237" y="2572535"/>
            <a:ext cx="8340435" cy="328266"/>
          </a:xfrm>
          <a:prstGeom prst="roundRect">
            <a:avLst>
              <a:gd name="adj" fmla="val 50000"/>
            </a:avLst>
          </a:prstGeom>
          <a:solidFill>
            <a:srgbClr val="91278F"/>
          </a:solidFill>
        </p:spPr>
        <p:txBody>
          <a:bodyPr wrap="square" lIns="144000" tIns="72000" rIns="72000" bIns="72000" rtlCol="0" anchor="ctr">
            <a:noAutofit/>
          </a:bodyPr>
          <a:lstStyle/>
          <a:p>
            <a:pPr lvl="0" defTabSz="914400">
              <a:buClr>
                <a:srgbClr val="FFD200"/>
              </a:buClr>
              <a:buSzPct val="70000"/>
            </a:pPr>
            <a:r>
              <a:rPr lang="en-GB" sz="1600" b="1" kern="0">
                <a:solidFill>
                  <a:schemeClr val="tx2"/>
                </a:solidFill>
                <a:latin typeface="EYInterstate" panose="02000503020000020004" pitchFamily="2" charset="0"/>
              </a:rPr>
              <a:t>Propensity model development</a:t>
            </a:r>
          </a:p>
        </p:txBody>
      </p:sp>
    </p:spTree>
    <p:extLst>
      <p:ext uri="{BB962C8B-B14F-4D97-AF65-F5344CB8AC3E}">
        <p14:creationId xmlns:p14="http://schemas.microsoft.com/office/powerpoint/2010/main" val="294167231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508790-C603-4DF1-BC89-E3B0BAD424D0}"/>
              </a:ext>
            </a:extLst>
          </p:cNvPr>
          <p:cNvSpPr>
            <a:spLocks noGrp="1"/>
          </p:cNvSpPr>
          <p:nvPr>
            <p:ph type="title"/>
          </p:nvPr>
        </p:nvSpPr>
        <p:spPr>
          <a:xfrm>
            <a:off x="943200" y="608400"/>
            <a:ext cx="12033282" cy="741600"/>
          </a:xfrm>
        </p:spPr>
        <p:txBody>
          <a:bodyPr/>
          <a:lstStyle/>
          <a:p>
            <a:r>
              <a:rPr lang="en-US"/>
              <a:t>We will engineer the complete 360° customer view in our feature universe to identify meaningful causality relationships</a:t>
            </a:r>
          </a:p>
        </p:txBody>
      </p:sp>
      <p:sp>
        <p:nvSpPr>
          <p:cNvPr id="98" name="Freeform 31">
            <a:extLst>
              <a:ext uri="{FF2B5EF4-FFF2-40B4-BE49-F238E27FC236}">
                <a16:creationId xmlns:a16="http://schemas.microsoft.com/office/drawing/2014/main" id="{D050A29F-2482-4724-9D3B-12FB0A7DACD7}"/>
              </a:ext>
            </a:extLst>
          </p:cNvPr>
          <p:cNvSpPr/>
          <p:nvPr/>
        </p:nvSpPr>
        <p:spPr>
          <a:xfrm>
            <a:off x="6010309" y="2217153"/>
            <a:ext cx="1999523" cy="1245131"/>
          </a:xfrm>
          <a:custGeom>
            <a:avLst/>
            <a:gdLst>
              <a:gd name="connsiteX0" fmla="*/ 1647730 w 2392720"/>
              <a:gd name="connsiteY0" fmla="*/ 0 h 1489980"/>
              <a:gd name="connsiteX1" fmla="*/ 2392720 w 2392720"/>
              <a:gd name="connsiteY1" fmla="*/ 744990 h 1489980"/>
              <a:gd name="connsiteX2" fmla="*/ 1647730 w 2392720"/>
              <a:gd name="connsiteY2" fmla="*/ 1489980 h 1489980"/>
              <a:gd name="connsiteX3" fmla="*/ 1120943 w 2392720"/>
              <a:gd name="connsiteY3" fmla="*/ 1271778 h 1489980"/>
              <a:gd name="connsiteX4" fmla="*/ 1083539 w 2392720"/>
              <a:gd name="connsiteY4" fmla="*/ 1226444 h 1489980"/>
              <a:gd name="connsiteX5" fmla="*/ 1028322 w 2392720"/>
              <a:gd name="connsiteY5" fmla="*/ 1187798 h 1489980"/>
              <a:gd name="connsiteX6" fmla="*/ 571499 w 2392720"/>
              <a:gd name="connsiteY6" fmla="*/ 1083263 h 1489980"/>
              <a:gd name="connsiteX7" fmla="*/ 0 w 2392720"/>
              <a:gd name="connsiteY7" fmla="*/ 1284221 h 1489980"/>
              <a:gd name="connsiteX8" fmla="*/ 0 w 2392720"/>
              <a:gd name="connsiteY8" fmla="*/ 205757 h 1489980"/>
              <a:gd name="connsiteX9" fmla="*/ 571499 w 2392720"/>
              <a:gd name="connsiteY9" fmla="*/ 406715 h 1489980"/>
              <a:gd name="connsiteX10" fmla="*/ 1077667 w 2392720"/>
              <a:gd name="connsiteY10" fmla="*/ 256715 h 1489980"/>
              <a:gd name="connsiteX11" fmla="*/ 1109929 w 2392720"/>
              <a:gd name="connsiteY11" fmla="*/ 231551 h 1489980"/>
              <a:gd name="connsiteX12" fmla="*/ 1120943 w 2392720"/>
              <a:gd name="connsiteY12" fmla="*/ 218202 h 1489980"/>
              <a:gd name="connsiteX13" fmla="*/ 1647730 w 2392720"/>
              <a:gd name="connsiteY13" fmla="*/ 0 h 1489980"/>
              <a:gd name="connsiteX0" fmla="*/ 1647730 w 2392720"/>
              <a:gd name="connsiteY0" fmla="*/ 0 h 1489980"/>
              <a:gd name="connsiteX1" fmla="*/ 2392720 w 2392720"/>
              <a:gd name="connsiteY1" fmla="*/ 744990 h 1489980"/>
              <a:gd name="connsiteX2" fmla="*/ 1647730 w 2392720"/>
              <a:gd name="connsiteY2" fmla="*/ 1489980 h 1489980"/>
              <a:gd name="connsiteX3" fmla="*/ 1120943 w 2392720"/>
              <a:gd name="connsiteY3" fmla="*/ 1271778 h 1489980"/>
              <a:gd name="connsiteX4" fmla="*/ 1083539 w 2392720"/>
              <a:gd name="connsiteY4" fmla="*/ 1226444 h 1489980"/>
              <a:gd name="connsiteX5" fmla="*/ 1028322 w 2392720"/>
              <a:gd name="connsiteY5" fmla="*/ 1187798 h 1489980"/>
              <a:gd name="connsiteX6" fmla="*/ 571499 w 2392720"/>
              <a:gd name="connsiteY6" fmla="*/ 1083263 h 1489980"/>
              <a:gd name="connsiteX7" fmla="*/ 0 w 2392720"/>
              <a:gd name="connsiteY7" fmla="*/ 1284221 h 1489980"/>
              <a:gd name="connsiteX8" fmla="*/ 0 w 2392720"/>
              <a:gd name="connsiteY8" fmla="*/ 205757 h 1489980"/>
              <a:gd name="connsiteX9" fmla="*/ 566419 w 2392720"/>
              <a:gd name="connsiteY9" fmla="*/ 620075 h 1489980"/>
              <a:gd name="connsiteX10" fmla="*/ 1077667 w 2392720"/>
              <a:gd name="connsiteY10" fmla="*/ 256715 h 1489980"/>
              <a:gd name="connsiteX11" fmla="*/ 1109929 w 2392720"/>
              <a:gd name="connsiteY11" fmla="*/ 231551 h 1489980"/>
              <a:gd name="connsiteX12" fmla="*/ 1120943 w 2392720"/>
              <a:gd name="connsiteY12" fmla="*/ 218202 h 1489980"/>
              <a:gd name="connsiteX13" fmla="*/ 1647730 w 2392720"/>
              <a:gd name="connsiteY13" fmla="*/ 0 h 1489980"/>
              <a:gd name="connsiteX0" fmla="*/ 1647730 w 2392720"/>
              <a:gd name="connsiteY0" fmla="*/ 0 h 1489980"/>
              <a:gd name="connsiteX1" fmla="*/ 2392720 w 2392720"/>
              <a:gd name="connsiteY1" fmla="*/ 744990 h 1489980"/>
              <a:gd name="connsiteX2" fmla="*/ 1647730 w 2392720"/>
              <a:gd name="connsiteY2" fmla="*/ 1489980 h 1489980"/>
              <a:gd name="connsiteX3" fmla="*/ 1120943 w 2392720"/>
              <a:gd name="connsiteY3" fmla="*/ 1271778 h 1489980"/>
              <a:gd name="connsiteX4" fmla="*/ 1083539 w 2392720"/>
              <a:gd name="connsiteY4" fmla="*/ 1226444 h 1489980"/>
              <a:gd name="connsiteX5" fmla="*/ 1028322 w 2392720"/>
              <a:gd name="connsiteY5" fmla="*/ 1187798 h 1489980"/>
              <a:gd name="connsiteX6" fmla="*/ 571499 w 2392720"/>
              <a:gd name="connsiteY6" fmla="*/ 872443 h 1489980"/>
              <a:gd name="connsiteX7" fmla="*/ 0 w 2392720"/>
              <a:gd name="connsiteY7" fmla="*/ 1284221 h 1489980"/>
              <a:gd name="connsiteX8" fmla="*/ 0 w 2392720"/>
              <a:gd name="connsiteY8" fmla="*/ 205757 h 1489980"/>
              <a:gd name="connsiteX9" fmla="*/ 566419 w 2392720"/>
              <a:gd name="connsiteY9" fmla="*/ 620075 h 1489980"/>
              <a:gd name="connsiteX10" fmla="*/ 1077667 w 2392720"/>
              <a:gd name="connsiteY10" fmla="*/ 256715 h 1489980"/>
              <a:gd name="connsiteX11" fmla="*/ 1109929 w 2392720"/>
              <a:gd name="connsiteY11" fmla="*/ 231551 h 1489980"/>
              <a:gd name="connsiteX12" fmla="*/ 1120943 w 2392720"/>
              <a:gd name="connsiteY12" fmla="*/ 218202 h 1489980"/>
              <a:gd name="connsiteX13" fmla="*/ 1647730 w 2392720"/>
              <a:gd name="connsiteY13" fmla="*/ 0 h 1489980"/>
              <a:gd name="connsiteX0" fmla="*/ 1647730 w 2392720"/>
              <a:gd name="connsiteY0" fmla="*/ 0 h 1489980"/>
              <a:gd name="connsiteX1" fmla="*/ 2392720 w 2392720"/>
              <a:gd name="connsiteY1" fmla="*/ 744990 h 1489980"/>
              <a:gd name="connsiteX2" fmla="*/ 1647730 w 2392720"/>
              <a:gd name="connsiteY2" fmla="*/ 1489980 h 1489980"/>
              <a:gd name="connsiteX3" fmla="*/ 1120943 w 2392720"/>
              <a:gd name="connsiteY3" fmla="*/ 1271778 h 1489980"/>
              <a:gd name="connsiteX4" fmla="*/ 1083539 w 2392720"/>
              <a:gd name="connsiteY4" fmla="*/ 1226444 h 1489980"/>
              <a:gd name="connsiteX5" fmla="*/ 1028322 w 2392720"/>
              <a:gd name="connsiteY5" fmla="*/ 1187798 h 1489980"/>
              <a:gd name="connsiteX6" fmla="*/ 571499 w 2392720"/>
              <a:gd name="connsiteY6" fmla="*/ 872443 h 1489980"/>
              <a:gd name="connsiteX7" fmla="*/ 0 w 2392720"/>
              <a:gd name="connsiteY7" fmla="*/ 1284221 h 1489980"/>
              <a:gd name="connsiteX8" fmla="*/ 0 w 2392720"/>
              <a:gd name="connsiteY8" fmla="*/ 205757 h 1489980"/>
              <a:gd name="connsiteX9" fmla="*/ 566419 w 2392720"/>
              <a:gd name="connsiteY9" fmla="*/ 620075 h 1489980"/>
              <a:gd name="connsiteX10" fmla="*/ 1077667 w 2392720"/>
              <a:gd name="connsiteY10" fmla="*/ 256715 h 1489980"/>
              <a:gd name="connsiteX11" fmla="*/ 1109929 w 2392720"/>
              <a:gd name="connsiteY11" fmla="*/ 231551 h 1489980"/>
              <a:gd name="connsiteX12" fmla="*/ 1120943 w 2392720"/>
              <a:gd name="connsiteY12" fmla="*/ 218202 h 1489980"/>
              <a:gd name="connsiteX13" fmla="*/ 1647730 w 2392720"/>
              <a:gd name="connsiteY13" fmla="*/ 0 h 1489980"/>
              <a:gd name="connsiteX0" fmla="*/ 1647730 w 2392720"/>
              <a:gd name="connsiteY0" fmla="*/ 0 h 1489980"/>
              <a:gd name="connsiteX1" fmla="*/ 2392720 w 2392720"/>
              <a:gd name="connsiteY1" fmla="*/ 744990 h 1489980"/>
              <a:gd name="connsiteX2" fmla="*/ 1647730 w 2392720"/>
              <a:gd name="connsiteY2" fmla="*/ 1489980 h 1489980"/>
              <a:gd name="connsiteX3" fmla="*/ 1120943 w 2392720"/>
              <a:gd name="connsiteY3" fmla="*/ 1271778 h 1489980"/>
              <a:gd name="connsiteX4" fmla="*/ 1083539 w 2392720"/>
              <a:gd name="connsiteY4" fmla="*/ 1226444 h 1489980"/>
              <a:gd name="connsiteX5" fmla="*/ 1028322 w 2392720"/>
              <a:gd name="connsiteY5" fmla="*/ 1187798 h 1489980"/>
              <a:gd name="connsiteX6" fmla="*/ 571499 w 2392720"/>
              <a:gd name="connsiteY6" fmla="*/ 872443 h 1489980"/>
              <a:gd name="connsiteX7" fmla="*/ 0 w 2392720"/>
              <a:gd name="connsiteY7" fmla="*/ 1284221 h 1489980"/>
              <a:gd name="connsiteX8" fmla="*/ 0 w 2392720"/>
              <a:gd name="connsiteY8" fmla="*/ 205757 h 1489980"/>
              <a:gd name="connsiteX9" fmla="*/ 566419 w 2392720"/>
              <a:gd name="connsiteY9" fmla="*/ 620075 h 1489980"/>
              <a:gd name="connsiteX10" fmla="*/ 1077667 w 2392720"/>
              <a:gd name="connsiteY10" fmla="*/ 256715 h 1489980"/>
              <a:gd name="connsiteX11" fmla="*/ 1109929 w 2392720"/>
              <a:gd name="connsiteY11" fmla="*/ 231551 h 1489980"/>
              <a:gd name="connsiteX12" fmla="*/ 1120943 w 2392720"/>
              <a:gd name="connsiteY12" fmla="*/ 218202 h 1489980"/>
              <a:gd name="connsiteX13" fmla="*/ 1647730 w 2392720"/>
              <a:gd name="connsiteY13" fmla="*/ 0 h 1489980"/>
              <a:gd name="connsiteX0" fmla="*/ 1647730 w 2392720"/>
              <a:gd name="connsiteY0" fmla="*/ 0 h 1489980"/>
              <a:gd name="connsiteX1" fmla="*/ 2392720 w 2392720"/>
              <a:gd name="connsiteY1" fmla="*/ 744990 h 1489980"/>
              <a:gd name="connsiteX2" fmla="*/ 1647730 w 2392720"/>
              <a:gd name="connsiteY2" fmla="*/ 1489980 h 1489980"/>
              <a:gd name="connsiteX3" fmla="*/ 1120943 w 2392720"/>
              <a:gd name="connsiteY3" fmla="*/ 1271778 h 1489980"/>
              <a:gd name="connsiteX4" fmla="*/ 1083539 w 2392720"/>
              <a:gd name="connsiteY4" fmla="*/ 1226444 h 1489980"/>
              <a:gd name="connsiteX5" fmla="*/ 1028322 w 2392720"/>
              <a:gd name="connsiteY5" fmla="*/ 1187798 h 1489980"/>
              <a:gd name="connsiteX6" fmla="*/ 571499 w 2392720"/>
              <a:gd name="connsiteY6" fmla="*/ 872443 h 1489980"/>
              <a:gd name="connsiteX7" fmla="*/ 0 w 2392720"/>
              <a:gd name="connsiteY7" fmla="*/ 1284221 h 1489980"/>
              <a:gd name="connsiteX8" fmla="*/ 0 w 2392720"/>
              <a:gd name="connsiteY8" fmla="*/ 205757 h 1489980"/>
              <a:gd name="connsiteX9" fmla="*/ 566419 w 2392720"/>
              <a:gd name="connsiteY9" fmla="*/ 620075 h 1489980"/>
              <a:gd name="connsiteX10" fmla="*/ 1077667 w 2392720"/>
              <a:gd name="connsiteY10" fmla="*/ 256715 h 1489980"/>
              <a:gd name="connsiteX11" fmla="*/ 1109929 w 2392720"/>
              <a:gd name="connsiteY11" fmla="*/ 231551 h 1489980"/>
              <a:gd name="connsiteX12" fmla="*/ 1120943 w 2392720"/>
              <a:gd name="connsiteY12" fmla="*/ 218202 h 1489980"/>
              <a:gd name="connsiteX13" fmla="*/ 1647730 w 2392720"/>
              <a:gd name="connsiteY13" fmla="*/ 0 h 1489980"/>
              <a:gd name="connsiteX0" fmla="*/ 1647730 w 2392720"/>
              <a:gd name="connsiteY0" fmla="*/ 0 h 1489980"/>
              <a:gd name="connsiteX1" fmla="*/ 2392720 w 2392720"/>
              <a:gd name="connsiteY1" fmla="*/ 744990 h 1489980"/>
              <a:gd name="connsiteX2" fmla="*/ 1647730 w 2392720"/>
              <a:gd name="connsiteY2" fmla="*/ 1489980 h 1489980"/>
              <a:gd name="connsiteX3" fmla="*/ 1120943 w 2392720"/>
              <a:gd name="connsiteY3" fmla="*/ 1271778 h 1489980"/>
              <a:gd name="connsiteX4" fmla="*/ 1083539 w 2392720"/>
              <a:gd name="connsiteY4" fmla="*/ 1226444 h 1489980"/>
              <a:gd name="connsiteX5" fmla="*/ 1028322 w 2392720"/>
              <a:gd name="connsiteY5" fmla="*/ 1187798 h 1489980"/>
              <a:gd name="connsiteX6" fmla="*/ 571499 w 2392720"/>
              <a:gd name="connsiteY6" fmla="*/ 872443 h 1489980"/>
              <a:gd name="connsiteX7" fmla="*/ 0 w 2392720"/>
              <a:gd name="connsiteY7" fmla="*/ 1284221 h 1489980"/>
              <a:gd name="connsiteX8" fmla="*/ 0 w 2392720"/>
              <a:gd name="connsiteY8" fmla="*/ 205757 h 1489980"/>
              <a:gd name="connsiteX9" fmla="*/ 566419 w 2392720"/>
              <a:gd name="connsiteY9" fmla="*/ 620075 h 1489980"/>
              <a:gd name="connsiteX10" fmla="*/ 1077667 w 2392720"/>
              <a:gd name="connsiteY10" fmla="*/ 256715 h 1489980"/>
              <a:gd name="connsiteX11" fmla="*/ 1109929 w 2392720"/>
              <a:gd name="connsiteY11" fmla="*/ 231551 h 1489980"/>
              <a:gd name="connsiteX12" fmla="*/ 1120943 w 2392720"/>
              <a:gd name="connsiteY12" fmla="*/ 218202 h 1489980"/>
              <a:gd name="connsiteX13" fmla="*/ 1647730 w 2392720"/>
              <a:gd name="connsiteY13" fmla="*/ 0 h 1489980"/>
              <a:gd name="connsiteX0" fmla="*/ 1647730 w 2392720"/>
              <a:gd name="connsiteY0" fmla="*/ 0 h 1489980"/>
              <a:gd name="connsiteX1" fmla="*/ 2392720 w 2392720"/>
              <a:gd name="connsiteY1" fmla="*/ 744990 h 1489980"/>
              <a:gd name="connsiteX2" fmla="*/ 1647730 w 2392720"/>
              <a:gd name="connsiteY2" fmla="*/ 1489980 h 1489980"/>
              <a:gd name="connsiteX3" fmla="*/ 1120943 w 2392720"/>
              <a:gd name="connsiteY3" fmla="*/ 1271778 h 1489980"/>
              <a:gd name="connsiteX4" fmla="*/ 1083539 w 2392720"/>
              <a:gd name="connsiteY4" fmla="*/ 1226444 h 1489980"/>
              <a:gd name="connsiteX5" fmla="*/ 571499 w 2392720"/>
              <a:gd name="connsiteY5" fmla="*/ 872443 h 1489980"/>
              <a:gd name="connsiteX6" fmla="*/ 0 w 2392720"/>
              <a:gd name="connsiteY6" fmla="*/ 1284221 h 1489980"/>
              <a:gd name="connsiteX7" fmla="*/ 0 w 2392720"/>
              <a:gd name="connsiteY7" fmla="*/ 205757 h 1489980"/>
              <a:gd name="connsiteX8" fmla="*/ 566419 w 2392720"/>
              <a:gd name="connsiteY8" fmla="*/ 620075 h 1489980"/>
              <a:gd name="connsiteX9" fmla="*/ 1077667 w 2392720"/>
              <a:gd name="connsiteY9" fmla="*/ 256715 h 1489980"/>
              <a:gd name="connsiteX10" fmla="*/ 1109929 w 2392720"/>
              <a:gd name="connsiteY10" fmla="*/ 231551 h 1489980"/>
              <a:gd name="connsiteX11" fmla="*/ 1120943 w 2392720"/>
              <a:gd name="connsiteY11" fmla="*/ 218202 h 1489980"/>
              <a:gd name="connsiteX12" fmla="*/ 1647730 w 2392720"/>
              <a:gd name="connsiteY12" fmla="*/ 0 h 1489980"/>
              <a:gd name="connsiteX0" fmla="*/ 1647730 w 2392720"/>
              <a:gd name="connsiteY0" fmla="*/ 0 h 1489980"/>
              <a:gd name="connsiteX1" fmla="*/ 2392720 w 2392720"/>
              <a:gd name="connsiteY1" fmla="*/ 744990 h 1489980"/>
              <a:gd name="connsiteX2" fmla="*/ 1647730 w 2392720"/>
              <a:gd name="connsiteY2" fmla="*/ 1489980 h 1489980"/>
              <a:gd name="connsiteX3" fmla="*/ 1120943 w 2392720"/>
              <a:gd name="connsiteY3" fmla="*/ 1271778 h 1489980"/>
              <a:gd name="connsiteX4" fmla="*/ 571499 w 2392720"/>
              <a:gd name="connsiteY4" fmla="*/ 872443 h 1489980"/>
              <a:gd name="connsiteX5" fmla="*/ 0 w 2392720"/>
              <a:gd name="connsiteY5" fmla="*/ 1284221 h 1489980"/>
              <a:gd name="connsiteX6" fmla="*/ 0 w 2392720"/>
              <a:gd name="connsiteY6" fmla="*/ 205757 h 1489980"/>
              <a:gd name="connsiteX7" fmla="*/ 566419 w 2392720"/>
              <a:gd name="connsiteY7" fmla="*/ 620075 h 1489980"/>
              <a:gd name="connsiteX8" fmla="*/ 1077667 w 2392720"/>
              <a:gd name="connsiteY8" fmla="*/ 256715 h 1489980"/>
              <a:gd name="connsiteX9" fmla="*/ 1109929 w 2392720"/>
              <a:gd name="connsiteY9" fmla="*/ 231551 h 1489980"/>
              <a:gd name="connsiteX10" fmla="*/ 1120943 w 2392720"/>
              <a:gd name="connsiteY10" fmla="*/ 218202 h 1489980"/>
              <a:gd name="connsiteX11" fmla="*/ 1647730 w 2392720"/>
              <a:gd name="connsiteY11" fmla="*/ 0 h 1489980"/>
              <a:gd name="connsiteX0" fmla="*/ 1647730 w 2392720"/>
              <a:gd name="connsiteY0" fmla="*/ 0 h 1489980"/>
              <a:gd name="connsiteX1" fmla="*/ 2392720 w 2392720"/>
              <a:gd name="connsiteY1" fmla="*/ 744990 h 1489980"/>
              <a:gd name="connsiteX2" fmla="*/ 1647730 w 2392720"/>
              <a:gd name="connsiteY2" fmla="*/ 1489980 h 1489980"/>
              <a:gd name="connsiteX3" fmla="*/ 1120943 w 2392720"/>
              <a:gd name="connsiteY3" fmla="*/ 1271778 h 1489980"/>
              <a:gd name="connsiteX4" fmla="*/ 571499 w 2392720"/>
              <a:gd name="connsiteY4" fmla="*/ 872443 h 1489980"/>
              <a:gd name="connsiteX5" fmla="*/ 0 w 2392720"/>
              <a:gd name="connsiteY5" fmla="*/ 1284221 h 1489980"/>
              <a:gd name="connsiteX6" fmla="*/ 0 w 2392720"/>
              <a:gd name="connsiteY6" fmla="*/ 205757 h 1489980"/>
              <a:gd name="connsiteX7" fmla="*/ 566419 w 2392720"/>
              <a:gd name="connsiteY7" fmla="*/ 620075 h 1489980"/>
              <a:gd name="connsiteX8" fmla="*/ 1109929 w 2392720"/>
              <a:gd name="connsiteY8" fmla="*/ 231551 h 1489980"/>
              <a:gd name="connsiteX9" fmla="*/ 1120943 w 2392720"/>
              <a:gd name="connsiteY9" fmla="*/ 218202 h 1489980"/>
              <a:gd name="connsiteX10" fmla="*/ 1647730 w 2392720"/>
              <a:gd name="connsiteY10" fmla="*/ 0 h 1489980"/>
              <a:gd name="connsiteX0" fmla="*/ 1647730 w 2392720"/>
              <a:gd name="connsiteY0" fmla="*/ 0 h 1489980"/>
              <a:gd name="connsiteX1" fmla="*/ 2392720 w 2392720"/>
              <a:gd name="connsiteY1" fmla="*/ 744990 h 1489980"/>
              <a:gd name="connsiteX2" fmla="*/ 1647730 w 2392720"/>
              <a:gd name="connsiteY2" fmla="*/ 1489980 h 1489980"/>
              <a:gd name="connsiteX3" fmla="*/ 1120943 w 2392720"/>
              <a:gd name="connsiteY3" fmla="*/ 1271778 h 1489980"/>
              <a:gd name="connsiteX4" fmla="*/ 571499 w 2392720"/>
              <a:gd name="connsiteY4" fmla="*/ 872443 h 1489980"/>
              <a:gd name="connsiteX5" fmla="*/ 0 w 2392720"/>
              <a:gd name="connsiteY5" fmla="*/ 1284221 h 1489980"/>
              <a:gd name="connsiteX6" fmla="*/ 0 w 2392720"/>
              <a:gd name="connsiteY6" fmla="*/ 205757 h 1489980"/>
              <a:gd name="connsiteX7" fmla="*/ 566419 w 2392720"/>
              <a:gd name="connsiteY7" fmla="*/ 620075 h 1489980"/>
              <a:gd name="connsiteX8" fmla="*/ 1120943 w 2392720"/>
              <a:gd name="connsiteY8" fmla="*/ 218202 h 1489980"/>
              <a:gd name="connsiteX9" fmla="*/ 1647730 w 2392720"/>
              <a:gd name="connsiteY9" fmla="*/ 0 h 1489980"/>
              <a:gd name="connsiteX0" fmla="*/ 1647730 w 2392720"/>
              <a:gd name="connsiteY0" fmla="*/ 0 h 1489980"/>
              <a:gd name="connsiteX1" fmla="*/ 2392720 w 2392720"/>
              <a:gd name="connsiteY1" fmla="*/ 744990 h 1489980"/>
              <a:gd name="connsiteX2" fmla="*/ 1647730 w 2392720"/>
              <a:gd name="connsiteY2" fmla="*/ 1489980 h 1489980"/>
              <a:gd name="connsiteX3" fmla="*/ 1120943 w 2392720"/>
              <a:gd name="connsiteY3" fmla="*/ 1271778 h 1489980"/>
              <a:gd name="connsiteX4" fmla="*/ 571499 w 2392720"/>
              <a:gd name="connsiteY4" fmla="*/ 872443 h 1489980"/>
              <a:gd name="connsiteX5" fmla="*/ 0 w 2392720"/>
              <a:gd name="connsiteY5" fmla="*/ 1284221 h 1489980"/>
              <a:gd name="connsiteX6" fmla="*/ 0 w 2392720"/>
              <a:gd name="connsiteY6" fmla="*/ 205757 h 1489980"/>
              <a:gd name="connsiteX7" fmla="*/ 566419 w 2392720"/>
              <a:gd name="connsiteY7" fmla="*/ 620075 h 1489980"/>
              <a:gd name="connsiteX8" fmla="*/ 1120943 w 2392720"/>
              <a:gd name="connsiteY8" fmla="*/ 218202 h 1489980"/>
              <a:gd name="connsiteX9" fmla="*/ 1647730 w 2392720"/>
              <a:gd name="connsiteY9" fmla="*/ 0 h 1489980"/>
              <a:gd name="connsiteX0" fmla="*/ 1647730 w 2392720"/>
              <a:gd name="connsiteY0" fmla="*/ 0 h 1489980"/>
              <a:gd name="connsiteX1" fmla="*/ 2392720 w 2392720"/>
              <a:gd name="connsiteY1" fmla="*/ 744990 h 1489980"/>
              <a:gd name="connsiteX2" fmla="*/ 1647730 w 2392720"/>
              <a:gd name="connsiteY2" fmla="*/ 1489980 h 1489980"/>
              <a:gd name="connsiteX3" fmla="*/ 1120943 w 2392720"/>
              <a:gd name="connsiteY3" fmla="*/ 1271778 h 1489980"/>
              <a:gd name="connsiteX4" fmla="*/ 571499 w 2392720"/>
              <a:gd name="connsiteY4" fmla="*/ 872443 h 1489980"/>
              <a:gd name="connsiteX5" fmla="*/ 0 w 2392720"/>
              <a:gd name="connsiteY5" fmla="*/ 1284221 h 1489980"/>
              <a:gd name="connsiteX6" fmla="*/ 0 w 2392720"/>
              <a:gd name="connsiteY6" fmla="*/ 205757 h 1489980"/>
              <a:gd name="connsiteX7" fmla="*/ 566419 w 2392720"/>
              <a:gd name="connsiteY7" fmla="*/ 620075 h 1489980"/>
              <a:gd name="connsiteX8" fmla="*/ 1120943 w 2392720"/>
              <a:gd name="connsiteY8" fmla="*/ 218202 h 1489980"/>
              <a:gd name="connsiteX9" fmla="*/ 1647730 w 2392720"/>
              <a:gd name="connsiteY9" fmla="*/ 0 h 1489980"/>
              <a:gd name="connsiteX0" fmla="*/ 1647730 w 2392720"/>
              <a:gd name="connsiteY0" fmla="*/ 0 h 1489980"/>
              <a:gd name="connsiteX1" fmla="*/ 2392720 w 2392720"/>
              <a:gd name="connsiteY1" fmla="*/ 744990 h 1489980"/>
              <a:gd name="connsiteX2" fmla="*/ 1647730 w 2392720"/>
              <a:gd name="connsiteY2" fmla="*/ 1489980 h 1489980"/>
              <a:gd name="connsiteX3" fmla="*/ 1120943 w 2392720"/>
              <a:gd name="connsiteY3" fmla="*/ 1271778 h 1489980"/>
              <a:gd name="connsiteX4" fmla="*/ 571499 w 2392720"/>
              <a:gd name="connsiteY4" fmla="*/ 872443 h 1489980"/>
              <a:gd name="connsiteX5" fmla="*/ 0 w 2392720"/>
              <a:gd name="connsiteY5" fmla="*/ 1284221 h 1489980"/>
              <a:gd name="connsiteX6" fmla="*/ 0 w 2392720"/>
              <a:gd name="connsiteY6" fmla="*/ 205757 h 1489980"/>
              <a:gd name="connsiteX7" fmla="*/ 566419 w 2392720"/>
              <a:gd name="connsiteY7" fmla="*/ 620075 h 1489980"/>
              <a:gd name="connsiteX8" fmla="*/ 1120943 w 2392720"/>
              <a:gd name="connsiteY8" fmla="*/ 218202 h 1489980"/>
              <a:gd name="connsiteX9" fmla="*/ 1647730 w 2392720"/>
              <a:gd name="connsiteY9" fmla="*/ 0 h 1489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92720" h="1489980">
                <a:moveTo>
                  <a:pt x="1647730" y="0"/>
                </a:moveTo>
                <a:cubicBezTo>
                  <a:pt x="2059177" y="0"/>
                  <a:pt x="2392720" y="333543"/>
                  <a:pt x="2392720" y="744990"/>
                </a:cubicBezTo>
                <a:cubicBezTo>
                  <a:pt x="2392720" y="1156437"/>
                  <a:pt x="2059177" y="1489980"/>
                  <a:pt x="1647730" y="1489980"/>
                </a:cubicBezTo>
                <a:cubicBezTo>
                  <a:pt x="1442007" y="1489980"/>
                  <a:pt x="1255759" y="1406594"/>
                  <a:pt x="1120943" y="1271778"/>
                </a:cubicBezTo>
                <a:cubicBezTo>
                  <a:pt x="970815" y="1120886"/>
                  <a:pt x="757187" y="876015"/>
                  <a:pt x="571499" y="872443"/>
                </a:cubicBezTo>
                <a:cubicBezTo>
                  <a:pt x="377924" y="868719"/>
                  <a:pt x="125729" y="1121986"/>
                  <a:pt x="0" y="1284221"/>
                </a:cubicBezTo>
                <a:lnTo>
                  <a:pt x="0" y="205757"/>
                </a:lnTo>
                <a:cubicBezTo>
                  <a:pt x="160021" y="352752"/>
                  <a:pt x="357284" y="622988"/>
                  <a:pt x="566419" y="620075"/>
                </a:cubicBezTo>
                <a:cubicBezTo>
                  <a:pt x="753243" y="622149"/>
                  <a:pt x="981365" y="364728"/>
                  <a:pt x="1120943" y="218202"/>
                </a:cubicBezTo>
                <a:cubicBezTo>
                  <a:pt x="1255759" y="83386"/>
                  <a:pt x="1442007" y="0"/>
                  <a:pt x="1647730" y="0"/>
                </a:cubicBezTo>
                <a:close/>
              </a:path>
            </a:pathLst>
          </a:custGeom>
          <a:solidFill>
            <a:srgbClr val="F5DBF4"/>
          </a:solidFill>
          <a:ln w="25400" cap="flat" cmpd="sng" algn="ctr">
            <a:noFill/>
            <a:prstDash val="solid"/>
          </a:ln>
          <a:effectLst/>
        </p:spPr>
        <p:txBody>
          <a:bodyPr spcFirstLastPara="0" vert="horz" wrap="square" lIns="239157" tIns="239157" rIns="239157" bIns="239157" numCol="1" spcCol="1270" anchor="ctr" anchorCtr="0">
            <a:noAutofit/>
          </a:bodyPr>
          <a:lstStyle/>
          <a:p>
            <a:pPr marL="0" marR="0" lvl="0" indent="0" algn="ctr" defTabSz="1466850" eaLnBrk="1" fontAlgn="auto" latinLnBrk="0" hangingPunct="1">
              <a:lnSpc>
                <a:spcPct val="90000"/>
              </a:lnSpc>
              <a:spcBef>
                <a:spcPts val="0"/>
              </a:spcBef>
              <a:spcAft>
                <a:spcPct val="35000"/>
              </a:spcAft>
              <a:buClrTx/>
              <a:buSzTx/>
              <a:buFontTx/>
              <a:buNone/>
              <a:tabLst/>
              <a:defRPr/>
            </a:pPr>
            <a:endParaRPr kumimoji="0" lang="en-GB" sz="3300" b="0" i="0" u="none" strike="noStrike" kern="0" cap="none" spc="0" normalizeH="0" baseline="0" noProof="0">
              <a:ln>
                <a:noFill/>
              </a:ln>
              <a:solidFill>
                <a:srgbClr val="646464"/>
              </a:solidFill>
              <a:effectLst/>
              <a:uLnTx/>
              <a:uFillTx/>
              <a:latin typeface="EYInterstate Light"/>
              <a:ea typeface="+mn-ea"/>
              <a:cs typeface="+mn-cs"/>
            </a:endParaRPr>
          </a:p>
        </p:txBody>
      </p:sp>
      <p:sp>
        <p:nvSpPr>
          <p:cNvPr id="99" name="Freeform 33">
            <a:extLst>
              <a:ext uri="{FF2B5EF4-FFF2-40B4-BE49-F238E27FC236}">
                <a16:creationId xmlns:a16="http://schemas.microsoft.com/office/drawing/2014/main" id="{3A33ADAF-8C8D-44E9-BCF7-B7EE6939FD17}"/>
              </a:ext>
            </a:extLst>
          </p:cNvPr>
          <p:cNvSpPr/>
          <p:nvPr/>
        </p:nvSpPr>
        <p:spPr>
          <a:xfrm rot="18000000">
            <a:off x="4399822" y="2545973"/>
            <a:ext cx="1999523" cy="1245131"/>
          </a:xfrm>
          <a:custGeom>
            <a:avLst/>
            <a:gdLst>
              <a:gd name="connsiteX0" fmla="*/ 1647730 w 2392720"/>
              <a:gd name="connsiteY0" fmla="*/ 0 h 1489980"/>
              <a:gd name="connsiteX1" fmla="*/ 2392720 w 2392720"/>
              <a:gd name="connsiteY1" fmla="*/ 744990 h 1489980"/>
              <a:gd name="connsiteX2" fmla="*/ 1647730 w 2392720"/>
              <a:gd name="connsiteY2" fmla="*/ 1489980 h 1489980"/>
              <a:gd name="connsiteX3" fmla="*/ 1120943 w 2392720"/>
              <a:gd name="connsiteY3" fmla="*/ 1271778 h 1489980"/>
              <a:gd name="connsiteX4" fmla="*/ 1083539 w 2392720"/>
              <a:gd name="connsiteY4" fmla="*/ 1226444 h 1489980"/>
              <a:gd name="connsiteX5" fmla="*/ 1028322 w 2392720"/>
              <a:gd name="connsiteY5" fmla="*/ 1187798 h 1489980"/>
              <a:gd name="connsiteX6" fmla="*/ 571499 w 2392720"/>
              <a:gd name="connsiteY6" fmla="*/ 1083263 h 1489980"/>
              <a:gd name="connsiteX7" fmla="*/ 0 w 2392720"/>
              <a:gd name="connsiteY7" fmla="*/ 1284221 h 1489980"/>
              <a:gd name="connsiteX8" fmla="*/ 0 w 2392720"/>
              <a:gd name="connsiteY8" fmla="*/ 205757 h 1489980"/>
              <a:gd name="connsiteX9" fmla="*/ 571499 w 2392720"/>
              <a:gd name="connsiteY9" fmla="*/ 406715 h 1489980"/>
              <a:gd name="connsiteX10" fmla="*/ 1077667 w 2392720"/>
              <a:gd name="connsiteY10" fmla="*/ 256715 h 1489980"/>
              <a:gd name="connsiteX11" fmla="*/ 1109929 w 2392720"/>
              <a:gd name="connsiteY11" fmla="*/ 231551 h 1489980"/>
              <a:gd name="connsiteX12" fmla="*/ 1120943 w 2392720"/>
              <a:gd name="connsiteY12" fmla="*/ 218202 h 1489980"/>
              <a:gd name="connsiteX13" fmla="*/ 1647730 w 2392720"/>
              <a:gd name="connsiteY13" fmla="*/ 0 h 1489980"/>
              <a:gd name="connsiteX0" fmla="*/ 1647730 w 2392720"/>
              <a:gd name="connsiteY0" fmla="*/ 0 h 1489980"/>
              <a:gd name="connsiteX1" fmla="*/ 2392720 w 2392720"/>
              <a:gd name="connsiteY1" fmla="*/ 744990 h 1489980"/>
              <a:gd name="connsiteX2" fmla="*/ 1647730 w 2392720"/>
              <a:gd name="connsiteY2" fmla="*/ 1489980 h 1489980"/>
              <a:gd name="connsiteX3" fmla="*/ 1120943 w 2392720"/>
              <a:gd name="connsiteY3" fmla="*/ 1271778 h 1489980"/>
              <a:gd name="connsiteX4" fmla="*/ 1083539 w 2392720"/>
              <a:gd name="connsiteY4" fmla="*/ 1226444 h 1489980"/>
              <a:gd name="connsiteX5" fmla="*/ 1028322 w 2392720"/>
              <a:gd name="connsiteY5" fmla="*/ 1187798 h 1489980"/>
              <a:gd name="connsiteX6" fmla="*/ 571499 w 2392720"/>
              <a:gd name="connsiteY6" fmla="*/ 1083263 h 1489980"/>
              <a:gd name="connsiteX7" fmla="*/ 0 w 2392720"/>
              <a:gd name="connsiteY7" fmla="*/ 1284221 h 1489980"/>
              <a:gd name="connsiteX8" fmla="*/ 0 w 2392720"/>
              <a:gd name="connsiteY8" fmla="*/ 205757 h 1489980"/>
              <a:gd name="connsiteX9" fmla="*/ 566419 w 2392720"/>
              <a:gd name="connsiteY9" fmla="*/ 620075 h 1489980"/>
              <a:gd name="connsiteX10" fmla="*/ 1077667 w 2392720"/>
              <a:gd name="connsiteY10" fmla="*/ 256715 h 1489980"/>
              <a:gd name="connsiteX11" fmla="*/ 1109929 w 2392720"/>
              <a:gd name="connsiteY11" fmla="*/ 231551 h 1489980"/>
              <a:gd name="connsiteX12" fmla="*/ 1120943 w 2392720"/>
              <a:gd name="connsiteY12" fmla="*/ 218202 h 1489980"/>
              <a:gd name="connsiteX13" fmla="*/ 1647730 w 2392720"/>
              <a:gd name="connsiteY13" fmla="*/ 0 h 1489980"/>
              <a:gd name="connsiteX0" fmla="*/ 1647730 w 2392720"/>
              <a:gd name="connsiteY0" fmla="*/ 0 h 1489980"/>
              <a:gd name="connsiteX1" fmla="*/ 2392720 w 2392720"/>
              <a:gd name="connsiteY1" fmla="*/ 744990 h 1489980"/>
              <a:gd name="connsiteX2" fmla="*/ 1647730 w 2392720"/>
              <a:gd name="connsiteY2" fmla="*/ 1489980 h 1489980"/>
              <a:gd name="connsiteX3" fmla="*/ 1120943 w 2392720"/>
              <a:gd name="connsiteY3" fmla="*/ 1271778 h 1489980"/>
              <a:gd name="connsiteX4" fmla="*/ 1083539 w 2392720"/>
              <a:gd name="connsiteY4" fmla="*/ 1226444 h 1489980"/>
              <a:gd name="connsiteX5" fmla="*/ 1028322 w 2392720"/>
              <a:gd name="connsiteY5" fmla="*/ 1187798 h 1489980"/>
              <a:gd name="connsiteX6" fmla="*/ 571499 w 2392720"/>
              <a:gd name="connsiteY6" fmla="*/ 872443 h 1489980"/>
              <a:gd name="connsiteX7" fmla="*/ 0 w 2392720"/>
              <a:gd name="connsiteY7" fmla="*/ 1284221 h 1489980"/>
              <a:gd name="connsiteX8" fmla="*/ 0 w 2392720"/>
              <a:gd name="connsiteY8" fmla="*/ 205757 h 1489980"/>
              <a:gd name="connsiteX9" fmla="*/ 566419 w 2392720"/>
              <a:gd name="connsiteY9" fmla="*/ 620075 h 1489980"/>
              <a:gd name="connsiteX10" fmla="*/ 1077667 w 2392720"/>
              <a:gd name="connsiteY10" fmla="*/ 256715 h 1489980"/>
              <a:gd name="connsiteX11" fmla="*/ 1109929 w 2392720"/>
              <a:gd name="connsiteY11" fmla="*/ 231551 h 1489980"/>
              <a:gd name="connsiteX12" fmla="*/ 1120943 w 2392720"/>
              <a:gd name="connsiteY12" fmla="*/ 218202 h 1489980"/>
              <a:gd name="connsiteX13" fmla="*/ 1647730 w 2392720"/>
              <a:gd name="connsiteY13" fmla="*/ 0 h 1489980"/>
              <a:gd name="connsiteX0" fmla="*/ 1647730 w 2392720"/>
              <a:gd name="connsiteY0" fmla="*/ 0 h 1489980"/>
              <a:gd name="connsiteX1" fmla="*/ 2392720 w 2392720"/>
              <a:gd name="connsiteY1" fmla="*/ 744990 h 1489980"/>
              <a:gd name="connsiteX2" fmla="*/ 1647730 w 2392720"/>
              <a:gd name="connsiteY2" fmla="*/ 1489980 h 1489980"/>
              <a:gd name="connsiteX3" fmla="*/ 1120943 w 2392720"/>
              <a:gd name="connsiteY3" fmla="*/ 1271778 h 1489980"/>
              <a:gd name="connsiteX4" fmla="*/ 1083539 w 2392720"/>
              <a:gd name="connsiteY4" fmla="*/ 1226444 h 1489980"/>
              <a:gd name="connsiteX5" fmla="*/ 1028322 w 2392720"/>
              <a:gd name="connsiteY5" fmla="*/ 1187798 h 1489980"/>
              <a:gd name="connsiteX6" fmla="*/ 571499 w 2392720"/>
              <a:gd name="connsiteY6" fmla="*/ 872443 h 1489980"/>
              <a:gd name="connsiteX7" fmla="*/ 0 w 2392720"/>
              <a:gd name="connsiteY7" fmla="*/ 1284221 h 1489980"/>
              <a:gd name="connsiteX8" fmla="*/ 0 w 2392720"/>
              <a:gd name="connsiteY8" fmla="*/ 205757 h 1489980"/>
              <a:gd name="connsiteX9" fmla="*/ 566419 w 2392720"/>
              <a:gd name="connsiteY9" fmla="*/ 620075 h 1489980"/>
              <a:gd name="connsiteX10" fmla="*/ 1077667 w 2392720"/>
              <a:gd name="connsiteY10" fmla="*/ 256715 h 1489980"/>
              <a:gd name="connsiteX11" fmla="*/ 1109929 w 2392720"/>
              <a:gd name="connsiteY11" fmla="*/ 231551 h 1489980"/>
              <a:gd name="connsiteX12" fmla="*/ 1120943 w 2392720"/>
              <a:gd name="connsiteY12" fmla="*/ 218202 h 1489980"/>
              <a:gd name="connsiteX13" fmla="*/ 1647730 w 2392720"/>
              <a:gd name="connsiteY13" fmla="*/ 0 h 1489980"/>
              <a:gd name="connsiteX0" fmla="*/ 1647730 w 2392720"/>
              <a:gd name="connsiteY0" fmla="*/ 0 h 1489980"/>
              <a:gd name="connsiteX1" fmla="*/ 2392720 w 2392720"/>
              <a:gd name="connsiteY1" fmla="*/ 744990 h 1489980"/>
              <a:gd name="connsiteX2" fmla="*/ 1647730 w 2392720"/>
              <a:gd name="connsiteY2" fmla="*/ 1489980 h 1489980"/>
              <a:gd name="connsiteX3" fmla="*/ 1120943 w 2392720"/>
              <a:gd name="connsiteY3" fmla="*/ 1271778 h 1489980"/>
              <a:gd name="connsiteX4" fmla="*/ 1083539 w 2392720"/>
              <a:gd name="connsiteY4" fmla="*/ 1226444 h 1489980"/>
              <a:gd name="connsiteX5" fmla="*/ 1028322 w 2392720"/>
              <a:gd name="connsiteY5" fmla="*/ 1187798 h 1489980"/>
              <a:gd name="connsiteX6" fmla="*/ 571499 w 2392720"/>
              <a:gd name="connsiteY6" fmla="*/ 872443 h 1489980"/>
              <a:gd name="connsiteX7" fmla="*/ 0 w 2392720"/>
              <a:gd name="connsiteY7" fmla="*/ 1284221 h 1489980"/>
              <a:gd name="connsiteX8" fmla="*/ 0 w 2392720"/>
              <a:gd name="connsiteY8" fmla="*/ 205757 h 1489980"/>
              <a:gd name="connsiteX9" fmla="*/ 566419 w 2392720"/>
              <a:gd name="connsiteY9" fmla="*/ 620075 h 1489980"/>
              <a:gd name="connsiteX10" fmla="*/ 1077667 w 2392720"/>
              <a:gd name="connsiteY10" fmla="*/ 256715 h 1489980"/>
              <a:gd name="connsiteX11" fmla="*/ 1109929 w 2392720"/>
              <a:gd name="connsiteY11" fmla="*/ 231551 h 1489980"/>
              <a:gd name="connsiteX12" fmla="*/ 1120943 w 2392720"/>
              <a:gd name="connsiteY12" fmla="*/ 218202 h 1489980"/>
              <a:gd name="connsiteX13" fmla="*/ 1647730 w 2392720"/>
              <a:gd name="connsiteY13" fmla="*/ 0 h 1489980"/>
              <a:gd name="connsiteX0" fmla="*/ 1647730 w 2392720"/>
              <a:gd name="connsiteY0" fmla="*/ 0 h 1489980"/>
              <a:gd name="connsiteX1" fmla="*/ 2392720 w 2392720"/>
              <a:gd name="connsiteY1" fmla="*/ 744990 h 1489980"/>
              <a:gd name="connsiteX2" fmla="*/ 1647730 w 2392720"/>
              <a:gd name="connsiteY2" fmla="*/ 1489980 h 1489980"/>
              <a:gd name="connsiteX3" fmla="*/ 1120943 w 2392720"/>
              <a:gd name="connsiteY3" fmla="*/ 1271778 h 1489980"/>
              <a:gd name="connsiteX4" fmla="*/ 1083539 w 2392720"/>
              <a:gd name="connsiteY4" fmla="*/ 1226444 h 1489980"/>
              <a:gd name="connsiteX5" fmla="*/ 1028322 w 2392720"/>
              <a:gd name="connsiteY5" fmla="*/ 1187798 h 1489980"/>
              <a:gd name="connsiteX6" fmla="*/ 571499 w 2392720"/>
              <a:gd name="connsiteY6" fmla="*/ 872443 h 1489980"/>
              <a:gd name="connsiteX7" fmla="*/ 0 w 2392720"/>
              <a:gd name="connsiteY7" fmla="*/ 1284221 h 1489980"/>
              <a:gd name="connsiteX8" fmla="*/ 0 w 2392720"/>
              <a:gd name="connsiteY8" fmla="*/ 205757 h 1489980"/>
              <a:gd name="connsiteX9" fmla="*/ 566419 w 2392720"/>
              <a:gd name="connsiteY9" fmla="*/ 620075 h 1489980"/>
              <a:gd name="connsiteX10" fmla="*/ 1077667 w 2392720"/>
              <a:gd name="connsiteY10" fmla="*/ 256715 h 1489980"/>
              <a:gd name="connsiteX11" fmla="*/ 1109929 w 2392720"/>
              <a:gd name="connsiteY11" fmla="*/ 231551 h 1489980"/>
              <a:gd name="connsiteX12" fmla="*/ 1120943 w 2392720"/>
              <a:gd name="connsiteY12" fmla="*/ 218202 h 1489980"/>
              <a:gd name="connsiteX13" fmla="*/ 1647730 w 2392720"/>
              <a:gd name="connsiteY13" fmla="*/ 0 h 1489980"/>
              <a:gd name="connsiteX0" fmla="*/ 1647730 w 2392720"/>
              <a:gd name="connsiteY0" fmla="*/ 0 h 1489980"/>
              <a:gd name="connsiteX1" fmla="*/ 2392720 w 2392720"/>
              <a:gd name="connsiteY1" fmla="*/ 744990 h 1489980"/>
              <a:gd name="connsiteX2" fmla="*/ 1647730 w 2392720"/>
              <a:gd name="connsiteY2" fmla="*/ 1489980 h 1489980"/>
              <a:gd name="connsiteX3" fmla="*/ 1120943 w 2392720"/>
              <a:gd name="connsiteY3" fmla="*/ 1271778 h 1489980"/>
              <a:gd name="connsiteX4" fmla="*/ 1083539 w 2392720"/>
              <a:gd name="connsiteY4" fmla="*/ 1226444 h 1489980"/>
              <a:gd name="connsiteX5" fmla="*/ 1028322 w 2392720"/>
              <a:gd name="connsiteY5" fmla="*/ 1187798 h 1489980"/>
              <a:gd name="connsiteX6" fmla="*/ 571499 w 2392720"/>
              <a:gd name="connsiteY6" fmla="*/ 872443 h 1489980"/>
              <a:gd name="connsiteX7" fmla="*/ 0 w 2392720"/>
              <a:gd name="connsiteY7" fmla="*/ 1284221 h 1489980"/>
              <a:gd name="connsiteX8" fmla="*/ 0 w 2392720"/>
              <a:gd name="connsiteY8" fmla="*/ 205757 h 1489980"/>
              <a:gd name="connsiteX9" fmla="*/ 566419 w 2392720"/>
              <a:gd name="connsiteY9" fmla="*/ 620075 h 1489980"/>
              <a:gd name="connsiteX10" fmla="*/ 1077667 w 2392720"/>
              <a:gd name="connsiteY10" fmla="*/ 256715 h 1489980"/>
              <a:gd name="connsiteX11" fmla="*/ 1109929 w 2392720"/>
              <a:gd name="connsiteY11" fmla="*/ 231551 h 1489980"/>
              <a:gd name="connsiteX12" fmla="*/ 1120943 w 2392720"/>
              <a:gd name="connsiteY12" fmla="*/ 218202 h 1489980"/>
              <a:gd name="connsiteX13" fmla="*/ 1647730 w 2392720"/>
              <a:gd name="connsiteY13" fmla="*/ 0 h 1489980"/>
              <a:gd name="connsiteX0" fmla="*/ 1647730 w 2392720"/>
              <a:gd name="connsiteY0" fmla="*/ 0 h 1489980"/>
              <a:gd name="connsiteX1" fmla="*/ 2392720 w 2392720"/>
              <a:gd name="connsiteY1" fmla="*/ 744990 h 1489980"/>
              <a:gd name="connsiteX2" fmla="*/ 1647730 w 2392720"/>
              <a:gd name="connsiteY2" fmla="*/ 1489980 h 1489980"/>
              <a:gd name="connsiteX3" fmla="*/ 1120943 w 2392720"/>
              <a:gd name="connsiteY3" fmla="*/ 1271778 h 1489980"/>
              <a:gd name="connsiteX4" fmla="*/ 1083539 w 2392720"/>
              <a:gd name="connsiteY4" fmla="*/ 1226444 h 1489980"/>
              <a:gd name="connsiteX5" fmla="*/ 571499 w 2392720"/>
              <a:gd name="connsiteY5" fmla="*/ 872443 h 1489980"/>
              <a:gd name="connsiteX6" fmla="*/ 0 w 2392720"/>
              <a:gd name="connsiteY6" fmla="*/ 1284221 h 1489980"/>
              <a:gd name="connsiteX7" fmla="*/ 0 w 2392720"/>
              <a:gd name="connsiteY7" fmla="*/ 205757 h 1489980"/>
              <a:gd name="connsiteX8" fmla="*/ 566419 w 2392720"/>
              <a:gd name="connsiteY8" fmla="*/ 620075 h 1489980"/>
              <a:gd name="connsiteX9" fmla="*/ 1077667 w 2392720"/>
              <a:gd name="connsiteY9" fmla="*/ 256715 h 1489980"/>
              <a:gd name="connsiteX10" fmla="*/ 1109929 w 2392720"/>
              <a:gd name="connsiteY10" fmla="*/ 231551 h 1489980"/>
              <a:gd name="connsiteX11" fmla="*/ 1120943 w 2392720"/>
              <a:gd name="connsiteY11" fmla="*/ 218202 h 1489980"/>
              <a:gd name="connsiteX12" fmla="*/ 1647730 w 2392720"/>
              <a:gd name="connsiteY12" fmla="*/ 0 h 1489980"/>
              <a:gd name="connsiteX0" fmla="*/ 1647730 w 2392720"/>
              <a:gd name="connsiteY0" fmla="*/ 0 h 1489980"/>
              <a:gd name="connsiteX1" fmla="*/ 2392720 w 2392720"/>
              <a:gd name="connsiteY1" fmla="*/ 744990 h 1489980"/>
              <a:gd name="connsiteX2" fmla="*/ 1647730 w 2392720"/>
              <a:gd name="connsiteY2" fmla="*/ 1489980 h 1489980"/>
              <a:gd name="connsiteX3" fmla="*/ 1120943 w 2392720"/>
              <a:gd name="connsiteY3" fmla="*/ 1271778 h 1489980"/>
              <a:gd name="connsiteX4" fmla="*/ 571499 w 2392720"/>
              <a:gd name="connsiteY4" fmla="*/ 872443 h 1489980"/>
              <a:gd name="connsiteX5" fmla="*/ 0 w 2392720"/>
              <a:gd name="connsiteY5" fmla="*/ 1284221 h 1489980"/>
              <a:gd name="connsiteX6" fmla="*/ 0 w 2392720"/>
              <a:gd name="connsiteY6" fmla="*/ 205757 h 1489980"/>
              <a:gd name="connsiteX7" fmla="*/ 566419 w 2392720"/>
              <a:gd name="connsiteY7" fmla="*/ 620075 h 1489980"/>
              <a:gd name="connsiteX8" fmla="*/ 1077667 w 2392720"/>
              <a:gd name="connsiteY8" fmla="*/ 256715 h 1489980"/>
              <a:gd name="connsiteX9" fmla="*/ 1109929 w 2392720"/>
              <a:gd name="connsiteY9" fmla="*/ 231551 h 1489980"/>
              <a:gd name="connsiteX10" fmla="*/ 1120943 w 2392720"/>
              <a:gd name="connsiteY10" fmla="*/ 218202 h 1489980"/>
              <a:gd name="connsiteX11" fmla="*/ 1647730 w 2392720"/>
              <a:gd name="connsiteY11" fmla="*/ 0 h 1489980"/>
              <a:gd name="connsiteX0" fmla="*/ 1647730 w 2392720"/>
              <a:gd name="connsiteY0" fmla="*/ 0 h 1489980"/>
              <a:gd name="connsiteX1" fmla="*/ 2392720 w 2392720"/>
              <a:gd name="connsiteY1" fmla="*/ 744990 h 1489980"/>
              <a:gd name="connsiteX2" fmla="*/ 1647730 w 2392720"/>
              <a:gd name="connsiteY2" fmla="*/ 1489980 h 1489980"/>
              <a:gd name="connsiteX3" fmla="*/ 1120943 w 2392720"/>
              <a:gd name="connsiteY3" fmla="*/ 1271778 h 1489980"/>
              <a:gd name="connsiteX4" fmla="*/ 571499 w 2392720"/>
              <a:gd name="connsiteY4" fmla="*/ 872443 h 1489980"/>
              <a:gd name="connsiteX5" fmla="*/ 0 w 2392720"/>
              <a:gd name="connsiteY5" fmla="*/ 1284221 h 1489980"/>
              <a:gd name="connsiteX6" fmla="*/ 0 w 2392720"/>
              <a:gd name="connsiteY6" fmla="*/ 205757 h 1489980"/>
              <a:gd name="connsiteX7" fmla="*/ 566419 w 2392720"/>
              <a:gd name="connsiteY7" fmla="*/ 620075 h 1489980"/>
              <a:gd name="connsiteX8" fmla="*/ 1109929 w 2392720"/>
              <a:gd name="connsiteY8" fmla="*/ 231551 h 1489980"/>
              <a:gd name="connsiteX9" fmla="*/ 1120943 w 2392720"/>
              <a:gd name="connsiteY9" fmla="*/ 218202 h 1489980"/>
              <a:gd name="connsiteX10" fmla="*/ 1647730 w 2392720"/>
              <a:gd name="connsiteY10" fmla="*/ 0 h 1489980"/>
              <a:gd name="connsiteX0" fmla="*/ 1647730 w 2392720"/>
              <a:gd name="connsiteY0" fmla="*/ 0 h 1489980"/>
              <a:gd name="connsiteX1" fmla="*/ 2392720 w 2392720"/>
              <a:gd name="connsiteY1" fmla="*/ 744990 h 1489980"/>
              <a:gd name="connsiteX2" fmla="*/ 1647730 w 2392720"/>
              <a:gd name="connsiteY2" fmla="*/ 1489980 h 1489980"/>
              <a:gd name="connsiteX3" fmla="*/ 1120943 w 2392720"/>
              <a:gd name="connsiteY3" fmla="*/ 1271778 h 1489980"/>
              <a:gd name="connsiteX4" fmla="*/ 571499 w 2392720"/>
              <a:gd name="connsiteY4" fmla="*/ 872443 h 1489980"/>
              <a:gd name="connsiteX5" fmla="*/ 0 w 2392720"/>
              <a:gd name="connsiteY5" fmla="*/ 1284221 h 1489980"/>
              <a:gd name="connsiteX6" fmla="*/ 0 w 2392720"/>
              <a:gd name="connsiteY6" fmla="*/ 205757 h 1489980"/>
              <a:gd name="connsiteX7" fmla="*/ 566419 w 2392720"/>
              <a:gd name="connsiteY7" fmla="*/ 620075 h 1489980"/>
              <a:gd name="connsiteX8" fmla="*/ 1120943 w 2392720"/>
              <a:gd name="connsiteY8" fmla="*/ 218202 h 1489980"/>
              <a:gd name="connsiteX9" fmla="*/ 1647730 w 2392720"/>
              <a:gd name="connsiteY9" fmla="*/ 0 h 1489980"/>
              <a:gd name="connsiteX0" fmla="*/ 1647730 w 2392720"/>
              <a:gd name="connsiteY0" fmla="*/ 0 h 1489980"/>
              <a:gd name="connsiteX1" fmla="*/ 2392720 w 2392720"/>
              <a:gd name="connsiteY1" fmla="*/ 744990 h 1489980"/>
              <a:gd name="connsiteX2" fmla="*/ 1647730 w 2392720"/>
              <a:gd name="connsiteY2" fmla="*/ 1489980 h 1489980"/>
              <a:gd name="connsiteX3" fmla="*/ 1120943 w 2392720"/>
              <a:gd name="connsiteY3" fmla="*/ 1271778 h 1489980"/>
              <a:gd name="connsiteX4" fmla="*/ 571499 w 2392720"/>
              <a:gd name="connsiteY4" fmla="*/ 872443 h 1489980"/>
              <a:gd name="connsiteX5" fmla="*/ 0 w 2392720"/>
              <a:gd name="connsiteY5" fmla="*/ 1284221 h 1489980"/>
              <a:gd name="connsiteX6" fmla="*/ 0 w 2392720"/>
              <a:gd name="connsiteY6" fmla="*/ 205757 h 1489980"/>
              <a:gd name="connsiteX7" fmla="*/ 566419 w 2392720"/>
              <a:gd name="connsiteY7" fmla="*/ 620075 h 1489980"/>
              <a:gd name="connsiteX8" fmla="*/ 1120943 w 2392720"/>
              <a:gd name="connsiteY8" fmla="*/ 218202 h 1489980"/>
              <a:gd name="connsiteX9" fmla="*/ 1647730 w 2392720"/>
              <a:gd name="connsiteY9" fmla="*/ 0 h 1489980"/>
              <a:gd name="connsiteX0" fmla="*/ 1647730 w 2392720"/>
              <a:gd name="connsiteY0" fmla="*/ 0 h 1489980"/>
              <a:gd name="connsiteX1" fmla="*/ 2392720 w 2392720"/>
              <a:gd name="connsiteY1" fmla="*/ 744990 h 1489980"/>
              <a:gd name="connsiteX2" fmla="*/ 1647730 w 2392720"/>
              <a:gd name="connsiteY2" fmla="*/ 1489980 h 1489980"/>
              <a:gd name="connsiteX3" fmla="*/ 1120943 w 2392720"/>
              <a:gd name="connsiteY3" fmla="*/ 1271778 h 1489980"/>
              <a:gd name="connsiteX4" fmla="*/ 571499 w 2392720"/>
              <a:gd name="connsiteY4" fmla="*/ 872443 h 1489980"/>
              <a:gd name="connsiteX5" fmla="*/ 0 w 2392720"/>
              <a:gd name="connsiteY5" fmla="*/ 1284221 h 1489980"/>
              <a:gd name="connsiteX6" fmla="*/ 0 w 2392720"/>
              <a:gd name="connsiteY6" fmla="*/ 205757 h 1489980"/>
              <a:gd name="connsiteX7" fmla="*/ 566419 w 2392720"/>
              <a:gd name="connsiteY7" fmla="*/ 620075 h 1489980"/>
              <a:gd name="connsiteX8" fmla="*/ 1120943 w 2392720"/>
              <a:gd name="connsiteY8" fmla="*/ 218202 h 1489980"/>
              <a:gd name="connsiteX9" fmla="*/ 1647730 w 2392720"/>
              <a:gd name="connsiteY9" fmla="*/ 0 h 1489980"/>
              <a:gd name="connsiteX0" fmla="*/ 1647730 w 2392720"/>
              <a:gd name="connsiteY0" fmla="*/ 0 h 1489980"/>
              <a:gd name="connsiteX1" fmla="*/ 2392720 w 2392720"/>
              <a:gd name="connsiteY1" fmla="*/ 744990 h 1489980"/>
              <a:gd name="connsiteX2" fmla="*/ 1647730 w 2392720"/>
              <a:gd name="connsiteY2" fmla="*/ 1489980 h 1489980"/>
              <a:gd name="connsiteX3" fmla="*/ 1120943 w 2392720"/>
              <a:gd name="connsiteY3" fmla="*/ 1271778 h 1489980"/>
              <a:gd name="connsiteX4" fmla="*/ 571499 w 2392720"/>
              <a:gd name="connsiteY4" fmla="*/ 872443 h 1489980"/>
              <a:gd name="connsiteX5" fmla="*/ 0 w 2392720"/>
              <a:gd name="connsiteY5" fmla="*/ 1284221 h 1489980"/>
              <a:gd name="connsiteX6" fmla="*/ 0 w 2392720"/>
              <a:gd name="connsiteY6" fmla="*/ 205757 h 1489980"/>
              <a:gd name="connsiteX7" fmla="*/ 566419 w 2392720"/>
              <a:gd name="connsiteY7" fmla="*/ 620075 h 1489980"/>
              <a:gd name="connsiteX8" fmla="*/ 1120943 w 2392720"/>
              <a:gd name="connsiteY8" fmla="*/ 218202 h 1489980"/>
              <a:gd name="connsiteX9" fmla="*/ 1647730 w 2392720"/>
              <a:gd name="connsiteY9" fmla="*/ 0 h 1489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92720" h="1489980">
                <a:moveTo>
                  <a:pt x="1647730" y="0"/>
                </a:moveTo>
                <a:cubicBezTo>
                  <a:pt x="2059177" y="0"/>
                  <a:pt x="2392720" y="333543"/>
                  <a:pt x="2392720" y="744990"/>
                </a:cubicBezTo>
                <a:cubicBezTo>
                  <a:pt x="2392720" y="1156437"/>
                  <a:pt x="2059177" y="1489980"/>
                  <a:pt x="1647730" y="1489980"/>
                </a:cubicBezTo>
                <a:cubicBezTo>
                  <a:pt x="1442007" y="1489980"/>
                  <a:pt x="1255759" y="1406594"/>
                  <a:pt x="1120943" y="1271778"/>
                </a:cubicBezTo>
                <a:cubicBezTo>
                  <a:pt x="970815" y="1120886"/>
                  <a:pt x="757187" y="876015"/>
                  <a:pt x="571499" y="872443"/>
                </a:cubicBezTo>
                <a:cubicBezTo>
                  <a:pt x="377924" y="868719"/>
                  <a:pt x="125729" y="1121986"/>
                  <a:pt x="0" y="1284221"/>
                </a:cubicBezTo>
                <a:lnTo>
                  <a:pt x="0" y="205757"/>
                </a:lnTo>
                <a:cubicBezTo>
                  <a:pt x="160021" y="352752"/>
                  <a:pt x="357284" y="622988"/>
                  <a:pt x="566419" y="620075"/>
                </a:cubicBezTo>
                <a:cubicBezTo>
                  <a:pt x="753243" y="622149"/>
                  <a:pt x="981365" y="364728"/>
                  <a:pt x="1120943" y="218202"/>
                </a:cubicBezTo>
                <a:cubicBezTo>
                  <a:pt x="1255759" y="83386"/>
                  <a:pt x="1442007" y="0"/>
                  <a:pt x="1647730" y="0"/>
                </a:cubicBezTo>
                <a:close/>
              </a:path>
            </a:pathLst>
          </a:custGeom>
          <a:solidFill>
            <a:srgbClr val="00A3AE"/>
          </a:solidFill>
          <a:ln w="25400" cap="flat" cmpd="sng" algn="ctr">
            <a:noFill/>
            <a:prstDash val="solid"/>
          </a:ln>
          <a:effectLst/>
        </p:spPr>
        <p:txBody>
          <a:bodyPr spcFirstLastPara="0" vert="horz" wrap="square" lIns="239157" tIns="239157" rIns="239157" bIns="239157" numCol="1" spcCol="1270" anchor="ctr" anchorCtr="0">
            <a:noAutofit/>
          </a:bodyPr>
          <a:lstStyle/>
          <a:p>
            <a:pPr marL="0" marR="0" lvl="0" indent="0" algn="ctr" defTabSz="1466850" eaLnBrk="1" fontAlgn="auto" latinLnBrk="0" hangingPunct="1">
              <a:lnSpc>
                <a:spcPct val="90000"/>
              </a:lnSpc>
              <a:spcBef>
                <a:spcPts val="0"/>
              </a:spcBef>
              <a:spcAft>
                <a:spcPct val="35000"/>
              </a:spcAft>
              <a:buClrTx/>
              <a:buSzTx/>
              <a:buFontTx/>
              <a:buNone/>
              <a:tabLst/>
              <a:defRPr/>
            </a:pPr>
            <a:endParaRPr kumimoji="0" lang="en-GB" sz="3300" b="0" i="0" u="none" strike="noStrike" kern="0" cap="none" spc="0" normalizeH="0" baseline="0" noProof="0">
              <a:ln>
                <a:noFill/>
              </a:ln>
              <a:solidFill>
                <a:srgbClr val="646464"/>
              </a:solidFill>
              <a:effectLst/>
              <a:uLnTx/>
              <a:uFillTx/>
              <a:latin typeface="EYInterstate Light"/>
              <a:ea typeface="+mn-ea"/>
              <a:cs typeface="+mn-cs"/>
            </a:endParaRPr>
          </a:p>
        </p:txBody>
      </p:sp>
      <p:sp>
        <p:nvSpPr>
          <p:cNvPr id="100" name="Freeform 35">
            <a:extLst>
              <a:ext uri="{FF2B5EF4-FFF2-40B4-BE49-F238E27FC236}">
                <a16:creationId xmlns:a16="http://schemas.microsoft.com/office/drawing/2014/main" id="{28B44392-A871-47FD-B975-EA812879308A}"/>
              </a:ext>
            </a:extLst>
          </p:cNvPr>
          <p:cNvSpPr/>
          <p:nvPr/>
        </p:nvSpPr>
        <p:spPr>
          <a:xfrm rot="3600000" flipH="1">
            <a:off x="3879945" y="4104997"/>
            <a:ext cx="1999523" cy="1245131"/>
          </a:xfrm>
          <a:custGeom>
            <a:avLst/>
            <a:gdLst>
              <a:gd name="connsiteX0" fmla="*/ 1647730 w 2392720"/>
              <a:gd name="connsiteY0" fmla="*/ 0 h 1489980"/>
              <a:gd name="connsiteX1" fmla="*/ 2392720 w 2392720"/>
              <a:gd name="connsiteY1" fmla="*/ 744990 h 1489980"/>
              <a:gd name="connsiteX2" fmla="*/ 1647730 w 2392720"/>
              <a:gd name="connsiteY2" fmla="*/ 1489980 h 1489980"/>
              <a:gd name="connsiteX3" fmla="*/ 1120943 w 2392720"/>
              <a:gd name="connsiteY3" fmla="*/ 1271778 h 1489980"/>
              <a:gd name="connsiteX4" fmla="*/ 1083539 w 2392720"/>
              <a:gd name="connsiteY4" fmla="*/ 1226444 h 1489980"/>
              <a:gd name="connsiteX5" fmla="*/ 1028322 w 2392720"/>
              <a:gd name="connsiteY5" fmla="*/ 1187798 h 1489980"/>
              <a:gd name="connsiteX6" fmla="*/ 571499 w 2392720"/>
              <a:gd name="connsiteY6" fmla="*/ 1083263 h 1489980"/>
              <a:gd name="connsiteX7" fmla="*/ 0 w 2392720"/>
              <a:gd name="connsiteY7" fmla="*/ 1284221 h 1489980"/>
              <a:gd name="connsiteX8" fmla="*/ 0 w 2392720"/>
              <a:gd name="connsiteY8" fmla="*/ 205757 h 1489980"/>
              <a:gd name="connsiteX9" fmla="*/ 571499 w 2392720"/>
              <a:gd name="connsiteY9" fmla="*/ 406715 h 1489980"/>
              <a:gd name="connsiteX10" fmla="*/ 1077667 w 2392720"/>
              <a:gd name="connsiteY10" fmla="*/ 256715 h 1489980"/>
              <a:gd name="connsiteX11" fmla="*/ 1109929 w 2392720"/>
              <a:gd name="connsiteY11" fmla="*/ 231551 h 1489980"/>
              <a:gd name="connsiteX12" fmla="*/ 1120943 w 2392720"/>
              <a:gd name="connsiteY12" fmla="*/ 218202 h 1489980"/>
              <a:gd name="connsiteX13" fmla="*/ 1647730 w 2392720"/>
              <a:gd name="connsiteY13" fmla="*/ 0 h 1489980"/>
              <a:gd name="connsiteX0" fmla="*/ 1647730 w 2392720"/>
              <a:gd name="connsiteY0" fmla="*/ 0 h 1489980"/>
              <a:gd name="connsiteX1" fmla="*/ 2392720 w 2392720"/>
              <a:gd name="connsiteY1" fmla="*/ 744990 h 1489980"/>
              <a:gd name="connsiteX2" fmla="*/ 1647730 w 2392720"/>
              <a:gd name="connsiteY2" fmla="*/ 1489980 h 1489980"/>
              <a:gd name="connsiteX3" fmla="*/ 1120943 w 2392720"/>
              <a:gd name="connsiteY3" fmla="*/ 1271778 h 1489980"/>
              <a:gd name="connsiteX4" fmla="*/ 1083539 w 2392720"/>
              <a:gd name="connsiteY4" fmla="*/ 1226444 h 1489980"/>
              <a:gd name="connsiteX5" fmla="*/ 1028322 w 2392720"/>
              <a:gd name="connsiteY5" fmla="*/ 1187798 h 1489980"/>
              <a:gd name="connsiteX6" fmla="*/ 571499 w 2392720"/>
              <a:gd name="connsiteY6" fmla="*/ 1083263 h 1489980"/>
              <a:gd name="connsiteX7" fmla="*/ 0 w 2392720"/>
              <a:gd name="connsiteY7" fmla="*/ 1284221 h 1489980"/>
              <a:gd name="connsiteX8" fmla="*/ 0 w 2392720"/>
              <a:gd name="connsiteY8" fmla="*/ 205757 h 1489980"/>
              <a:gd name="connsiteX9" fmla="*/ 566419 w 2392720"/>
              <a:gd name="connsiteY9" fmla="*/ 620075 h 1489980"/>
              <a:gd name="connsiteX10" fmla="*/ 1077667 w 2392720"/>
              <a:gd name="connsiteY10" fmla="*/ 256715 h 1489980"/>
              <a:gd name="connsiteX11" fmla="*/ 1109929 w 2392720"/>
              <a:gd name="connsiteY11" fmla="*/ 231551 h 1489980"/>
              <a:gd name="connsiteX12" fmla="*/ 1120943 w 2392720"/>
              <a:gd name="connsiteY12" fmla="*/ 218202 h 1489980"/>
              <a:gd name="connsiteX13" fmla="*/ 1647730 w 2392720"/>
              <a:gd name="connsiteY13" fmla="*/ 0 h 1489980"/>
              <a:gd name="connsiteX0" fmla="*/ 1647730 w 2392720"/>
              <a:gd name="connsiteY0" fmla="*/ 0 h 1489980"/>
              <a:gd name="connsiteX1" fmla="*/ 2392720 w 2392720"/>
              <a:gd name="connsiteY1" fmla="*/ 744990 h 1489980"/>
              <a:gd name="connsiteX2" fmla="*/ 1647730 w 2392720"/>
              <a:gd name="connsiteY2" fmla="*/ 1489980 h 1489980"/>
              <a:gd name="connsiteX3" fmla="*/ 1120943 w 2392720"/>
              <a:gd name="connsiteY3" fmla="*/ 1271778 h 1489980"/>
              <a:gd name="connsiteX4" fmla="*/ 1083539 w 2392720"/>
              <a:gd name="connsiteY4" fmla="*/ 1226444 h 1489980"/>
              <a:gd name="connsiteX5" fmla="*/ 1028322 w 2392720"/>
              <a:gd name="connsiteY5" fmla="*/ 1187798 h 1489980"/>
              <a:gd name="connsiteX6" fmla="*/ 571499 w 2392720"/>
              <a:gd name="connsiteY6" fmla="*/ 872443 h 1489980"/>
              <a:gd name="connsiteX7" fmla="*/ 0 w 2392720"/>
              <a:gd name="connsiteY7" fmla="*/ 1284221 h 1489980"/>
              <a:gd name="connsiteX8" fmla="*/ 0 w 2392720"/>
              <a:gd name="connsiteY8" fmla="*/ 205757 h 1489980"/>
              <a:gd name="connsiteX9" fmla="*/ 566419 w 2392720"/>
              <a:gd name="connsiteY9" fmla="*/ 620075 h 1489980"/>
              <a:gd name="connsiteX10" fmla="*/ 1077667 w 2392720"/>
              <a:gd name="connsiteY10" fmla="*/ 256715 h 1489980"/>
              <a:gd name="connsiteX11" fmla="*/ 1109929 w 2392720"/>
              <a:gd name="connsiteY11" fmla="*/ 231551 h 1489980"/>
              <a:gd name="connsiteX12" fmla="*/ 1120943 w 2392720"/>
              <a:gd name="connsiteY12" fmla="*/ 218202 h 1489980"/>
              <a:gd name="connsiteX13" fmla="*/ 1647730 w 2392720"/>
              <a:gd name="connsiteY13" fmla="*/ 0 h 1489980"/>
              <a:gd name="connsiteX0" fmla="*/ 1647730 w 2392720"/>
              <a:gd name="connsiteY0" fmla="*/ 0 h 1489980"/>
              <a:gd name="connsiteX1" fmla="*/ 2392720 w 2392720"/>
              <a:gd name="connsiteY1" fmla="*/ 744990 h 1489980"/>
              <a:gd name="connsiteX2" fmla="*/ 1647730 w 2392720"/>
              <a:gd name="connsiteY2" fmla="*/ 1489980 h 1489980"/>
              <a:gd name="connsiteX3" fmla="*/ 1120943 w 2392720"/>
              <a:gd name="connsiteY3" fmla="*/ 1271778 h 1489980"/>
              <a:gd name="connsiteX4" fmla="*/ 1083539 w 2392720"/>
              <a:gd name="connsiteY4" fmla="*/ 1226444 h 1489980"/>
              <a:gd name="connsiteX5" fmla="*/ 1028322 w 2392720"/>
              <a:gd name="connsiteY5" fmla="*/ 1187798 h 1489980"/>
              <a:gd name="connsiteX6" fmla="*/ 571499 w 2392720"/>
              <a:gd name="connsiteY6" fmla="*/ 872443 h 1489980"/>
              <a:gd name="connsiteX7" fmla="*/ 0 w 2392720"/>
              <a:gd name="connsiteY7" fmla="*/ 1284221 h 1489980"/>
              <a:gd name="connsiteX8" fmla="*/ 0 w 2392720"/>
              <a:gd name="connsiteY8" fmla="*/ 205757 h 1489980"/>
              <a:gd name="connsiteX9" fmla="*/ 566419 w 2392720"/>
              <a:gd name="connsiteY9" fmla="*/ 620075 h 1489980"/>
              <a:gd name="connsiteX10" fmla="*/ 1077667 w 2392720"/>
              <a:gd name="connsiteY10" fmla="*/ 256715 h 1489980"/>
              <a:gd name="connsiteX11" fmla="*/ 1109929 w 2392720"/>
              <a:gd name="connsiteY11" fmla="*/ 231551 h 1489980"/>
              <a:gd name="connsiteX12" fmla="*/ 1120943 w 2392720"/>
              <a:gd name="connsiteY12" fmla="*/ 218202 h 1489980"/>
              <a:gd name="connsiteX13" fmla="*/ 1647730 w 2392720"/>
              <a:gd name="connsiteY13" fmla="*/ 0 h 1489980"/>
              <a:gd name="connsiteX0" fmla="*/ 1647730 w 2392720"/>
              <a:gd name="connsiteY0" fmla="*/ 0 h 1489980"/>
              <a:gd name="connsiteX1" fmla="*/ 2392720 w 2392720"/>
              <a:gd name="connsiteY1" fmla="*/ 744990 h 1489980"/>
              <a:gd name="connsiteX2" fmla="*/ 1647730 w 2392720"/>
              <a:gd name="connsiteY2" fmla="*/ 1489980 h 1489980"/>
              <a:gd name="connsiteX3" fmla="*/ 1120943 w 2392720"/>
              <a:gd name="connsiteY3" fmla="*/ 1271778 h 1489980"/>
              <a:gd name="connsiteX4" fmla="*/ 1083539 w 2392720"/>
              <a:gd name="connsiteY4" fmla="*/ 1226444 h 1489980"/>
              <a:gd name="connsiteX5" fmla="*/ 1028322 w 2392720"/>
              <a:gd name="connsiteY5" fmla="*/ 1187798 h 1489980"/>
              <a:gd name="connsiteX6" fmla="*/ 571499 w 2392720"/>
              <a:gd name="connsiteY6" fmla="*/ 872443 h 1489980"/>
              <a:gd name="connsiteX7" fmla="*/ 0 w 2392720"/>
              <a:gd name="connsiteY7" fmla="*/ 1284221 h 1489980"/>
              <a:gd name="connsiteX8" fmla="*/ 0 w 2392720"/>
              <a:gd name="connsiteY8" fmla="*/ 205757 h 1489980"/>
              <a:gd name="connsiteX9" fmla="*/ 566419 w 2392720"/>
              <a:gd name="connsiteY9" fmla="*/ 620075 h 1489980"/>
              <a:gd name="connsiteX10" fmla="*/ 1077667 w 2392720"/>
              <a:gd name="connsiteY10" fmla="*/ 256715 h 1489980"/>
              <a:gd name="connsiteX11" fmla="*/ 1109929 w 2392720"/>
              <a:gd name="connsiteY11" fmla="*/ 231551 h 1489980"/>
              <a:gd name="connsiteX12" fmla="*/ 1120943 w 2392720"/>
              <a:gd name="connsiteY12" fmla="*/ 218202 h 1489980"/>
              <a:gd name="connsiteX13" fmla="*/ 1647730 w 2392720"/>
              <a:gd name="connsiteY13" fmla="*/ 0 h 1489980"/>
              <a:gd name="connsiteX0" fmla="*/ 1647730 w 2392720"/>
              <a:gd name="connsiteY0" fmla="*/ 0 h 1489980"/>
              <a:gd name="connsiteX1" fmla="*/ 2392720 w 2392720"/>
              <a:gd name="connsiteY1" fmla="*/ 744990 h 1489980"/>
              <a:gd name="connsiteX2" fmla="*/ 1647730 w 2392720"/>
              <a:gd name="connsiteY2" fmla="*/ 1489980 h 1489980"/>
              <a:gd name="connsiteX3" fmla="*/ 1120943 w 2392720"/>
              <a:gd name="connsiteY3" fmla="*/ 1271778 h 1489980"/>
              <a:gd name="connsiteX4" fmla="*/ 1083539 w 2392720"/>
              <a:gd name="connsiteY4" fmla="*/ 1226444 h 1489980"/>
              <a:gd name="connsiteX5" fmla="*/ 1028322 w 2392720"/>
              <a:gd name="connsiteY5" fmla="*/ 1187798 h 1489980"/>
              <a:gd name="connsiteX6" fmla="*/ 571499 w 2392720"/>
              <a:gd name="connsiteY6" fmla="*/ 872443 h 1489980"/>
              <a:gd name="connsiteX7" fmla="*/ 0 w 2392720"/>
              <a:gd name="connsiteY7" fmla="*/ 1284221 h 1489980"/>
              <a:gd name="connsiteX8" fmla="*/ 0 w 2392720"/>
              <a:gd name="connsiteY8" fmla="*/ 205757 h 1489980"/>
              <a:gd name="connsiteX9" fmla="*/ 566419 w 2392720"/>
              <a:gd name="connsiteY9" fmla="*/ 620075 h 1489980"/>
              <a:gd name="connsiteX10" fmla="*/ 1077667 w 2392720"/>
              <a:gd name="connsiteY10" fmla="*/ 256715 h 1489980"/>
              <a:gd name="connsiteX11" fmla="*/ 1109929 w 2392720"/>
              <a:gd name="connsiteY11" fmla="*/ 231551 h 1489980"/>
              <a:gd name="connsiteX12" fmla="*/ 1120943 w 2392720"/>
              <a:gd name="connsiteY12" fmla="*/ 218202 h 1489980"/>
              <a:gd name="connsiteX13" fmla="*/ 1647730 w 2392720"/>
              <a:gd name="connsiteY13" fmla="*/ 0 h 1489980"/>
              <a:gd name="connsiteX0" fmla="*/ 1647730 w 2392720"/>
              <a:gd name="connsiteY0" fmla="*/ 0 h 1489980"/>
              <a:gd name="connsiteX1" fmla="*/ 2392720 w 2392720"/>
              <a:gd name="connsiteY1" fmla="*/ 744990 h 1489980"/>
              <a:gd name="connsiteX2" fmla="*/ 1647730 w 2392720"/>
              <a:gd name="connsiteY2" fmla="*/ 1489980 h 1489980"/>
              <a:gd name="connsiteX3" fmla="*/ 1120943 w 2392720"/>
              <a:gd name="connsiteY3" fmla="*/ 1271778 h 1489980"/>
              <a:gd name="connsiteX4" fmla="*/ 1083539 w 2392720"/>
              <a:gd name="connsiteY4" fmla="*/ 1226444 h 1489980"/>
              <a:gd name="connsiteX5" fmla="*/ 1028322 w 2392720"/>
              <a:gd name="connsiteY5" fmla="*/ 1187798 h 1489980"/>
              <a:gd name="connsiteX6" fmla="*/ 571499 w 2392720"/>
              <a:gd name="connsiteY6" fmla="*/ 872443 h 1489980"/>
              <a:gd name="connsiteX7" fmla="*/ 0 w 2392720"/>
              <a:gd name="connsiteY7" fmla="*/ 1284221 h 1489980"/>
              <a:gd name="connsiteX8" fmla="*/ 0 w 2392720"/>
              <a:gd name="connsiteY8" fmla="*/ 205757 h 1489980"/>
              <a:gd name="connsiteX9" fmla="*/ 566419 w 2392720"/>
              <a:gd name="connsiteY9" fmla="*/ 620075 h 1489980"/>
              <a:gd name="connsiteX10" fmla="*/ 1077667 w 2392720"/>
              <a:gd name="connsiteY10" fmla="*/ 256715 h 1489980"/>
              <a:gd name="connsiteX11" fmla="*/ 1109929 w 2392720"/>
              <a:gd name="connsiteY11" fmla="*/ 231551 h 1489980"/>
              <a:gd name="connsiteX12" fmla="*/ 1120943 w 2392720"/>
              <a:gd name="connsiteY12" fmla="*/ 218202 h 1489980"/>
              <a:gd name="connsiteX13" fmla="*/ 1647730 w 2392720"/>
              <a:gd name="connsiteY13" fmla="*/ 0 h 1489980"/>
              <a:gd name="connsiteX0" fmla="*/ 1647730 w 2392720"/>
              <a:gd name="connsiteY0" fmla="*/ 0 h 1489980"/>
              <a:gd name="connsiteX1" fmla="*/ 2392720 w 2392720"/>
              <a:gd name="connsiteY1" fmla="*/ 744990 h 1489980"/>
              <a:gd name="connsiteX2" fmla="*/ 1647730 w 2392720"/>
              <a:gd name="connsiteY2" fmla="*/ 1489980 h 1489980"/>
              <a:gd name="connsiteX3" fmla="*/ 1120943 w 2392720"/>
              <a:gd name="connsiteY3" fmla="*/ 1271778 h 1489980"/>
              <a:gd name="connsiteX4" fmla="*/ 1083539 w 2392720"/>
              <a:gd name="connsiteY4" fmla="*/ 1226444 h 1489980"/>
              <a:gd name="connsiteX5" fmla="*/ 571499 w 2392720"/>
              <a:gd name="connsiteY5" fmla="*/ 872443 h 1489980"/>
              <a:gd name="connsiteX6" fmla="*/ 0 w 2392720"/>
              <a:gd name="connsiteY6" fmla="*/ 1284221 h 1489980"/>
              <a:gd name="connsiteX7" fmla="*/ 0 w 2392720"/>
              <a:gd name="connsiteY7" fmla="*/ 205757 h 1489980"/>
              <a:gd name="connsiteX8" fmla="*/ 566419 w 2392720"/>
              <a:gd name="connsiteY8" fmla="*/ 620075 h 1489980"/>
              <a:gd name="connsiteX9" fmla="*/ 1077667 w 2392720"/>
              <a:gd name="connsiteY9" fmla="*/ 256715 h 1489980"/>
              <a:gd name="connsiteX10" fmla="*/ 1109929 w 2392720"/>
              <a:gd name="connsiteY10" fmla="*/ 231551 h 1489980"/>
              <a:gd name="connsiteX11" fmla="*/ 1120943 w 2392720"/>
              <a:gd name="connsiteY11" fmla="*/ 218202 h 1489980"/>
              <a:gd name="connsiteX12" fmla="*/ 1647730 w 2392720"/>
              <a:gd name="connsiteY12" fmla="*/ 0 h 1489980"/>
              <a:gd name="connsiteX0" fmla="*/ 1647730 w 2392720"/>
              <a:gd name="connsiteY0" fmla="*/ 0 h 1489980"/>
              <a:gd name="connsiteX1" fmla="*/ 2392720 w 2392720"/>
              <a:gd name="connsiteY1" fmla="*/ 744990 h 1489980"/>
              <a:gd name="connsiteX2" fmla="*/ 1647730 w 2392720"/>
              <a:gd name="connsiteY2" fmla="*/ 1489980 h 1489980"/>
              <a:gd name="connsiteX3" fmla="*/ 1120943 w 2392720"/>
              <a:gd name="connsiteY3" fmla="*/ 1271778 h 1489980"/>
              <a:gd name="connsiteX4" fmla="*/ 571499 w 2392720"/>
              <a:gd name="connsiteY4" fmla="*/ 872443 h 1489980"/>
              <a:gd name="connsiteX5" fmla="*/ 0 w 2392720"/>
              <a:gd name="connsiteY5" fmla="*/ 1284221 h 1489980"/>
              <a:gd name="connsiteX6" fmla="*/ 0 w 2392720"/>
              <a:gd name="connsiteY6" fmla="*/ 205757 h 1489980"/>
              <a:gd name="connsiteX7" fmla="*/ 566419 w 2392720"/>
              <a:gd name="connsiteY7" fmla="*/ 620075 h 1489980"/>
              <a:gd name="connsiteX8" fmla="*/ 1077667 w 2392720"/>
              <a:gd name="connsiteY8" fmla="*/ 256715 h 1489980"/>
              <a:gd name="connsiteX9" fmla="*/ 1109929 w 2392720"/>
              <a:gd name="connsiteY9" fmla="*/ 231551 h 1489980"/>
              <a:gd name="connsiteX10" fmla="*/ 1120943 w 2392720"/>
              <a:gd name="connsiteY10" fmla="*/ 218202 h 1489980"/>
              <a:gd name="connsiteX11" fmla="*/ 1647730 w 2392720"/>
              <a:gd name="connsiteY11" fmla="*/ 0 h 1489980"/>
              <a:gd name="connsiteX0" fmla="*/ 1647730 w 2392720"/>
              <a:gd name="connsiteY0" fmla="*/ 0 h 1489980"/>
              <a:gd name="connsiteX1" fmla="*/ 2392720 w 2392720"/>
              <a:gd name="connsiteY1" fmla="*/ 744990 h 1489980"/>
              <a:gd name="connsiteX2" fmla="*/ 1647730 w 2392720"/>
              <a:gd name="connsiteY2" fmla="*/ 1489980 h 1489980"/>
              <a:gd name="connsiteX3" fmla="*/ 1120943 w 2392720"/>
              <a:gd name="connsiteY3" fmla="*/ 1271778 h 1489980"/>
              <a:gd name="connsiteX4" fmla="*/ 571499 w 2392720"/>
              <a:gd name="connsiteY4" fmla="*/ 872443 h 1489980"/>
              <a:gd name="connsiteX5" fmla="*/ 0 w 2392720"/>
              <a:gd name="connsiteY5" fmla="*/ 1284221 h 1489980"/>
              <a:gd name="connsiteX6" fmla="*/ 0 w 2392720"/>
              <a:gd name="connsiteY6" fmla="*/ 205757 h 1489980"/>
              <a:gd name="connsiteX7" fmla="*/ 566419 w 2392720"/>
              <a:gd name="connsiteY7" fmla="*/ 620075 h 1489980"/>
              <a:gd name="connsiteX8" fmla="*/ 1109929 w 2392720"/>
              <a:gd name="connsiteY8" fmla="*/ 231551 h 1489980"/>
              <a:gd name="connsiteX9" fmla="*/ 1120943 w 2392720"/>
              <a:gd name="connsiteY9" fmla="*/ 218202 h 1489980"/>
              <a:gd name="connsiteX10" fmla="*/ 1647730 w 2392720"/>
              <a:gd name="connsiteY10" fmla="*/ 0 h 1489980"/>
              <a:gd name="connsiteX0" fmla="*/ 1647730 w 2392720"/>
              <a:gd name="connsiteY0" fmla="*/ 0 h 1489980"/>
              <a:gd name="connsiteX1" fmla="*/ 2392720 w 2392720"/>
              <a:gd name="connsiteY1" fmla="*/ 744990 h 1489980"/>
              <a:gd name="connsiteX2" fmla="*/ 1647730 w 2392720"/>
              <a:gd name="connsiteY2" fmla="*/ 1489980 h 1489980"/>
              <a:gd name="connsiteX3" fmla="*/ 1120943 w 2392720"/>
              <a:gd name="connsiteY3" fmla="*/ 1271778 h 1489980"/>
              <a:gd name="connsiteX4" fmla="*/ 571499 w 2392720"/>
              <a:gd name="connsiteY4" fmla="*/ 872443 h 1489980"/>
              <a:gd name="connsiteX5" fmla="*/ 0 w 2392720"/>
              <a:gd name="connsiteY5" fmla="*/ 1284221 h 1489980"/>
              <a:gd name="connsiteX6" fmla="*/ 0 w 2392720"/>
              <a:gd name="connsiteY6" fmla="*/ 205757 h 1489980"/>
              <a:gd name="connsiteX7" fmla="*/ 566419 w 2392720"/>
              <a:gd name="connsiteY7" fmla="*/ 620075 h 1489980"/>
              <a:gd name="connsiteX8" fmla="*/ 1120943 w 2392720"/>
              <a:gd name="connsiteY8" fmla="*/ 218202 h 1489980"/>
              <a:gd name="connsiteX9" fmla="*/ 1647730 w 2392720"/>
              <a:gd name="connsiteY9" fmla="*/ 0 h 1489980"/>
              <a:gd name="connsiteX0" fmla="*/ 1647730 w 2392720"/>
              <a:gd name="connsiteY0" fmla="*/ 0 h 1489980"/>
              <a:gd name="connsiteX1" fmla="*/ 2392720 w 2392720"/>
              <a:gd name="connsiteY1" fmla="*/ 744990 h 1489980"/>
              <a:gd name="connsiteX2" fmla="*/ 1647730 w 2392720"/>
              <a:gd name="connsiteY2" fmla="*/ 1489980 h 1489980"/>
              <a:gd name="connsiteX3" fmla="*/ 1120943 w 2392720"/>
              <a:gd name="connsiteY3" fmla="*/ 1271778 h 1489980"/>
              <a:gd name="connsiteX4" fmla="*/ 571499 w 2392720"/>
              <a:gd name="connsiteY4" fmla="*/ 872443 h 1489980"/>
              <a:gd name="connsiteX5" fmla="*/ 0 w 2392720"/>
              <a:gd name="connsiteY5" fmla="*/ 1284221 h 1489980"/>
              <a:gd name="connsiteX6" fmla="*/ 0 w 2392720"/>
              <a:gd name="connsiteY6" fmla="*/ 205757 h 1489980"/>
              <a:gd name="connsiteX7" fmla="*/ 566419 w 2392720"/>
              <a:gd name="connsiteY7" fmla="*/ 620075 h 1489980"/>
              <a:gd name="connsiteX8" fmla="*/ 1120943 w 2392720"/>
              <a:gd name="connsiteY8" fmla="*/ 218202 h 1489980"/>
              <a:gd name="connsiteX9" fmla="*/ 1647730 w 2392720"/>
              <a:gd name="connsiteY9" fmla="*/ 0 h 1489980"/>
              <a:gd name="connsiteX0" fmla="*/ 1647730 w 2392720"/>
              <a:gd name="connsiteY0" fmla="*/ 0 h 1489980"/>
              <a:gd name="connsiteX1" fmla="*/ 2392720 w 2392720"/>
              <a:gd name="connsiteY1" fmla="*/ 744990 h 1489980"/>
              <a:gd name="connsiteX2" fmla="*/ 1647730 w 2392720"/>
              <a:gd name="connsiteY2" fmla="*/ 1489980 h 1489980"/>
              <a:gd name="connsiteX3" fmla="*/ 1120943 w 2392720"/>
              <a:gd name="connsiteY3" fmla="*/ 1271778 h 1489980"/>
              <a:gd name="connsiteX4" fmla="*/ 571499 w 2392720"/>
              <a:gd name="connsiteY4" fmla="*/ 872443 h 1489980"/>
              <a:gd name="connsiteX5" fmla="*/ 0 w 2392720"/>
              <a:gd name="connsiteY5" fmla="*/ 1284221 h 1489980"/>
              <a:gd name="connsiteX6" fmla="*/ 0 w 2392720"/>
              <a:gd name="connsiteY6" fmla="*/ 205757 h 1489980"/>
              <a:gd name="connsiteX7" fmla="*/ 566419 w 2392720"/>
              <a:gd name="connsiteY7" fmla="*/ 620075 h 1489980"/>
              <a:gd name="connsiteX8" fmla="*/ 1120943 w 2392720"/>
              <a:gd name="connsiteY8" fmla="*/ 218202 h 1489980"/>
              <a:gd name="connsiteX9" fmla="*/ 1647730 w 2392720"/>
              <a:gd name="connsiteY9" fmla="*/ 0 h 1489980"/>
              <a:gd name="connsiteX0" fmla="*/ 1647730 w 2392720"/>
              <a:gd name="connsiteY0" fmla="*/ 0 h 1489980"/>
              <a:gd name="connsiteX1" fmla="*/ 2392720 w 2392720"/>
              <a:gd name="connsiteY1" fmla="*/ 744990 h 1489980"/>
              <a:gd name="connsiteX2" fmla="*/ 1647730 w 2392720"/>
              <a:gd name="connsiteY2" fmla="*/ 1489980 h 1489980"/>
              <a:gd name="connsiteX3" fmla="*/ 1120943 w 2392720"/>
              <a:gd name="connsiteY3" fmla="*/ 1271778 h 1489980"/>
              <a:gd name="connsiteX4" fmla="*/ 571499 w 2392720"/>
              <a:gd name="connsiteY4" fmla="*/ 872443 h 1489980"/>
              <a:gd name="connsiteX5" fmla="*/ 0 w 2392720"/>
              <a:gd name="connsiteY5" fmla="*/ 1284221 h 1489980"/>
              <a:gd name="connsiteX6" fmla="*/ 0 w 2392720"/>
              <a:gd name="connsiteY6" fmla="*/ 205757 h 1489980"/>
              <a:gd name="connsiteX7" fmla="*/ 566419 w 2392720"/>
              <a:gd name="connsiteY7" fmla="*/ 620075 h 1489980"/>
              <a:gd name="connsiteX8" fmla="*/ 1120943 w 2392720"/>
              <a:gd name="connsiteY8" fmla="*/ 218202 h 1489980"/>
              <a:gd name="connsiteX9" fmla="*/ 1647730 w 2392720"/>
              <a:gd name="connsiteY9" fmla="*/ 0 h 1489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92720" h="1489980">
                <a:moveTo>
                  <a:pt x="1647730" y="0"/>
                </a:moveTo>
                <a:cubicBezTo>
                  <a:pt x="2059177" y="0"/>
                  <a:pt x="2392720" y="333543"/>
                  <a:pt x="2392720" y="744990"/>
                </a:cubicBezTo>
                <a:cubicBezTo>
                  <a:pt x="2392720" y="1156437"/>
                  <a:pt x="2059177" y="1489980"/>
                  <a:pt x="1647730" y="1489980"/>
                </a:cubicBezTo>
                <a:cubicBezTo>
                  <a:pt x="1442007" y="1489980"/>
                  <a:pt x="1255759" y="1406594"/>
                  <a:pt x="1120943" y="1271778"/>
                </a:cubicBezTo>
                <a:cubicBezTo>
                  <a:pt x="970815" y="1120886"/>
                  <a:pt x="757187" y="876015"/>
                  <a:pt x="571499" y="872443"/>
                </a:cubicBezTo>
                <a:cubicBezTo>
                  <a:pt x="377924" y="868719"/>
                  <a:pt x="125729" y="1121986"/>
                  <a:pt x="0" y="1284221"/>
                </a:cubicBezTo>
                <a:lnTo>
                  <a:pt x="0" y="205757"/>
                </a:lnTo>
                <a:cubicBezTo>
                  <a:pt x="160021" y="352752"/>
                  <a:pt x="357284" y="622988"/>
                  <a:pt x="566419" y="620075"/>
                </a:cubicBezTo>
                <a:cubicBezTo>
                  <a:pt x="753243" y="622149"/>
                  <a:pt x="981365" y="364728"/>
                  <a:pt x="1120943" y="218202"/>
                </a:cubicBezTo>
                <a:cubicBezTo>
                  <a:pt x="1255759" y="83386"/>
                  <a:pt x="1442007" y="0"/>
                  <a:pt x="1647730" y="0"/>
                </a:cubicBezTo>
                <a:close/>
              </a:path>
            </a:pathLst>
          </a:custGeom>
          <a:solidFill>
            <a:srgbClr val="F04C3E"/>
          </a:solidFill>
          <a:ln w="25400" cap="flat" cmpd="sng" algn="ctr">
            <a:noFill/>
            <a:prstDash val="solid"/>
          </a:ln>
          <a:effectLst/>
        </p:spPr>
        <p:txBody>
          <a:bodyPr spcFirstLastPara="0" vert="horz" wrap="square" lIns="239157" tIns="239157" rIns="239157" bIns="239157" numCol="1" spcCol="1270" anchor="ctr" anchorCtr="0">
            <a:noAutofit/>
          </a:bodyPr>
          <a:lstStyle/>
          <a:p>
            <a:pPr marL="0" marR="0" lvl="0" indent="0" algn="ctr" defTabSz="1466850" eaLnBrk="1" fontAlgn="auto" latinLnBrk="0" hangingPunct="1">
              <a:lnSpc>
                <a:spcPct val="90000"/>
              </a:lnSpc>
              <a:spcBef>
                <a:spcPts val="0"/>
              </a:spcBef>
              <a:spcAft>
                <a:spcPct val="35000"/>
              </a:spcAft>
              <a:buClrTx/>
              <a:buSzTx/>
              <a:buFontTx/>
              <a:buNone/>
              <a:tabLst/>
              <a:defRPr/>
            </a:pPr>
            <a:endParaRPr kumimoji="0" lang="en-GB" sz="3300" b="0" i="0" u="none" strike="noStrike" kern="0" cap="none" spc="0" normalizeH="0" baseline="0" noProof="0">
              <a:ln>
                <a:noFill/>
              </a:ln>
              <a:solidFill>
                <a:srgbClr val="646464"/>
              </a:solidFill>
              <a:effectLst/>
              <a:uLnTx/>
              <a:uFillTx/>
              <a:latin typeface="EYInterstate Light"/>
              <a:ea typeface="+mn-ea"/>
              <a:cs typeface="+mn-cs"/>
            </a:endParaRPr>
          </a:p>
        </p:txBody>
      </p:sp>
      <p:sp>
        <p:nvSpPr>
          <p:cNvPr id="101" name="Freeform 37">
            <a:extLst>
              <a:ext uri="{FF2B5EF4-FFF2-40B4-BE49-F238E27FC236}">
                <a16:creationId xmlns:a16="http://schemas.microsoft.com/office/drawing/2014/main" id="{1C0D471F-F002-46DE-8D17-949A3C53BF2A}"/>
              </a:ext>
            </a:extLst>
          </p:cNvPr>
          <p:cNvSpPr/>
          <p:nvPr/>
        </p:nvSpPr>
        <p:spPr>
          <a:xfrm flipH="1" flipV="1">
            <a:off x="4965956" y="5332674"/>
            <a:ext cx="1999523" cy="1245131"/>
          </a:xfrm>
          <a:custGeom>
            <a:avLst/>
            <a:gdLst>
              <a:gd name="connsiteX0" fmla="*/ 1647730 w 2392720"/>
              <a:gd name="connsiteY0" fmla="*/ 0 h 1489980"/>
              <a:gd name="connsiteX1" fmla="*/ 2392720 w 2392720"/>
              <a:gd name="connsiteY1" fmla="*/ 744990 h 1489980"/>
              <a:gd name="connsiteX2" fmla="*/ 1647730 w 2392720"/>
              <a:gd name="connsiteY2" fmla="*/ 1489980 h 1489980"/>
              <a:gd name="connsiteX3" fmla="*/ 1120943 w 2392720"/>
              <a:gd name="connsiteY3" fmla="*/ 1271778 h 1489980"/>
              <a:gd name="connsiteX4" fmla="*/ 1083539 w 2392720"/>
              <a:gd name="connsiteY4" fmla="*/ 1226444 h 1489980"/>
              <a:gd name="connsiteX5" fmla="*/ 1028322 w 2392720"/>
              <a:gd name="connsiteY5" fmla="*/ 1187798 h 1489980"/>
              <a:gd name="connsiteX6" fmla="*/ 571499 w 2392720"/>
              <a:gd name="connsiteY6" fmla="*/ 1083263 h 1489980"/>
              <a:gd name="connsiteX7" fmla="*/ 0 w 2392720"/>
              <a:gd name="connsiteY7" fmla="*/ 1284221 h 1489980"/>
              <a:gd name="connsiteX8" fmla="*/ 0 w 2392720"/>
              <a:gd name="connsiteY8" fmla="*/ 205757 h 1489980"/>
              <a:gd name="connsiteX9" fmla="*/ 571499 w 2392720"/>
              <a:gd name="connsiteY9" fmla="*/ 406715 h 1489980"/>
              <a:gd name="connsiteX10" fmla="*/ 1077667 w 2392720"/>
              <a:gd name="connsiteY10" fmla="*/ 256715 h 1489980"/>
              <a:gd name="connsiteX11" fmla="*/ 1109929 w 2392720"/>
              <a:gd name="connsiteY11" fmla="*/ 231551 h 1489980"/>
              <a:gd name="connsiteX12" fmla="*/ 1120943 w 2392720"/>
              <a:gd name="connsiteY12" fmla="*/ 218202 h 1489980"/>
              <a:gd name="connsiteX13" fmla="*/ 1647730 w 2392720"/>
              <a:gd name="connsiteY13" fmla="*/ 0 h 1489980"/>
              <a:gd name="connsiteX0" fmla="*/ 1647730 w 2392720"/>
              <a:gd name="connsiteY0" fmla="*/ 0 h 1489980"/>
              <a:gd name="connsiteX1" fmla="*/ 2392720 w 2392720"/>
              <a:gd name="connsiteY1" fmla="*/ 744990 h 1489980"/>
              <a:gd name="connsiteX2" fmla="*/ 1647730 w 2392720"/>
              <a:gd name="connsiteY2" fmla="*/ 1489980 h 1489980"/>
              <a:gd name="connsiteX3" fmla="*/ 1120943 w 2392720"/>
              <a:gd name="connsiteY3" fmla="*/ 1271778 h 1489980"/>
              <a:gd name="connsiteX4" fmla="*/ 1083539 w 2392720"/>
              <a:gd name="connsiteY4" fmla="*/ 1226444 h 1489980"/>
              <a:gd name="connsiteX5" fmla="*/ 1028322 w 2392720"/>
              <a:gd name="connsiteY5" fmla="*/ 1187798 h 1489980"/>
              <a:gd name="connsiteX6" fmla="*/ 571499 w 2392720"/>
              <a:gd name="connsiteY6" fmla="*/ 1083263 h 1489980"/>
              <a:gd name="connsiteX7" fmla="*/ 0 w 2392720"/>
              <a:gd name="connsiteY7" fmla="*/ 1284221 h 1489980"/>
              <a:gd name="connsiteX8" fmla="*/ 0 w 2392720"/>
              <a:gd name="connsiteY8" fmla="*/ 205757 h 1489980"/>
              <a:gd name="connsiteX9" fmla="*/ 566419 w 2392720"/>
              <a:gd name="connsiteY9" fmla="*/ 620075 h 1489980"/>
              <a:gd name="connsiteX10" fmla="*/ 1077667 w 2392720"/>
              <a:gd name="connsiteY10" fmla="*/ 256715 h 1489980"/>
              <a:gd name="connsiteX11" fmla="*/ 1109929 w 2392720"/>
              <a:gd name="connsiteY11" fmla="*/ 231551 h 1489980"/>
              <a:gd name="connsiteX12" fmla="*/ 1120943 w 2392720"/>
              <a:gd name="connsiteY12" fmla="*/ 218202 h 1489980"/>
              <a:gd name="connsiteX13" fmla="*/ 1647730 w 2392720"/>
              <a:gd name="connsiteY13" fmla="*/ 0 h 1489980"/>
              <a:gd name="connsiteX0" fmla="*/ 1647730 w 2392720"/>
              <a:gd name="connsiteY0" fmla="*/ 0 h 1489980"/>
              <a:gd name="connsiteX1" fmla="*/ 2392720 w 2392720"/>
              <a:gd name="connsiteY1" fmla="*/ 744990 h 1489980"/>
              <a:gd name="connsiteX2" fmla="*/ 1647730 w 2392720"/>
              <a:gd name="connsiteY2" fmla="*/ 1489980 h 1489980"/>
              <a:gd name="connsiteX3" fmla="*/ 1120943 w 2392720"/>
              <a:gd name="connsiteY3" fmla="*/ 1271778 h 1489980"/>
              <a:gd name="connsiteX4" fmla="*/ 1083539 w 2392720"/>
              <a:gd name="connsiteY4" fmla="*/ 1226444 h 1489980"/>
              <a:gd name="connsiteX5" fmla="*/ 1028322 w 2392720"/>
              <a:gd name="connsiteY5" fmla="*/ 1187798 h 1489980"/>
              <a:gd name="connsiteX6" fmla="*/ 571499 w 2392720"/>
              <a:gd name="connsiteY6" fmla="*/ 872443 h 1489980"/>
              <a:gd name="connsiteX7" fmla="*/ 0 w 2392720"/>
              <a:gd name="connsiteY7" fmla="*/ 1284221 h 1489980"/>
              <a:gd name="connsiteX8" fmla="*/ 0 w 2392720"/>
              <a:gd name="connsiteY8" fmla="*/ 205757 h 1489980"/>
              <a:gd name="connsiteX9" fmla="*/ 566419 w 2392720"/>
              <a:gd name="connsiteY9" fmla="*/ 620075 h 1489980"/>
              <a:gd name="connsiteX10" fmla="*/ 1077667 w 2392720"/>
              <a:gd name="connsiteY10" fmla="*/ 256715 h 1489980"/>
              <a:gd name="connsiteX11" fmla="*/ 1109929 w 2392720"/>
              <a:gd name="connsiteY11" fmla="*/ 231551 h 1489980"/>
              <a:gd name="connsiteX12" fmla="*/ 1120943 w 2392720"/>
              <a:gd name="connsiteY12" fmla="*/ 218202 h 1489980"/>
              <a:gd name="connsiteX13" fmla="*/ 1647730 w 2392720"/>
              <a:gd name="connsiteY13" fmla="*/ 0 h 1489980"/>
              <a:gd name="connsiteX0" fmla="*/ 1647730 w 2392720"/>
              <a:gd name="connsiteY0" fmla="*/ 0 h 1489980"/>
              <a:gd name="connsiteX1" fmla="*/ 2392720 w 2392720"/>
              <a:gd name="connsiteY1" fmla="*/ 744990 h 1489980"/>
              <a:gd name="connsiteX2" fmla="*/ 1647730 w 2392720"/>
              <a:gd name="connsiteY2" fmla="*/ 1489980 h 1489980"/>
              <a:gd name="connsiteX3" fmla="*/ 1120943 w 2392720"/>
              <a:gd name="connsiteY3" fmla="*/ 1271778 h 1489980"/>
              <a:gd name="connsiteX4" fmla="*/ 1083539 w 2392720"/>
              <a:gd name="connsiteY4" fmla="*/ 1226444 h 1489980"/>
              <a:gd name="connsiteX5" fmla="*/ 1028322 w 2392720"/>
              <a:gd name="connsiteY5" fmla="*/ 1187798 h 1489980"/>
              <a:gd name="connsiteX6" fmla="*/ 571499 w 2392720"/>
              <a:gd name="connsiteY6" fmla="*/ 872443 h 1489980"/>
              <a:gd name="connsiteX7" fmla="*/ 0 w 2392720"/>
              <a:gd name="connsiteY7" fmla="*/ 1284221 h 1489980"/>
              <a:gd name="connsiteX8" fmla="*/ 0 w 2392720"/>
              <a:gd name="connsiteY8" fmla="*/ 205757 h 1489980"/>
              <a:gd name="connsiteX9" fmla="*/ 566419 w 2392720"/>
              <a:gd name="connsiteY9" fmla="*/ 620075 h 1489980"/>
              <a:gd name="connsiteX10" fmla="*/ 1077667 w 2392720"/>
              <a:gd name="connsiteY10" fmla="*/ 256715 h 1489980"/>
              <a:gd name="connsiteX11" fmla="*/ 1109929 w 2392720"/>
              <a:gd name="connsiteY11" fmla="*/ 231551 h 1489980"/>
              <a:gd name="connsiteX12" fmla="*/ 1120943 w 2392720"/>
              <a:gd name="connsiteY12" fmla="*/ 218202 h 1489980"/>
              <a:gd name="connsiteX13" fmla="*/ 1647730 w 2392720"/>
              <a:gd name="connsiteY13" fmla="*/ 0 h 1489980"/>
              <a:gd name="connsiteX0" fmla="*/ 1647730 w 2392720"/>
              <a:gd name="connsiteY0" fmla="*/ 0 h 1489980"/>
              <a:gd name="connsiteX1" fmla="*/ 2392720 w 2392720"/>
              <a:gd name="connsiteY1" fmla="*/ 744990 h 1489980"/>
              <a:gd name="connsiteX2" fmla="*/ 1647730 w 2392720"/>
              <a:gd name="connsiteY2" fmla="*/ 1489980 h 1489980"/>
              <a:gd name="connsiteX3" fmla="*/ 1120943 w 2392720"/>
              <a:gd name="connsiteY3" fmla="*/ 1271778 h 1489980"/>
              <a:gd name="connsiteX4" fmla="*/ 1083539 w 2392720"/>
              <a:gd name="connsiteY4" fmla="*/ 1226444 h 1489980"/>
              <a:gd name="connsiteX5" fmla="*/ 1028322 w 2392720"/>
              <a:gd name="connsiteY5" fmla="*/ 1187798 h 1489980"/>
              <a:gd name="connsiteX6" fmla="*/ 571499 w 2392720"/>
              <a:gd name="connsiteY6" fmla="*/ 872443 h 1489980"/>
              <a:gd name="connsiteX7" fmla="*/ 0 w 2392720"/>
              <a:gd name="connsiteY7" fmla="*/ 1284221 h 1489980"/>
              <a:gd name="connsiteX8" fmla="*/ 0 w 2392720"/>
              <a:gd name="connsiteY8" fmla="*/ 205757 h 1489980"/>
              <a:gd name="connsiteX9" fmla="*/ 566419 w 2392720"/>
              <a:gd name="connsiteY9" fmla="*/ 620075 h 1489980"/>
              <a:gd name="connsiteX10" fmla="*/ 1077667 w 2392720"/>
              <a:gd name="connsiteY10" fmla="*/ 256715 h 1489980"/>
              <a:gd name="connsiteX11" fmla="*/ 1109929 w 2392720"/>
              <a:gd name="connsiteY11" fmla="*/ 231551 h 1489980"/>
              <a:gd name="connsiteX12" fmla="*/ 1120943 w 2392720"/>
              <a:gd name="connsiteY12" fmla="*/ 218202 h 1489980"/>
              <a:gd name="connsiteX13" fmla="*/ 1647730 w 2392720"/>
              <a:gd name="connsiteY13" fmla="*/ 0 h 1489980"/>
              <a:gd name="connsiteX0" fmla="*/ 1647730 w 2392720"/>
              <a:gd name="connsiteY0" fmla="*/ 0 h 1489980"/>
              <a:gd name="connsiteX1" fmla="*/ 2392720 w 2392720"/>
              <a:gd name="connsiteY1" fmla="*/ 744990 h 1489980"/>
              <a:gd name="connsiteX2" fmla="*/ 1647730 w 2392720"/>
              <a:gd name="connsiteY2" fmla="*/ 1489980 h 1489980"/>
              <a:gd name="connsiteX3" fmla="*/ 1120943 w 2392720"/>
              <a:gd name="connsiteY3" fmla="*/ 1271778 h 1489980"/>
              <a:gd name="connsiteX4" fmla="*/ 1083539 w 2392720"/>
              <a:gd name="connsiteY4" fmla="*/ 1226444 h 1489980"/>
              <a:gd name="connsiteX5" fmla="*/ 1028322 w 2392720"/>
              <a:gd name="connsiteY5" fmla="*/ 1187798 h 1489980"/>
              <a:gd name="connsiteX6" fmla="*/ 571499 w 2392720"/>
              <a:gd name="connsiteY6" fmla="*/ 872443 h 1489980"/>
              <a:gd name="connsiteX7" fmla="*/ 0 w 2392720"/>
              <a:gd name="connsiteY7" fmla="*/ 1284221 h 1489980"/>
              <a:gd name="connsiteX8" fmla="*/ 0 w 2392720"/>
              <a:gd name="connsiteY8" fmla="*/ 205757 h 1489980"/>
              <a:gd name="connsiteX9" fmla="*/ 566419 w 2392720"/>
              <a:gd name="connsiteY9" fmla="*/ 620075 h 1489980"/>
              <a:gd name="connsiteX10" fmla="*/ 1077667 w 2392720"/>
              <a:gd name="connsiteY10" fmla="*/ 256715 h 1489980"/>
              <a:gd name="connsiteX11" fmla="*/ 1109929 w 2392720"/>
              <a:gd name="connsiteY11" fmla="*/ 231551 h 1489980"/>
              <a:gd name="connsiteX12" fmla="*/ 1120943 w 2392720"/>
              <a:gd name="connsiteY12" fmla="*/ 218202 h 1489980"/>
              <a:gd name="connsiteX13" fmla="*/ 1647730 w 2392720"/>
              <a:gd name="connsiteY13" fmla="*/ 0 h 1489980"/>
              <a:gd name="connsiteX0" fmla="*/ 1647730 w 2392720"/>
              <a:gd name="connsiteY0" fmla="*/ 0 h 1489980"/>
              <a:gd name="connsiteX1" fmla="*/ 2392720 w 2392720"/>
              <a:gd name="connsiteY1" fmla="*/ 744990 h 1489980"/>
              <a:gd name="connsiteX2" fmla="*/ 1647730 w 2392720"/>
              <a:gd name="connsiteY2" fmla="*/ 1489980 h 1489980"/>
              <a:gd name="connsiteX3" fmla="*/ 1120943 w 2392720"/>
              <a:gd name="connsiteY3" fmla="*/ 1271778 h 1489980"/>
              <a:gd name="connsiteX4" fmla="*/ 1083539 w 2392720"/>
              <a:gd name="connsiteY4" fmla="*/ 1226444 h 1489980"/>
              <a:gd name="connsiteX5" fmla="*/ 1028322 w 2392720"/>
              <a:gd name="connsiteY5" fmla="*/ 1187798 h 1489980"/>
              <a:gd name="connsiteX6" fmla="*/ 571499 w 2392720"/>
              <a:gd name="connsiteY6" fmla="*/ 872443 h 1489980"/>
              <a:gd name="connsiteX7" fmla="*/ 0 w 2392720"/>
              <a:gd name="connsiteY7" fmla="*/ 1284221 h 1489980"/>
              <a:gd name="connsiteX8" fmla="*/ 0 w 2392720"/>
              <a:gd name="connsiteY8" fmla="*/ 205757 h 1489980"/>
              <a:gd name="connsiteX9" fmla="*/ 566419 w 2392720"/>
              <a:gd name="connsiteY9" fmla="*/ 620075 h 1489980"/>
              <a:gd name="connsiteX10" fmla="*/ 1077667 w 2392720"/>
              <a:gd name="connsiteY10" fmla="*/ 256715 h 1489980"/>
              <a:gd name="connsiteX11" fmla="*/ 1109929 w 2392720"/>
              <a:gd name="connsiteY11" fmla="*/ 231551 h 1489980"/>
              <a:gd name="connsiteX12" fmla="*/ 1120943 w 2392720"/>
              <a:gd name="connsiteY12" fmla="*/ 218202 h 1489980"/>
              <a:gd name="connsiteX13" fmla="*/ 1647730 w 2392720"/>
              <a:gd name="connsiteY13" fmla="*/ 0 h 1489980"/>
              <a:gd name="connsiteX0" fmla="*/ 1647730 w 2392720"/>
              <a:gd name="connsiteY0" fmla="*/ 0 h 1489980"/>
              <a:gd name="connsiteX1" fmla="*/ 2392720 w 2392720"/>
              <a:gd name="connsiteY1" fmla="*/ 744990 h 1489980"/>
              <a:gd name="connsiteX2" fmla="*/ 1647730 w 2392720"/>
              <a:gd name="connsiteY2" fmla="*/ 1489980 h 1489980"/>
              <a:gd name="connsiteX3" fmla="*/ 1120943 w 2392720"/>
              <a:gd name="connsiteY3" fmla="*/ 1271778 h 1489980"/>
              <a:gd name="connsiteX4" fmla="*/ 1083539 w 2392720"/>
              <a:gd name="connsiteY4" fmla="*/ 1226444 h 1489980"/>
              <a:gd name="connsiteX5" fmla="*/ 571499 w 2392720"/>
              <a:gd name="connsiteY5" fmla="*/ 872443 h 1489980"/>
              <a:gd name="connsiteX6" fmla="*/ 0 w 2392720"/>
              <a:gd name="connsiteY6" fmla="*/ 1284221 h 1489980"/>
              <a:gd name="connsiteX7" fmla="*/ 0 w 2392720"/>
              <a:gd name="connsiteY7" fmla="*/ 205757 h 1489980"/>
              <a:gd name="connsiteX8" fmla="*/ 566419 w 2392720"/>
              <a:gd name="connsiteY8" fmla="*/ 620075 h 1489980"/>
              <a:gd name="connsiteX9" fmla="*/ 1077667 w 2392720"/>
              <a:gd name="connsiteY9" fmla="*/ 256715 h 1489980"/>
              <a:gd name="connsiteX10" fmla="*/ 1109929 w 2392720"/>
              <a:gd name="connsiteY10" fmla="*/ 231551 h 1489980"/>
              <a:gd name="connsiteX11" fmla="*/ 1120943 w 2392720"/>
              <a:gd name="connsiteY11" fmla="*/ 218202 h 1489980"/>
              <a:gd name="connsiteX12" fmla="*/ 1647730 w 2392720"/>
              <a:gd name="connsiteY12" fmla="*/ 0 h 1489980"/>
              <a:gd name="connsiteX0" fmla="*/ 1647730 w 2392720"/>
              <a:gd name="connsiteY0" fmla="*/ 0 h 1489980"/>
              <a:gd name="connsiteX1" fmla="*/ 2392720 w 2392720"/>
              <a:gd name="connsiteY1" fmla="*/ 744990 h 1489980"/>
              <a:gd name="connsiteX2" fmla="*/ 1647730 w 2392720"/>
              <a:gd name="connsiteY2" fmla="*/ 1489980 h 1489980"/>
              <a:gd name="connsiteX3" fmla="*/ 1120943 w 2392720"/>
              <a:gd name="connsiteY3" fmla="*/ 1271778 h 1489980"/>
              <a:gd name="connsiteX4" fmla="*/ 571499 w 2392720"/>
              <a:gd name="connsiteY4" fmla="*/ 872443 h 1489980"/>
              <a:gd name="connsiteX5" fmla="*/ 0 w 2392720"/>
              <a:gd name="connsiteY5" fmla="*/ 1284221 h 1489980"/>
              <a:gd name="connsiteX6" fmla="*/ 0 w 2392720"/>
              <a:gd name="connsiteY6" fmla="*/ 205757 h 1489980"/>
              <a:gd name="connsiteX7" fmla="*/ 566419 w 2392720"/>
              <a:gd name="connsiteY7" fmla="*/ 620075 h 1489980"/>
              <a:gd name="connsiteX8" fmla="*/ 1077667 w 2392720"/>
              <a:gd name="connsiteY8" fmla="*/ 256715 h 1489980"/>
              <a:gd name="connsiteX9" fmla="*/ 1109929 w 2392720"/>
              <a:gd name="connsiteY9" fmla="*/ 231551 h 1489980"/>
              <a:gd name="connsiteX10" fmla="*/ 1120943 w 2392720"/>
              <a:gd name="connsiteY10" fmla="*/ 218202 h 1489980"/>
              <a:gd name="connsiteX11" fmla="*/ 1647730 w 2392720"/>
              <a:gd name="connsiteY11" fmla="*/ 0 h 1489980"/>
              <a:gd name="connsiteX0" fmla="*/ 1647730 w 2392720"/>
              <a:gd name="connsiteY0" fmla="*/ 0 h 1489980"/>
              <a:gd name="connsiteX1" fmla="*/ 2392720 w 2392720"/>
              <a:gd name="connsiteY1" fmla="*/ 744990 h 1489980"/>
              <a:gd name="connsiteX2" fmla="*/ 1647730 w 2392720"/>
              <a:gd name="connsiteY2" fmla="*/ 1489980 h 1489980"/>
              <a:gd name="connsiteX3" fmla="*/ 1120943 w 2392720"/>
              <a:gd name="connsiteY3" fmla="*/ 1271778 h 1489980"/>
              <a:gd name="connsiteX4" fmla="*/ 571499 w 2392720"/>
              <a:gd name="connsiteY4" fmla="*/ 872443 h 1489980"/>
              <a:gd name="connsiteX5" fmla="*/ 0 w 2392720"/>
              <a:gd name="connsiteY5" fmla="*/ 1284221 h 1489980"/>
              <a:gd name="connsiteX6" fmla="*/ 0 w 2392720"/>
              <a:gd name="connsiteY6" fmla="*/ 205757 h 1489980"/>
              <a:gd name="connsiteX7" fmla="*/ 566419 w 2392720"/>
              <a:gd name="connsiteY7" fmla="*/ 620075 h 1489980"/>
              <a:gd name="connsiteX8" fmla="*/ 1109929 w 2392720"/>
              <a:gd name="connsiteY8" fmla="*/ 231551 h 1489980"/>
              <a:gd name="connsiteX9" fmla="*/ 1120943 w 2392720"/>
              <a:gd name="connsiteY9" fmla="*/ 218202 h 1489980"/>
              <a:gd name="connsiteX10" fmla="*/ 1647730 w 2392720"/>
              <a:gd name="connsiteY10" fmla="*/ 0 h 1489980"/>
              <a:gd name="connsiteX0" fmla="*/ 1647730 w 2392720"/>
              <a:gd name="connsiteY0" fmla="*/ 0 h 1489980"/>
              <a:gd name="connsiteX1" fmla="*/ 2392720 w 2392720"/>
              <a:gd name="connsiteY1" fmla="*/ 744990 h 1489980"/>
              <a:gd name="connsiteX2" fmla="*/ 1647730 w 2392720"/>
              <a:gd name="connsiteY2" fmla="*/ 1489980 h 1489980"/>
              <a:gd name="connsiteX3" fmla="*/ 1120943 w 2392720"/>
              <a:gd name="connsiteY3" fmla="*/ 1271778 h 1489980"/>
              <a:gd name="connsiteX4" fmla="*/ 571499 w 2392720"/>
              <a:gd name="connsiteY4" fmla="*/ 872443 h 1489980"/>
              <a:gd name="connsiteX5" fmla="*/ 0 w 2392720"/>
              <a:gd name="connsiteY5" fmla="*/ 1284221 h 1489980"/>
              <a:gd name="connsiteX6" fmla="*/ 0 w 2392720"/>
              <a:gd name="connsiteY6" fmla="*/ 205757 h 1489980"/>
              <a:gd name="connsiteX7" fmla="*/ 566419 w 2392720"/>
              <a:gd name="connsiteY7" fmla="*/ 620075 h 1489980"/>
              <a:gd name="connsiteX8" fmla="*/ 1120943 w 2392720"/>
              <a:gd name="connsiteY8" fmla="*/ 218202 h 1489980"/>
              <a:gd name="connsiteX9" fmla="*/ 1647730 w 2392720"/>
              <a:gd name="connsiteY9" fmla="*/ 0 h 1489980"/>
              <a:gd name="connsiteX0" fmla="*/ 1647730 w 2392720"/>
              <a:gd name="connsiteY0" fmla="*/ 0 h 1489980"/>
              <a:gd name="connsiteX1" fmla="*/ 2392720 w 2392720"/>
              <a:gd name="connsiteY1" fmla="*/ 744990 h 1489980"/>
              <a:gd name="connsiteX2" fmla="*/ 1647730 w 2392720"/>
              <a:gd name="connsiteY2" fmla="*/ 1489980 h 1489980"/>
              <a:gd name="connsiteX3" fmla="*/ 1120943 w 2392720"/>
              <a:gd name="connsiteY3" fmla="*/ 1271778 h 1489980"/>
              <a:gd name="connsiteX4" fmla="*/ 571499 w 2392720"/>
              <a:gd name="connsiteY4" fmla="*/ 872443 h 1489980"/>
              <a:gd name="connsiteX5" fmla="*/ 0 w 2392720"/>
              <a:gd name="connsiteY5" fmla="*/ 1284221 h 1489980"/>
              <a:gd name="connsiteX6" fmla="*/ 0 w 2392720"/>
              <a:gd name="connsiteY6" fmla="*/ 205757 h 1489980"/>
              <a:gd name="connsiteX7" fmla="*/ 566419 w 2392720"/>
              <a:gd name="connsiteY7" fmla="*/ 620075 h 1489980"/>
              <a:gd name="connsiteX8" fmla="*/ 1120943 w 2392720"/>
              <a:gd name="connsiteY8" fmla="*/ 218202 h 1489980"/>
              <a:gd name="connsiteX9" fmla="*/ 1647730 w 2392720"/>
              <a:gd name="connsiteY9" fmla="*/ 0 h 1489980"/>
              <a:gd name="connsiteX0" fmla="*/ 1647730 w 2392720"/>
              <a:gd name="connsiteY0" fmla="*/ 0 h 1489980"/>
              <a:gd name="connsiteX1" fmla="*/ 2392720 w 2392720"/>
              <a:gd name="connsiteY1" fmla="*/ 744990 h 1489980"/>
              <a:gd name="connsiteX2" fmla="*/ 1647730 w 2392720"/>
              <a:gd name="connsiteY2" fmla="*/ 1489980 h 1489980"/>
              <a:gd name="connsiteX3" fmla="*/ 1120943 w 2392720"/>
              <a:gd name="connsiteY3" fmla="*/ 1271778 h 1489980"/>
              <a:gd name="connsiteX4" fmla="*/ 571499 w 2392720"/>
              <a:gd name="connsiteY4" fmla="*/ 872443 h 1489980"/>
              <a:gd name="connsiteX5" fmla="*/ 0 w 2392720"/>
              <a:gd name="connsiteY5" fmla="*/ 1284221 h 1489980"/>
              <a:gd name="connsiteX6" fmla="*/ 0 w 2392720"/>
              <a:gd name="connsiteY6" fmla="*/ 205757 h 1489980"/>
              <a:gd name="connsiteX7" fmla="*/ 566419 w 2392720"/>
              <a:gd name="connsiteY7" fmla="*/ 620075 h 1489980"/>
              <a:gd name="connsiteX8" fmla="*/ 1120943 w 2392720"/>
              <a:gd name="connsiteY8" fmla="*/ 218202 h 1489980"/>
              <a:gd name="connsiteX9" fmla="*/ 1647730 w 2392720"/>
              <a:gd name="connsiteY9" fmla="*/ 0 h 1489980"/>
              <a:gd name="connsiteX0" fmla="*/ 1647730 w 2392720"/>
              <a:gd name="connsiteY0" fmla="*/ 0 h 1489980"/>
              <a:gd name="connsiteX1" fmla="*/ 2392720 w 2392720"/>
              <a:gd name="connsiteY1" fmla="*/ 744990 h 1489980"/>
              <a:gd name="connsiteX2" fmla="*/ 1647730 w 2392720"/>
              <a:gd name="connsiteY2" fmla="*/ 1489980 h 1489980"/>
              <a:gd name="connsiteX3" fmla="*/ 1120943 w 2392720"/>
              <a:gd name="connsiteY3" fmla="*/ 1271778 h 1489980"/>
              <a:gd name="connsiteX4" fmla="*/ 571499 w 2392720"/>
              <a:gd name="connsiteY4" fmla="*/ 872443 h 1489980"/>
              <a:gd name="connsiteX5" fmla="*/ 0 w 2392720"/>
              <a:gd name="connsiteY5" fmla="*/ 1284221 h 1489980"/>
              <a:gd name="connsiteX6" fmla="*/ 0 w 2392720"/>
              <a:gd name="connsiteY6" fmla="*/ 205757 h 1489980"/>
              <a:gd name="connsiteX7" fmla="*/ 566419 w 2392720"/>
              <a:gd name="connsiteY7" fmla="*/ 620075 h 1489980"/>
              <a:gd name="connsiteX8" fmla="*/ 1120943 w 2392720"/>
              <a:gd name="connsiteY8" fmla="*/ 218202 h 1489980"/>
              <a:gd name="connsiteX9" fmla="*/ 1647730 w 2392720"/>
              <a:gd name="connsiteY9" fmla="*/ 0 h 1489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92720" h="1489980">
                <a:moveTo>
                  <a:pt x="1647730" y="0"/>
                </a:moveTo>
                <a:cubicBezTo>
                  <a:pt x="2059177" y="0"/>
                  <a:pt x="2392720" y="333543"/>
                  <a:pt x="2392720" y="744990"/>
                </a:cubicBezTo>
                <a:cubicBezTo>
                  <a:pt x="2392720" y="1156437"/>
                  <a:pt x="2059177" y="1489980"/>
                  <a:pt x="1647730" y="1489980"/>
                </a:cubicBezTo>
                <a:cubicBezTo>
                  <a:pt x="1442007" y="1489980"/>
                  <a:pt x="1255759" y="1406594"/>
                  <a:pt x="1120943" y="1271778"/>
                </a:cubicBezTo>
                <a:cubicBezTo>
                  <a:pt x="970815" y="1120886"/>
                  <a:pt x="757187" y="876015"/>
                  <a:pt x="571499" y="872443"/>
                </a:cubicBezTo>
                <a:cubicBezTo>
                  <a:pt x="377924" y="868719"/>
                  <a:pt x="125729" y="1121986"/>
                  <a:pt x="0" y="1284221"/>
                </a:cubicBezTo>
                <a:lnTo>
                  <a:pt x="0" y="205757"/>
                </a:lnTo>
                <a:cubicBezTo>
                  <a:pt x="160021" y="352752"/>
                  <a:pt x="357284" y="622988"/>
                  <a:pt x="566419" y="620075"/>
                </a:cubicBezTo>
                <a:cubicBezTo>
                  <a:pt x="753243" y="622149"/>
                  <a:pt x="981365" y="364728"/>
                  <a:pt x="1120943" y="218202"/>
                </a:cubicBezTo>
                <a:cubicBezTo>
                  <a:pt x="1255759" y="83386"/>
                  <a:pt x="1442007" y="0"/>
                  <a:pt x="1647730" y="0"/>
                </a:cubicBezTo>
                <a:close/>
              </a:path>
            </a:pathLst>
          </a:custGeom>
          <a:solidFill>
            <a:srgbClr val="404040"/>
          </a:solidFill>
          <a:ln w="25400" cap="flat" cmpd="sng" algn="ctr">
            <a:noFill/>
            <a:prstDash val="solid"/>
          </a:ln>
          <a:effectLst/>
        </p:spPr>
        <p:txBody>
          <a:bodyPr spcFirstLastPara="0" vert="horz" wrap="square" lIns="239157" tIns="239157" rIns="239157" bIns="239157" numCol="1" spcCol="1270" anchor="ctr" anchorCtr="0">
            <a:noAutofit/>
          </a:bodyPr>
          <a:lstStyle/>
          <a:p>
            <a:pPr marL="0" marR="0" lvl="0" indent="0" algn="ctr" defTabSz="1466850" eaLnBrk="1" fontAlgn="auto" latinLnBrk="0" hangingPunct="1">
              <a:lnSpc>
                <a:spcPct val="90000"/>
              </a:lnSpc>
              <a:spcBef>
                <a:spcPts val="0"/>
              </a:spcBef>
              <a:spcAft>
                <a:spcPct val="35000"/>
              </a:spcAft>
              <a:buClrTx/>
              <a:buSzTx/>
              <a:buFontTx/>
              <a:buNone/>
              <a:tabLst/>
              <a:defRPr/>
            </a:pPr>
            <a:endParaRPr kumimoji="0" lang="en-GB" sz="3300" b="0" i="0" u="none" strike="noStrike" kern="0" cap="none" spc="0" normalizeH="0" baseline="0" noProof="0">
              <a:ln>
                <a:noFill/>
              </a:ln>
              <a:solidFill>
                <a:srgbClr val="646464"/>
              </a:solidFill>
              <a:effectLst/>
              <a:uLnTx/>
              <a:uFillTx/>
              <a:latin typeface="EYInterstate Light"/>
              <a:ea typeface="+mn-ea"/>
              <a:cs typeface="+mn-cs"/>
            </a:endParaRPr>
          </a:p>
        </p:txBody>
      </p:sp>
      <p:sp>
        <p:nvSpPr>
          <p:cNvPr id="102" name="Freeform 39">
            <a:extLst>
              <a:ext uri="{FF2B5EF4-FFF2-40B4-BE49-F238E27FC236}">
                <a16:creationId xmlns:a16="http://schemas.microsoft.com/office/drawing/2014/main" id="{C762FBDD-742C-440D-8586-1ED8864821BC}"/>
              </a:ext>
            </a:extLst>
          </p:cNvPr>
          <p:cNvSpPr/>
          <p:nvPr/>
        </p:nvSpPr>
        <p:spPr>
          <a:xfrm rot="18000000" flipH="1" flipV="1">
            <a:off x="6577044" y="5004506"/>
            <a:ext cx="1999523" cy="1245131"/>
          </a:xfrm>
          <a:custGeom>
            <a:avLst/>
            <a:gdLst>
              <a:gd name="connsiteX0" fmla="*/ 1647730 w 2392720"/>
              <a:gd name="connsiteY0" fmla="*/ 0 h 1489980"/>
              <a:gd name="connsiteX1" fmla="*/ 2392720 w 2392720"/>
              <a:gd name="connsiteY1" fmla="*/ 744990 h 1489980"/>
              <a:gd name="connsiteX2" fmla="*/ 1647730 w 2392720"/>
              <a:gd name="connsiteY2" fmla="*/ 1489980 h 1489980"/>
              <a:gd name="connsiteX3" fmla="*/ 1120943 w 2392720"/>
              <a:gd name="connsiteY3" fmla="*/ 1271778 h 1489980"/>
              <a:gd name="connsiteX4" fmla="*/ 1083539 w 2392720"/>
              <a:gd name="connsiteY4" fmla="*/ 1226444 h 1489980"/>
              <a:gd name="connsiteX5" fmla="*/ 1028322 w 2392720"/>
              <a:gd name="connsiteY5" fmla="*/ 1187798 h 1489980"/>
              <a:gd name="connsiteX6" fmla="*/ 571499 w 2392720"/>
              <a:gd name="connsiteY6" fmla="*/ 1083263 h 1489980"/>
              <a:gd name="connsiteX7" fmla="*/ 0 w 2392720"/>
              <a:gd name="connsiteY7" fmla="*/ 1284221 h 1489980"/>
              <a:gd name="connsiteX8" fmla="*/ 0 w 2392720"/>
              <a:gd name="connsiteY8" fmla="*/ 205757 h 1489980"/>
              <a:gd name="connsiteX9" fmla="*/ 571499 w 2392720"/>
              <a:gd name="connsiteY9" fmla="*/ 406715 h 1489980"/>
              <a:gd name="connsiteX10" fmla="*/ 1077667 w 2392720"/>
              <a:gd name="connsiteY10" fmla="*/ 256715 h 1489980"/>
              <a:gd name="connsiteX11" fmla="*/ 1109929 w 2392720"/>
              <a:gd name="connsiteY11" fmla="*/ 231551 h 1489980"/>
              <a:gd name="connsiteX12" fmla="*/ 1120943 w 2392720"/>
              <a:gd name="connsiteY12" fmla="*/ 218202 h 1489980"/>
              <a:gd name="connsiteX13" fmla="*/ 1647730 w 2392720"/>
              <a:gd name="connsiteY13" fmla="*/ 0 h 1489980"/>
              <a:gd name="connsiteX0" fmla="*/ 1647730 w 2392720"/>
              <a:gd name="connsiteY0" fmla="*/ 0 h 1489980"/>
              <a:gd name="connsiteX1" fmla="*/ 2392720 w 2392720"/>
              <a:gd name="connsiteY1" fmla="*/ 744990 h 1489980"/>
              <a:gd name="connsiteX2" fmla="*/ 1647730 w 2392720"/>
              <a:gd name="connsiteY2" fmla="*/ 1489980 h 1489980"/>
              <a:gd name="connsiteX3" fmla="*/ 1120943 w 2392720"/>
              <a:gd name="connsiteY3" fmla="*/ 1271778 h 1489980"/>
              <a:gd name="connsiteX4" fmla="*/ 1083539 w 2392720"/>
              <a:gd name="connsiteY4" fmla="*/ 1226444 h 1489980"/>
              <a:gd name="connsiteX5" fmla="*/ 1028322 w 2392720"/>
              <a:gd name="connsiteY5" fmla="*/ 1187798 h 1489980"/>
              <a:gd name="connsiteX6" fmla="*/ 571499 w 2392720"/>
              <a:gd name="connsiteY6" fmla="*/ 1083263 h 1489980"/>
              <a:gd name="connsiteX7" fmla="*/ 0 w 2392720"/>
              <a:gd name="connsiteY7" fmla="*/ 1284221 h 1489980"/>
              <a:gd name="connsiteX8" fmla="*/ 0 w 2392720"/>
              <a:gd name="connsiteY8" fmla="*/ 205757 h 1489980"/>
              <a:gd name="connsiteX9" fmla="*/ 566419 w 2392720"/>
              <a:gd name="connsiteY9" fmla="*/ 620075 h 1489980"/>
              <a:gd name="connsiteX10" fmla="*/ 1077667 w 2392720"/>
              <a:gd name="connsiteY10" fmla="*/ 256715 h 1489980"/>
              <a:gd name="connsiteX11" fmla="*/ 1109929 w 2392720"/>
              <a:gd name="connsiteY11" fmla="*/ 231551 h 1489980"/>
              <a:gd name="connsiteX12" fmla="*/ 1120943 w 2392720"/>
              <a:gd name="connsiteY12" fmla="*/ 218202 h 1489980"/>
              <a:gd name="connsiteX13" fmla="*/ 1647730 w 2392720"/>
              <a:gd name="connsiteY13" fmla="*/ 0 h 1489980"/>
              <a:gd name="connsiteX0" fmla="*/ 1647730 w 2392720"/>
              <a:gd name="connsiteY0" fmla="*/ 0 h 1489980"/>
              <a:gd name="connsiteX1" fmla="*/ 2392720 w 2392720"/>
              <a:gd name="connsiteY1" fmla="*/ 744990 h 1489980"/>
              <a:gd name="connsiteX2" fmla="*/ 1647730 w 2392720"/>
              <a:gd name="connsiteY2" fmla="*/ 1489980 h 1489980"/>
              <a:gd name="connsiteX3" fmla="*/ 1120943 w 2392720"/>
              <a:gd name="connsiteY3" fmla="*/ 1271778 h 1489980"/>
              <a:gd name="connsiteX4" fmla="*/ 1083539 w 2392720"/>
              <a:gd name="connsiteY4" fmla="*/ 1226444 h 1489980"/>
              <a:gd name="connsiteX5" fmla="*/ 1028322 w 2392720"/>
              <a:gd name="connsiteY5" fmla="*/ 1187798 h 1489980"/>
              <a:gd name="connsiteX6" fmla="*/ 571499 w 2392720"/>
              <a:gd name="connsiteY6" fmla="*/ 872443 h 1489980"/>
              <a:gd name="connsiteX7" fmla="*/ 0 w 2392720"/>
              <a:gd name="connsiteY7" fmla="*/ 1284221 h 1489980"/>
              <a:gd name="connsiteX8" fmla="*/ 0 w 2392720"/>
              <a:gd name="connsiteY8" fmla="*/ 205757 h 1489980"/>
              <a:gd name="connsiteX9" fmla="*/ 566419 w 2392720"/>
              <a:gd name="connsiteY9" fmla="*/ 620075 h 1489980"/>
              <a:gd name="connsiteX10" fmla="*/ 1077667 w 2392720"/>
              <a:gd name="connsiteY10" fmla="*/ 256715 h 1489980"/>
              <a:gd name="connsiteX11" fmla="*/ 1109929 w 2392720"/>
              <a:gd name="connsiteY11" fmla="*/ 231551 h 1489980"/>
              <a:gd name="connsiteX12" fmla="*/ 1120943 w 2392720"/>
              <a:gd name="connsiteY12" fmla="*/ 218202 h 1489980"/>
              <a:gd name="connsiteX13" fmla="*/ 1647730 w 2392720"/>
              <a:gd name="connsiteY13" fmla="*/ 0 h 1489980"/>
              <a:gd name="connsiteX0" fmla="*/ 1647730 w 2392720"/>
              <a:gd name="connsiteY0" fmla="*/ 0 h 1489980"/>
              <a:gd name="connsiteX1" fmla="*/ 2392720 w 2392720"/>
              <a:gd name="connsiteY1" fmla="*/ 744990 h 1489980"/>
              <a:gd name="connsiteX2" fmla="*/ 1647730 w 2392720"/>
              <a:gd name="connsiteY2" fmla="*/ 1489980 h 1489980"/>
              <a:gd name="connsiteX3" fmla="*/ 1120943 w 2392720"/>
              <a:gd name="connsiteY3" fmla="*/ 1271778 h 1489980"/>
              <a:gd name="connsiteX4" fmla="*/ 1083539 w 2392720"/>
              <a:gd name="connsiteY4" fmla="*/ 1226444 h 1489980"/>
              <a:gd name="connsiteX5" fmla="*/ 1028322 w 2392720"/>
              <a:gd name="connsiteY5" fmla="*/ 1187798 h 1489980"/>
              <a:gd name="connsiteX6" fmla="*/ 571499 w 2392720"/>
              <a:gd name="connsiteY6" fmla="*/ 872443 h 1489980"/>
              <a:gd name="connsiteX7" fmla="*/ 0 w 2392720"/>
              <a:gd name="connsiteY7" fmla="*/ 1284221 h 1489980"/>
              <a:gd name="connsiteX8" fmla="*/ 0 w 2392720"/>
              <a:gd name="connsiteY8" fmla="*/ 205757 h 1489980"/>
              <a:gd name="connsiteX9" fmla="*/ 566419 w 2392720"/>
              <a:gd name="connsiteY9" fmla="*/ 620075 h 1489980"/>
              <a:gd name="connsiteX10" fmla="*/ 1077667 w 2392720"/>
              <a:gd name="connsiteY10" fmla="*/ 256715 h 1489980"/>
              <a:gd name="connsiteX11" fmla="*/ 1109929 w 2392720"/>
              <a:gd name="connsiteY11" fmla="*/ 231551 h 1489980"/>
              <a:gd name="connsiteX12" fmla="*/ 1120943 w 2392720"/>
              <a:gd name="connsiteY12" fmla="*/ 218202 h 1489980"/>
              <a:gd name="connsiteX13" fmla="*/ 1647730 w 2392720"/>
              <a:gd name="connsiteY13" fmla="*/ 0 h 1489980"/>
              <a:gd name="connsiteX0" fmla="*/ 1647730 w 2392720"/>
              <a:gd name="connsiteY0" fmla="*/ 0 h 1489980"/>
              <a:gd name="connsiteX1" fmla="*/ 2392720 w 2392720"/>
              <a:gd name="connsiteY1" fmla="*/ 744990 h 1489980"/>
              <a:gd name="connsiteX2" fmla="*/ 1647730 w 2392720"/>
              <a:gd name="connsiteY2" fmla="*/ 1489980 h 1489980"/>
              <a:gd name="connsiteX3" fmla="*/ 1120943 w 2392720"/>
              <a:gd name="connsiteY3" fmla="*/ 1271778 h 1489980"/>
              <a:gd name="connsiteX4" fmla="*/ 1083539 w 2392720"/>
              <a:gd name="connsiteY4" fmla="*/ 1226444 h 1489980"/>
              <a:gd name="connsiteX5" fmla="*/ 1028322 w 2392720"/>
              <a:gd name="connsiteY5" fmla="*/ 1187798 h 1489980"/>
              <a:gd name="connsiteX6" fmla="*/ 571499 w 2392720"/>
              <a:gd name="connsiteY6" fmla="*/ 872443 h 1489980"/>
              <a:gd name="connsiteX7" fmla="*/ 0 w 2392720"/>
              <a:gd name="connsiteY7" fmla="*/ 1284221 h 1489980"/>
              <a:gd name="connsiteX8" fmla="*/ 0 w 2392720"/>
              <a:gd name="connsiteY8" fmla="*/ 205757 h 1489980"/>
              <a:gd name="connsiteX9" fmla="*/ 566419 w 2392720"/>
              <a:gd name="connsiteY9" fmla="*/ 620075 h 1489980"/>
              <a:gd name="connsiteX10" fmla="*/ 1077667 w 2392720"/>
              <a:gd name="connsiteY10" fmla="*/ 256715 h 1489980"/>
              <a:gd name="connsiteX11" fmla="*/ 1109929 w 2392720"/>
              <a:gd name="connsiteY11" fmla="*/ 231551 h 1489980"/>
              <a:gd name="connsiteX12" fmla="*/ 1120943 w 2392720"/>
              <a:gd name="connsiteY12" fmla="*/ 218202 h 1489980"/>
              <a:gd name="connsiteX13" fmla="*/ 1647730 w 2392720"/>
              <a:gd name="connsiteY13" fmla="*/ 0 h 1489980"/>
              <a:gd name="connsiteX0" fmla="*/ 1647730 w 2392720"/>
              <a:gd name="connsiteY0" fmla="*/ 0 h 1489980"/>
              <a:gd name="connsiteX1" fmla="*/ 2392720 w 2392720"/>
              <a:gd name="connsiteY1" fmla="*/ 744990 h 1489980"/>
              <a:gd name="connsiteX2" fmla="*/ 1647730 w 2392720"/>
              <a:gd name="connsiteY2" fmla="*/ 1489980 h 1489980"/>
              <a:gd name="connsiteX3" fmla="*/ 1120943 w 2392720"/>
              <a:gd name="connsiteY3" fmla="*/ 1271778 h 1489980"/>
              <a:gd name="connsiteX4" fmla="*/ 1083539 w 2392720"/>
              <a:gd name="connsiteY4" fmla="*/ 1226444 h 1489980"/>
              <a:gd name="connsiteX5" fmla="*/ 1028322 w 2392720"/>
              <a:gd name="connsiteY5" fmla="*/ 1187798 h 1489980"/>
              <a:gd name="connsiteX6" fmla="*/ 571499 w 2392720"/>
              <a:gd name="connsiteY6" fmla="*/ 872443 h 1489980"/>
              <a:gd name="connsiteX7" fmla="*/ 0 w 2392720"/>
              <a:gd name="connsiteY7" fmla="*/ 1284221 h 1489980"/>
              <a:gd name="connsiteX8" fmla="*/ 0 w 2392720"/>
              <a:gd name="connsiteY8" fmla="*/ 205757 h 1489980"/>
              <a:gd name="connsiteX9" fmla="*/ 566419 w 2392720"/>
              <a:gd name="connsiteY9" fmla="*/ 620075 h 1489980"/>
              <a:gd name="connsiteX10" fmla="*/ 1077667 w 2392720"/>
              <a:gd name="connsiteY10" fmla="*/ 256715 h 1489980"/>
              <a:gd name="connsiteX11" fmla="*/ 1109929 w 2392720"/>
              <a:gd name="connsiteY11" fmla="*/ 231551 h 1489980"/>
              <a:gd name="connsiteX12" fmla="*/ 1120943 w 2392720"/>
              <a:gd name="connsiteY12" fmla="*/ 218202 h 1489980"/>
              <a:gd name="connsiteX13" fmla="*/ 1647730 w 2392720"/>
              <a:gd name="connsiteY13" fmla="*/ 0 h 1489980"/>
              <a:gd name="connsiteX0" fmla="*/ 1647730 w 2392720"/>
              <a:gd name="connsiteY0" fmla="*/ 0 h 1489980"/>
              <a:gd name="connsiteX1" fmla="*/ 2392720 w 2392720"/>
              <a:gd name="connsiteY1" fmla="*/ 744990 h 1489980"/>
              <a:gd name="connsiteX2" fmla="*/ 1647730 w 2392720"/>
              <a:gd name="connsiteY2" fmla="*/ 1489980 h 1489980"/>
              <a:gd name="connsiteX3" fmla="*/ 1120943 w 2392720"/>
              <a:gd name="connsiteY3" fmla="*/ 1271778 h 1489980"/>
              <a:gd name="connsiteX4" fmla="*/ 1083539 w 2392720"/>
              <a:gd name="connsiteY4" fmla="*/ 1226444 h 1489980"/>
              <a:gd name="connsiteX5" fmla="*/ 1028322 w 2392720"/>
              <a:gd name="connsiteY5" fmla="*/ 1187798 h 1489980"/>
              <a:gd name="connsiteX6" fmla="*/ 571499 w 2392720"/>
              <a:gd name="connsiteY6" fmla="*/ 872443 h 1489980"/>
              <a:gd name="connsiteX7" fmla="*/ 0 w 2392720"/>
              <a:gd name="connsiteY7" fmla="*/ 1284221 h 1489980"/>
              <a:gd name="connsiteX8" fmla="*/ 0 w 2392720"/>
              <a:gd name="connsiteY8" fmla="*/ 205757 h 1489980"/>
              <a:gd name="connsiteX9" fmla="*/ 566419 w 2392720"/>
              <a:gd name="connsiteY9" fmla="*/ 620075 h 1489980"/>
              <a:gd name="connsiteX10" fmla="*/ 1077667 w 2392720"/>
              <a:gd name="connsiteY10" fmla="*/ 256715 h 1489980"/>
              <a:gd name="connsiteX11" fmla="*/ 1109929 w 2392720"/>
              <a:gd name="connsiteY11" fmla="*/ 231551 h 1489980"/>
              <a:gd name="connsiteX12" fmla="*/ 1120943 w 2392720"/>
              <a:gd name="connsiteY12" fmla="*/ 218202 h 1489980"/>
              <a:gd name="connsiteX13" fmla="*/ 1647730 w 2392720"/>
              <a:gd name="connsiteY13" fmla="*/ 0 h 1489980"/>
              <a:gd name="connsiteX0" fmla="*/ 1647730 w 2392720"/>
              <a:gd name="connsiteY0" fmla="*/ 0 h 1489980"/>
              <a:gd name="connsiteX1" fmla="*/ 2392720 w 2392720"/>
              <a:gd name="connsiteY1" fmla="*/ 744990 h 1489980"/>
              <a:gd name="connsiteX2" fmla="*/ 1647730 w 2392720"/>
              <a:gd name="connsiteY2" fmla="*/ 1489980 h 1489980"/>
              <a:gd name="connsiteX3" fmla="*/ 1120943 w 2392720"/>
              <a:gd name="connsiteY3" fmla="*/ 1271778 h 1489980"/>
              <a:gd name="connsiteX4" fmla="*/ 1083539 w 2392720"/>
              <a:gd name="connsiteY4" fmla="*/ 1226444 h 1489980"/>
              <a:gd name="connsiteX5" fmla="*/ 571499 w 2392720"/>
              <a:gd name="connsiteY5" fmla="*/ 872443 h 1489980"/>
              <a:gd name="connsiteX6" fmla="*/ 0 w 2392720"/>
              <a:gd name="connsiteY6" fmla="*/ 1284221 h 1489980"/>
              <a:gd name="connsiteX7" fmla="*/ 0 w 2392720"/>
              <a:gd name="connsiteY7" fmla="*/ 205757 h 1489980"/>
              <a:gd name="connsiteX8" fmla="*/ 566419 w 2392720"/>
              <a:gd name="connsiteY8" fmla="*/ 620075 h 1489980"/>
              <a:gd name="connsiteX9" fmla="*/ 1077667 w 2392720"/>
              <a:gd name="connsiteY9" fmla="*/ 256715 h 1489980"/>
              <a:gd name="connsiteX10" fmla="*/ 1109929 w 2392720"/>
              <a:gd name="connsiteY10" fmla="*/ 231551 h 1489980"/>
              <a:gd name="connsiteX11" fmla="*/ 1120943 w 2392720"/>
              <a:gd name="connsiteY11" fmla="*/ 218202 h 1489980"/>
              <a:gd name="connsiteX12" fmla="*/ 1647730 w 2392720"/>
              <a:gd name="connsiteY12" fmla="*/ 0 h 1489980"/>
              <a:gd name="connsiteX0" fmla="*/ 1647730 w 2392720"/>
              <a:gd name="connsiteY0" fmla="*/ 0 h 1489980"/>
              <a:gd name="connsiteX1" fmla="*/ 2392720 w 2392720"/>
              <a:gd name="connsiteY1" fmla="*/ 744990 h 1489980"/>
              <a:gd name="connsiteX2" fmla="*/ 1647730 w 2392720"/>
              <a:gd name="connsiteY2" fmla="*/ 1489980 h 1489980"/>
              <a:gd name="connsiteX3" fmla="*/ 1120943 w 2392720"/>
              <a:gd name="connsiteY3" fmla="*/ 1271778 h 1489980"/>
              <a:gd name="connsiteX4" fmla="*/ 571499 w 2392720"/>
              <a:gd name="connsiteY4" fmla="*/ 872443 h 1489980"/>
              <a:gd name="connsiteX5" fmla="*/ 0 w 2392720"/>
              <a:gd name="connsiteY5" fmla="*/ 1284221 h 1489980"/>
              <a:gd name="connsiteX6" fmla="*/ 0 w 2392720"/>
              <a:gd name="connsiteY6" fmla="*/ 205757 h 1489980"/>
              <a:gd name="connsiteX7" fmla="*/ 566419 w 2392720"/>
              <a:gd name="connsiteY7" fmla="*/ 620075 h 1489980"/>
              <a:gd name="connsiteX8" fmla="*/ 1077667 w 2392720"/>
              <a:gd name="connsiteY8" fmla="*/ 256715 h 1489980"/>
              <a:gd name="connsiteX9" fmla="*/ 1109929 w 2392720"/>
              <a:gd name="connsiteY9" fmla="*/ 231551 h 1489980"/>
              <a:gd name="connsiteX10" fmla="*/ 1120943 w 2392720"/>
              <a:gd name="connsiteY10" fmla="*/ 218202 h 1489980"/>
              <a:gd name="connsiteX11" fmla="*/ 1647730 w 2392720"/>
              <a:gd name="connsiteY11" fmla="*/ 0 h 1489980"/>
              <a:gd name="connsiteX0" fmla="*/ 1647730 w 2392720"/>
              <a:gd name="connsiteY0" fmla="*/ 0 h 1489980"/>
              <a:gd name="connsiteX1" fmla="*/ 2392720 w 2392720"/>
              <a:gd name="connsiteY1" fmla="*/ 744990 h 1489980"/>
              <a:gd name="connsiteX2" fmla="*/ 1647730 w 2392720"/>
              <a:gd name="connsiteY2" fmla="*/ 1489980 h 1489980"/>
              <a:gd name="connsiteX3" fmla="*/ 1120943 w 2392720"/>
              <a:gd name="connsiteY3" fmla="*/ 1271778 h 1489980"/>
              <a:gd name="connsiteX4" fmla="*/ 571499 w 2392720"/>
              <a:gd name="connsiteY4" fmla="*/ 872443 h 1489980"/>
              <a:gd name="connsiteX5" fmla="*/ 0 w 2392720"/>
              <a:gd name="connsiteY5" fmla="*/ 1284221 h 1489980"/>
              <a:gd name="connsiteX6" fmla="*/ 0 w 2392720"/>
              <a:gd name="connsiteY6" fmla="*/ 205757 h 1489980"/>
              <a:gd name="connsiteX7" fmla="*/ 566419 w 2392720"/>
              <a:gd name="connsiteY7" fmla="*/ 620075 h 1489980"/>
              <a:gd name="connsiteX8" fmla="*/ 1109929 w 2392720"/>
              <a:gd name="connsiteY8" fmla="*/ 231551 h 1489980"/>
              <a:gd name="connsiteX9" fmla="*/ 1120943 w 2392720"/>
              <a:gd name="connsiteY9" fmla="*/ 218202 h 1489980"/>
              <a:gd name="connsiteX10" fmla="*/ 1647730 w 2392720"/>
              <a:gd name="connsiteY10" fmla="*/ 0 h 1489980"/>
              <a:gd name="connsiteX0" fmla="*/ 1647730 w 2392720"/>
              <a:gd name="connsiteY0" fmla="*/ 0 h 1489980"/>
              <a:gd name="connsiteX1" fmla="*/ 2392720 w 2392720"/>
              <a:gd name="connsiteY1" fmla="*/ 744990 h 1489980"/>
              <a:gd name="connsiteX2" fmla="*/ 1647730 w 2392720"/>
              <a:gd name="connsiteY2" fmla="*/ 1489980 h 1489980"/>
              <a:gd name="connsiteX3" fmla="*/ 1120943 w 2392720"/>
              <a:gd name="connsiteY3" fmla="*/ 1271778 h 1489980"/>
              <a:gd name="connsiteX4" fmla="*/ 571499 w 2392720"/>
              <a:gd name="connsiteY4" fmla="*/ 872443 h 1489980"/>
              <a:gd name="connsiteX5" fmla="*/ 0 w 2392720"/>
              <a:gd name="connsiteY5" fmla="*/ 1284221 h 1489980"/>
              <a:gd name="connsiteX6" fmla="*/ 0 w 2392720"/>
              <a:gd name="connsiteY6" fmla="*/ 205757 h 1489980"/>
              <a:gd name="connsiteX7" fmla="*/ 566419 w 2392720"/>
              <a:gd name="connsiteY7" fmla="*/ 620075 h 1489980"/>
              <a:gd name="connsiteX8" fmla="*/ 1120943 w 2392720"/>
              <a:gd name="connsiteY8" fmla="*/ 218202 h 1489980"/>
              <a:gd name="connsiteX9" fmla="*/ 1647730 w 2392720"/>
              <a:gd name="connsiteY9" fmla="*/ 0 h 1489980"/>
              <a:gd name="connsiteX0" fmla="*/ 1647730 w 2392720"/>
              <a:gd name="connsiteY0" fmla="*/ 0 h 1489980"/>
              <a:gd name="connsiteX1" fmla="*/ 2392720 w 2392720"/>
              <a:gd name="connsiteY1" fmla="*/ 744990 h 1489980"/>
              <a:gd name="connsiteX2" fmla="*/ 1647730 w 2392720"/>
              <a:gd name="connsiteY2" fmla="*/ 1489980 h 1489980"/>
              <a:gd name="connsiteX3" fmla="*/ 1120943 w 2392720"/>
              <a:gd name="connsiteY3" fmla="*/ 1271778 h 1489980"/>
              <a:gd name="connsiteX4" fmla="*/ 571499 w 2392720"/>
              <a:gd name="connsiteY4" fmla="*/ 872443 h 1489980"/>
              <a:gd name="connsiteX5" fmla="*/ 0 w 2392720"/>
              <a:gd name="connsiteY5" fmla="*/ 1284221 h 1489980"/>
              <a:gd name="connsiteX6" fmla="*/ 0 w 2392720"/>
              <a:gd name="connsiteY6" fmla="*/ 205757 h 1489980"/>
              <a:gd name="connsiteX7" fmla="*/ 566419 w 2392720"/>
              <a:gd name="connsiteY7" fmla="*/ 620075 h 1489980"/>
              <a:gd name="connsiteX8" fmla="*/ 1120943 w 2392720"/>
              <a:gd name="connsiteY8" fmla="*/ 218202 h 1489980"/>
              <a:gd name="connsiteX9" fmla="*/ 1647730 w 2392720"/>
              <a:gd name="connsiteY9" fmla="*/ 0 h 1489980"/>
              <a:gd name="connsiteX0" fmla="*/ 1647730 w 2392720"/>
              <a:gd name="connsiteY0" fmla="*/ 0 h 1489980"/>
              <a:gd name="connsiteX1" fmla="*/ 2392720 w 2392720"/>
              <a:gd name="connsiteY1" fmla="*/ 744990 h 1489980"/>
              <a:gd name="connsiteX2" fmla="*/ 1647730 w 2392720"/>
              <a:gd name="connsiteY2" fmla="*/ 1489980 h 1489980"/>
              <a:gd name="connsiteX3" fmla="*/ 1120943 w 2392720"/>
              <a:gd name="connsiteY3" fmla="*/ 1271778 h 1489980"/>
              <a:gd name="connsiteX4" fmla="*/ 571499 w 2392720"/>
              <a:gd name="connsiteY4" fmla="*/ 872443 h 1489980"/>
              <a:gd name="connsiteX5" fmla="*/ 0 w 2392720"/>
              <a:gd name="connsiteY5" fmla="*/ 1284221 h 1489980"/>
              <a:gd name="connsiteX6" fmla="*/ 0 w 2392720"/>
              <a:gd name="connsiteY6" fmla="*/ 205757 h 1489980"/>
              <a:gd name="connsiteX7" fmla="*/ 566419 w 2392720"/>
              <a:gd name="connsiteY7" fmla="*/ 620075 h 1489980"/>
              <a:gd name="connsiteX8" fmla="*/ 1120943 w 2392720"/>
              <a:gd name="connsiteY8" fmla="*/ 218202 h 1489980"/>
              <a:gd name="connsiteX9" fmla="*/ 1647730 w 2392720"/>
              <a:gd name="connsiteY9" fmla="*/ 0 h 1489980"/>
              <a:gd name="connsiteX0" fmla="*/ 1647730 w 2392720"/>
              <a:gd name="connsiteY0" fmla="*/ 0 h 1489980"/>
              <a:gd name="connsiteX1" fmla="*/ 2392720 w 2392720"/>
              <a:gd name="connsiteY1" fmla="*/ 744990 h 1489980"/>
              <a:gd name="connsiteX2" fmla="*/ 1647730 w 2392720"/>
              <a:gd name="connsiteY2" fmla="*/ 1489980 h 1489980"/>
              <a:gd name="connsiteX3" fmla="*/ 1120943 w 2392720"/>
              <a:gd name="connsiteY3" fmla="*/ 1271778 h 1489980"/>
              <a:gd name="connsiteX4" fmla="*/ 571499 w 2392720"/>
              <a:gd name="connsiteY4" fmla="*/ 872443 h 1489980"/>
              <a:gd name="connsiteX5" fmla="*/ 0 w 2392720"/>
              <a:gd name="connsiteY5" fmla="*/ 1284221 h 1489980"/>
              <a:gd name="connsiteX6" fmla="*/ 0 w 2392720"/>
              <a:gd name="connsiteY6" fmla="*/ 205757 h 1489980"/>
              <a:gd name="connsiteX7" fmla="*/ 566419 w 2392720"/>
              <a:gd name="connsiteY7" fmla="*/ 620075 h 1489980"/>
              <a:gd name="connsiteX8" fmla="*/ 1120943 w 2392720"/>
              <a:gd name="connsiteY8" fmla="*/ 218202 h 1489980"/>
              <a:gd name="connsiteX9" fmla="*/ 1647730 w 2392720"/>
              <a:gd name="connsiteY9" fmla="*/ 0 h 1489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92720" h="1489980">
                <a:moveTo>
                  <a:pt x="1647730" y="0"/>
                </a:moveTo>
                <a:cubicBezTo>
                  <a:pt x="2059177" y="0"/>
                  <a:pt x="2392720" y="333543"/>
                  <a:pt x="2392720" y="744990"/>
                </a:cubicBezTo>
                <a:cubicBezTo>
                  <a:pt x="2392720" y="1156437"/>
                  <a:pt x="2059177" y="1489980"/>
                  <a:pt x="1647730" y="1489980"/>
                </a:cubicBezTo>
                <a:cubicBezTo>
                  <a:pt x="1442007" y="1489980"/>
                  <a:pt x="1255759" y="1406594"/>
                  <a:pt x="1120943" y="1271778"/>
                </a:cubicBezTo>
                <a:cubicBezTo>
                  <a:pt x="970815" y="1120886"/>
                  <a:pt x="757187" y="876015"/>
                  <a:pt x="571499" y="872443"/>
                </a:cubicBezTo>
                <a:cubicBezTo>
                  <a:pt x="377924" y="868719"/>
                  <a:pt x="125729" y="1121986"/>
                  <a:pt x="0" y="1284221"/>
                </a:cubicBezTo>
                <a:lnTo>
                  <a:pt x="0" y="205757"/>
                </a:lnTo>
                <a:cubicBezTo>
                  <a:pt x="160021" y="352752"/>
                  <a:pt x="357284" y="622988"/>
                  <a:pt x="566419" y="620075"/>
                </a:cubicBezTo>
                <a:cubicBezTo>
                  <a:pt x="753243" y="622149"/>
                  <a:pt x="981365" y="364728"/>
                  <a:pt x="1120943" y="218202"/>
                </a:cubicBezTo>
                <a:cubicBezTo>
                  <a:pt x="1255759" y="83386"/>
                  <a:pt x="1442007" y="0"/>
                  <a:pt x="1647730" y="0"/>
                </a:cubicBezTo>
                <a:close/>
              </a:path>
            </a:pathLst>
          </a:custGeom>
          <a:solidFill>
            <a:srgbClr val="FFF3B9"/>
          </a:solidFill>
          <a:ln w="25400" cap="flat" cmpd="sng" algn="ctr">
            <a:noFill/>
            <a:prstDash val="solid"/>
          </a:ln>
          <a:effectLst/>
        </p:spPr>
        <p:txBody>
          <a:bodyPr spcFirstLastPara="0" vert="horz" wrap="square" lIns="239157" tIns="239157" rIns="239157" bIns="239157" numCol="1" spcCol="1270" anchor="ctr" anchorCtr="0">
            <a:noAutofit/>
          </a:bodyPr>
          <a:lstStyle/>
          <a:p>
            <a:pPr marL="0" marR="0" lvl="0" indent="0" algn="ctr" defTabSz="1466850" eaLnBrk="1" fontAlgn="auto" latinLnBrk="0" hangingPunct="1">
              <a:lnSpc>
                <a:spcPct val="90000"/>
              </a:lnSpc>
              <a:spcBef>
                <a:spcPts val="0"/>
              </a:spcBef>
              <a:spcAft>
                <a:spcPct val="35000"/>
              </a:spcAft>
              <a:buClrTx/>
              <a:buSzTx/>
              <a:buFontTx/>
              <a:buNone/>
              <a:tabLst/>
              <a:defRPr/>
            </a:pPr>
            <a:endParaRPr kumimoji="0" lang="en-GB" sz="3300" b="0" i="0" u="none" strike="noStrike" kern="0" cap="none" spc="0" normalizeH="0" baseline="0" noProof="0">
              <a:ln>
                <a:noFill/>
              </a:ln>
              <a:solidFill>
                <a:srgbClr val="646464"/>
              </a:solidFill>
              <a:effectLst/>
              <a:uLnTx/>
              <a:uFillTx/>
              <a:latin typeface="EYInterstate Light"/>
              <a:ea typeface="+mn-ea"/>
              <a:cs typeface="+mn-cs"/>
            </a:endParaRPr>
          </a:p>
        </p:txBody>
      </p:sp>
      <p:sp>
        <p:nvSpPr>
          <p:cNvPr id="103" name="Freeform 32">
            <a:extLst>
              <a:ext uri="{FF2B5EF4-FFF2-40B4-BE49-F238E27FC236}">
                <a16:creationId xmlns:a16="http://schemas.microsoft.com/office/drawing/2014/main" id="{7D7B1F05-F9D2-4C76-BB55-B1761079092D}"/>
              </a:ext>
            </a:extLst>
          </p:cNvPr>
          <p:cNvSpPr/>
          <p:nvPr/>
        </p:nvSpPr>
        <p:spPr>
          <a:xfrm>
            <a:off x="6920300" y="2405435"/>
            <a:ext cx="900000" cy="900000"/>
          </a:xfrm>
          <a:custGeom>
            <a:avLst/>
            <a:gdLst>
              <a:gd name="connsiteX0" fmla="*/ 0 w 1489979"/>
              <a:gd name="connsiteY0" fmla="*/ 744990 h 1489979"/>
              <a:gd name="connsiteX1" fmla="*/ 744990 w 1489979"/>
              <a:gd name="connsiteY1" fmla="*/ 0 h 1489979"/>
              <a:gd name="connsiteX2" fmla="*/ 1489980 w 1489979"/>
              <a:gd name="connsiteY2" fmla="*/ 744990 h 1489979"/>
              <a:gd name="connsiteX3" fmla="*/ 744990 w 1489979"/>
              <a:gd name="connsiteY3" fmla="*/ 1489980 h 1489979"/>
              <a:gd name="connsiteX4" fmla="*/ 0 w 1489979"/>
              <a:gd name="connsiteY4" fmla="*/ 744990 h 14899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89979" h="1489979">
                <a:moveTo>
                  <a:pt x="0" y="744990"/>
                </a:moveTo>
                <a:cubicBezTo>
                  <a:pt x="0" y="333543"/>
                  <a:pt x="333543" y="0"/>
                  <a:pt x="744990" y="0"/>
                </a:cubicBezTo>
                <a:cubicBezTo>
                  <a:pt x="1156437" y="0"/>
                  <a:pt x="1489980" y="333543"/>
                  <a:pt x="1489980" y="744990"/>
                </a:cubicBezTo>
                <a:cubicBezTo>
                  <a:pt x="1489980" y="1156437"/>
                  <a:pt x="1156437" y="1489980"/>
                  <a:pt x="744990" y="1489980"/>
                </a:cubicBezTo>
                <a:cubicBezTo>
                  <a:pt x="333543" y="1489980"/>
                  <a:pt x="0" y="1156437"/>
                  <a:pt x="0" y="744990"/>
                </a:cubicBezTo>
                <a:close/>
              </a:path>
            </a:pathLst>
          </a:custGeom>
          <a:solidFill>
            <a:srgbClr val="FFFFFF"/>
          </a:solidFill>
          <a:ln w="25400" cap="flat" cmpd="sng" algn="ctr">
            <a:noFill/>
            <a:prstDash val="solid"/>
          </a:ln>
          <a:effectLst/>
        </p:spPr>
        <p:txBody>
          <a:bodyPr spcFirstLastPara="0" vert="horz" wrap="square" lIns="239157" tIns="239157" rIns="239157" bIns="239157" numCol="1" spcCol="1270" anchor="ctr" anchorCtr="0">
            <a:noAutofit/>
          </a:bodyPr>
          <a:lstStyle/>
          <a:p>
            <a:pPr marL="0" marR="0" lvl="0" indent="0" algn="ctr" defTabSz="1466850" eaLnBrk="1" fontAlgn="auto" latinLnBrk="0" hangingPunct="1">
              <a:lnSpc>
                <a:spcPct val="90000"/>
              </a:lnSpc>
              <a:spcBef>
                <a:spcPts val="0"/>
              </a:spcBef>
              <a:spcAft>
                <a:spcPct val="35000"/>
              </a:spcAft>
              <a:buClrTx/>
              <a:buSzTx/>
              <a:buFontTx/>
              <a:buNone/>
              <a:tabLst/>
              <a:defRPr/>
            </a:pPr>
            <a:endParaRPr kumimoji="0" lang="en-GB" sz="3300" b="0" i="0" u="none" strike="noStrike" kern="0" cap="none" spc="0" normalizeH="0" baseline="0" noProof="0">
              <a:ln>
                <a:noFill/>
              </a:ln>
              <a:solidFill>
                <a:srgbClr val="646464"/>
              </a:solidFill>
              <a:effectLst/>
              <a:uLnTx/>
              <a:uFillTx/>
              <a:latin typeface="EYInterstate Light"/>
              <a:ea typeface="+mn-ea"/>
              <a:cs typeface="+mn-cs"/>
            </a:endParaRPr>
          </a:p>
        </p:txBody>
      </p:sp>
      <p:sp>
        <p:nvSpPr>
          <p:cNvPr id="104" name="Freeform 34">
            <a:extLst>
              <a:ext uri="{FF2B5EF4-FFF2-40B4-BE49-F238E27FC236}">
                <a16:creationId xmlns:a16="http://schemas.microsoft.com/office/drawing/2014/main" id="{AE8B3E0A-AD29-4B77-964F-A7BFAAC71E7E}"/>
              </a:ext>
            </a:extLst>
          </p:cNvPr>
          <p:cNvSpPr/>
          <p:nvPr/>
        </p:nvSpPr>
        <p:spPr>
          <a:xfrm>
            <a:off x="5151564" y="2412728"/>
            <a:ext cx="900000" cy="900000"/>
          </a:xfrm>
          <a:custGeom>
            <a:avLst/>
            <a:gdLst>
              <a:gd name="connsiteX0" fmla="*/ 0 w 1489979"/>
              <a:gd name="connsiteY0" fmla="*/ 744990 h 1489979"/>
              <a:gd name="connsiteX1" fmla="*/ 744990 w 1489979"/>
              <a:gd name="connsiteY1" fmla="*/ 0 h 1489979"/>
              <a:gd name="connsiteX2" fmla="*/ 1489980 w 1489979"/>
              <a:gd name="connsiteY2" fmla="*/ 744990 h 1489979"/>
              <a:gd name="connsiteX3" fmla="*/ 744990 w 1489979"/>
              <a:gd name="connsiteY3" fmla="*/ 1489980 h 1489979"/>
              <a:gd name="connsiteX4" fmla="*/ 0 w 1489979"/>
              <a:gd name="connsiteY4" fmla="*/ 744990 h 14899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89979" h="1489979">
                <a:moveTo>
                  <a:pt x="0" y="744990"/>
                </a:moveTo>
                <a:cubicBezTo>
                  <a:pt x="0" y="333543"/>
                  <a:pt x="333543" y="0"/>
                  <a:pt x="744990" y="0"/>
                </a:cubicBezTo>
                <a:cubicBezTo>
                  <a:pt x="1156437" y="0"/>
                  <a:pt x="1489980" y="333543"/>
                  <a:pt x="1489980" y="744990"/>
                </a:cubicBezTo>
                <a:cubicBezTo>
                  <a:pt x="1489980" y="1156437"/>
                  <a:pt x="1156437" y="1489980"/>
                  <a:pt x="744990" y="1489980"/>
                </a:cubicBezTo>
                <a:cubicBezTo>
                  <a:pt x="333543" y="1489980"/>
                  <a:pt x="0" y="1156437"/>
                  <a:pt x="0" y="744990"/>
                </a:cubicBezTo>
                <a:close/>
              </a:path>
            </a:pathLst>
          </a:custGeom>
          <a:solidFill>
            <a:srgbClr val="FFFFFF"/>
          </a:solidFill>
          <a:ln w="25400" cap="flat" cmpd="sng" algn="ctr">
            <a:noFill/>
            <a:prstDash val="solid"/>
          </a:ln>
          <a:effectLst/>
        </p:spPr>
        <p:txBody>
          <a:bodyPr spcFirstLastPara="0" vert="horz" wrap="square" lIns="239157" tIns="239157" rIns="239157" bIns="239157" numCol="1" spcCol="1270" anchor="ctr" anchorCtr="0">
            <a:noAutofit/>
          </a:bodyPr>
          <a:lstStyle/>
          <a:p>
            <a:pPr marL="0" marR="0" lvl="0" indent="0" algn="ctr" defTabSz="1466850" eaLnBrk="1" fontAlgn="auto" latinLnBrk="0" hangingPunct="1">
              <a:lnSpc>
                <a:spcPct val="90000"/>
              </a:lnSpc>
              <a:spcBef>
                <a:spcPts val="0"/>
              </a:spcBef>
              <a:spcAft>
                <a:spcPct val="35000"/>
              </a:spcAft>
              <a:buClrTx/>
              <a:buSzTx/>
              <a:buFontTx/>
              <a:buNone/>
              <a:tabLst/>
              <a:defRPr/>
            </a:pPr>
            <a:endParaRPr kumimoji="0" lang="en-GB" sz="3300" b="0" i="0" u="none" strike="noStrike" kern="0" cap="none" spc="0" normalizeH="0" baseline="0" noProof="0">
              <a:ln>
                <a:noFill/>
              </a:ln>
              <a:solidFill>
                <a:srgbClr val="646464"/>
              </a:solidFill>
              <a:effectLst/>
              <a:uLnTx/>
              <a:uFillTx/>
              <a:latin typeface="EYInterstate Light"/>
              <a:ea typeface="+mn-ea"/>
              <a:cs typeface="+mn-cs"/>
            </a:endParaRPr>
          </a:p>
        </p:txBody>
      </p:sp>
      <p:sp>
        <p:nvSpPr>
          <p:cNvPr id="105" name="Freeform 36">
            <a:extLst>
              <a:ext uri="{FF2B5EF4-FFF2-40B4-BE49-F238E27FC236}">
                <a16:creationId xmlns:a16="http://schemas.microsoft.com/office/drawing/2014/main" id="{43CCFA16-7BED-43E4-8095-365CF95BFAC6}"/>
              </a:ext>
            </a:extLst>
          </p:cNvPr>
          <p:cNvSpPr/>
          <p:nvPr/>
        </p:nvSpPr>
        <p:spPr>
          <a:xfrm>
            <a:off x="4243038" y="3962087"/>
            <a:ext cx="900000" cy="900000"/>
          </a:xfrm>
          <a:custGeom>
            <a:avLst/>
            <a:gdLst>
              <a:gd name="connsiteX0" fmla="*/ 0 w 1489979"/>
              <a:gd name="connsiteY0" fmla="*/ 744990 h 1489979"/>
              <a:gd name="connsiteX1" fmla="*/ 744990 w 1489979"/>
              <a:gd name="connsiteY1" fmla="*/ 0 h 1489979"/>
              <a:gd name="connsiteX2" fmla="*/ 1489980 w 1489979"/>
              <a:gd name="connsiteY2" fmla="*/ 744990 h 1489979"/>
              <a:gd name="connsiteX3" fmla="*/ 744990 w 1489979"/>
              <a:gd name="connsiteY3" fmla="*/ 1489980 h 1489979"/>
              <a:gd name="connsiteX4" fmla="*/ 0 w 1489979"/>
              <a:gd name="connsiteY4" fmla="*/ 744990 h 14899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89979" h="1489979">
                <a:moveTo>
                  <a:pt x="0" y="744990"/>
                </a:moveTo>
                <a:cubicBezTo>
                  <a:pt x="0" y="333543"/>
                  <a:pt x="333543" y="0"/>
                  <a:pt x="744990" y="0"/>
                </a:cubicBezTo>
                <a:cubicBezTo>
                  <a:pt x="1156437" y="0"/>
                  <a:pt x="1489980" y="333543"/>
                  <a:pt x="1489980" y="744990"/>
                </a:cubicBezTo>
                <a:cubicBezTo>
                  <a:pt x="1489980" y="1156437"/>
                  <a:pt x="1156437" y="1489980"/>
                  <a:pt x="744990" y="1489980"/>
                </a:cubicBezTo>
                <a:cubicBezTo>
                  <a:pt x="333543" y="1489980"/>
                  <a:pt x="0" y="1156437"/>
                  <a:pt x="0" y="744990"/>
                </a:cubicBezTo>
                <a:close/>
              </a:path>
            </a:pathLst>
          </a:custGeom>
          <a:solidFill>
            <a:srgbClr val="FFFFFF"/>
          </a:solidFill>
          <a:ln w="25400" cap="flat" cmpd="sng" algn="ctr">
            <a:noFill/>
            <a:prstDash val="solid"/>
          </a:ln>
          <a:effectLst/>
        </p:spPr>
        <p:txBody>
          <a:bodyPr spcFirstLastPara="0" vert="horz" wrap="square" lIns="239157" tIns="239157" rIns="239157" bIns="239157" numCol="1" spcCol="1270" anchor="ctr" anchorCtr="0">
            <a:noAutofit/>
          </a:bodyPr>
          <a:lstStyle/>
          <a:p>
            <a:pPr marL="0" marR="0" lvl="0" indent="0" algn="ctr" defTabSz="1466850" eaLnBrk="1" fontAlgn="auto" latinLnBrk="0" hangingPunct="1">
              <a:lnSpc>
                <a:spcPct val="90000"/>
              </a:lnSpc>
              <a:spcBef>
                <a:spcPts val="0"/>
              </a:spcBef>
              <a:spcAft>
                <a:spcPct val="35000"/>
              </a:spcAft>
              <a:buClrTx/>
              <a:buSzTx/>
              <a:buFontTx/>
              <a:buNone/>
              <a:tabLst/>
              <a:defRPr/>
            </a:pPr>
            <a:endParaRPr kumimoji="0" lang="en-GB" sz="3300" b="0" i="0" u="none" strike="noStrike" kern="0" cap="none" spc="0" normalizeH="0" baseline="0" noProof="0">
              <a:ln>
                <a:noFill/>
              </a:ln>
              <a:solidFill>
                <a:srgbClr val="646464"/>
              </a:solidFill>
              <a:effectLst/>
              <a:uLnTx/>
              <a:uFillTx/>
              <a:latin typeface="EYInterstate Light"/>
              <a:ea typeface="+mn-ea"/>
              <a:cs typeface="+mn-cs"/>
            </a:endParaRPr>
          </a:p>
        </p:txBody>
      </p:sp>
      <p:sp>
        <p:nvSpPr>
          <p:cNvPr id="106" name="Freeform 38">
            <a:extLst>
              <a:ext uri="{FF2B5EF4-FFF2-40B4-BE49-F238E27FC236}">
                <a16:creationId xmlns:a16="http://schemas.microsoft.com/office/drawing/2014/main" id="{0E716EA6-3163-4E20-8CF6-EE784D2FD4CA}"/>
              </a:ext>
            </a:extLst>
          </p:cNvPr>
          <p:cNvSpPr/>
          <p:nvPr/>
        </p:nvSpPr>
        <p:spPr>
          <a:xfrm>
            <a:off x="5133322" y="5506903"/>
            <a:ext cx="900000" cy="900000"/>
          </a:xfrm>
          <a:custGeom>
            <a:avLst/>
            <a:gdLst>
              <a:gd name="connsiteX0" fmla="*/ 0 w 1489979"/>
              <a:gd name="connsiteY0" fmla="*/ 744990 h 1489979"/>
              <a:gd name="connsiteX1" fmla="*/ 744990 w 1489979"/>
              <a:gd name="connsiteY1" fmla="*/ 0 h 1489979"/>
              <a:gd name="connsiteX2" fmla="*/ 1489980 w 1489979"/>
              <a:gd name="connsiteY2" fmla="*/ 744990 h 1489979"/>
              <a:gd name="connsiteX3" fmla="*/ 744990 w 1489979"/>
              <a:gd name="connsiteY3" fmla="*/ 1489980 h 1489979"/>
              <a:gd name="connsiteX4" fmla="*/ 0 w 1489979"/>
              <a:gd name="connsiteY4" fmla="*/ 744990 h 14899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89979" h="1489979">
                <a:moveTo>
                  <a:pt x="0" y="744990"/>
                </a:moveTo>
                <a:cubicBezTo>
                  <a:pt x="0" y="333543"/>
                  <a:pt x="333543" y="0"/>
                  <a:pt x="744990" y="0"/>
                </a:cubicBezTo>
                <a:cubicBezTo>
                  <a:pt x="1156437" y="0"/>
                  <a:pt x="1489980" y="333543"/>
                  <a:pt x="1489980" y="744990"/>
                </a:cubicBezTo>
                <a:cubicBezTo>
                  <a:pt x="1489980" y="1156437"/>
                  <a:pt x="1156437" y="1489980"/>
                  <a:pt x="744990" y="1489980"/>
                </a:cubicBezTo>
                <a:cubicBezTo>
                  <a:pt x="333543" y="1489980"/>
                  <a:pt x="0" y="1156437"/>
                  <a:pt x="0" y="744990"/>
                </a:cubicBezTo>
                <a:close/>
              </a:path>
            </a:pathLst>
          </a:custGeom>
          <a:solidFill>
            <a:srgbClr val="FFFFFF"/>
          </a:solidFill>
          <a:ln w="25400" cap="flat" cmpd="sng" algn="ctr">
            <a:noFill/>
            <a:prstDash val="solid"/>
          </a:ln>
          <a:effectLst/>
        </p:spPr>
        <p:txBody>
          <a:bodyPr spcFirstLastPara="0" vert="horz" wrap="square" lIns="239157" tIns="239157" rIns="239157" bIns="239157" numCol="1" spcCol="1270" anchor="ctr" anchorCtr="0">
            <a:noAutofit/>
          </a:bodyPr>
          <a:lstStyle/>
          <a:p>
            <a:pPr marL="0" marR="0" lvl="0" indent="0" algn="ctr" defTabSz="1466850" eaLnBrk="1" fontAlgn="auto" latinLnBrk="0" hangingPunct="1">
              <a:lnSpc>
                <a:spcPct val="90000"/>
              </a:lnSpc>
              <a:spcBef>
                <a:spcPts val="0"/>
              </a:spcBef>
              <a:spcAft>
                <a:spcPct val="35000"/>
              </a:spcAft>
              <a:buClrTx/>
              <a:buSzTx/>
              <a:buFontTx/>
              <a:buNone/>
              <a:tabLst/>
              <a:defRPr/>
            </a:pPr>
            <a:endParaRPr kumimoji="0" lang="en-GB" sz="3300" b="0" i="0" u="none" strike="noStrike" kern="0" cap="none" spc="0" normalizeH="0" baseline="0" noProof="0">
              <a:ln>
                <a:noFill/>
              </a:ln>
              <a:solidFill>
                <a:srgbClr val="646464"/>
              </a:solidFill>
              <a:effectLst/>
              <a:uLnTx/>
              <a:uFillTx/>
              <a:latin typeface="EYInterstate Light"/>
              <a:ea typeface="+mn-ea"/>
              <a:cs typeface="+mn-cs"/>
            </a:endParaRPr>
          </a:p>
        </p:txBody>
      </p:sp>
      <p:sp>
        <p:nvSpPr>
          <p:cNvPr id="107" name="Freeform 40">
            <a:extLst>
              <a:ext uri="{FF2B5EF4-FFF2-40B4-BE49-F238E27FC236}">
                <a16:creationId xmlns:a16="http://schemas.microsoft.com/office/drawing/2014/main" id="{0C258FB9-536C-4149-97AA-10D9A7ECF5CF}"/>
              </a:ext>
            </a:extLst>
          </p:cNvPr>
          <p:cNvSpPr/>
          <p:nvPr/>
        </p:nvSpPr>
        <p:spPr>
          <a:xfrm>
            <a:off x="6932069" y="5488379"/>
            <a:ext cx="900000" cy="900000"/>
          </a:xfrm>
          <a:custGeom>
            <a:avLst/>
            <a:gdLst>
              <a:gd name="connsiteX0" fmla="*/ 0 w 1489979"/>
              <a:gd name="connsiteY0" fmla="*/ 744990 h 1489979"/>
              <a:gd name="connsiteX1" fmla="*/ 744990 w 1489979"/>
              <a:gd name="connsiteY1" fmla="*/ 0 h 1489979"/>
              <a:gd name="connsiteX2" fmla="*/ 1489980 w 1489979"/>
              <a:gd name="connsiteY2" fmla="*/ 744990 h 1489979"/>
              <a:gd name="connsiteX3" fmla="*/ 744990 w 1489979"/>
              <a:gd name="connsiteY3" fmla="*/ 1489980 h 1489979"/>
              <a:gd name="connsiteX4" fmla="*/ 0 w 1489979"/>
              <a:gd name="connsiteY4" fmla="*/ 744990 h 14899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89979" h="1489979">
                <a:moveTo>
                  <a:pt x="0" y="744990"/>
                </a:moveTo>
                <a:cubicBezTo>
                  <a:pt x="0" y="333543"/>
                  <a:pt x="333543" y="0"/>
                  <a:pt x="744990" y="0"/>
                </a:cubicBezTo>
                <a:cubicBezTo>
                  <a:pt x="1156437" y="0"/>
                  <a:pt x="1489980" y="333543"/>
                  <a:pt x="1489980" y="744990"/>
                </a:cubicBezTo>
                <a:cubicBezTo>
                  <a:pt x="1489980" y="1156437"/>
                  <a:pt x="1156437" y="1489980"/>
                  <a:pt x="744990" y="1489980"/>
                </a:cubicBezTo>
                <a:cubicBezTo>
                  <a:pt x="333543" y="1489980"/>
                  <a:pt x="0" y="1156437"/>
                  <a:pt x="0" y="744990"/>
                </a:cubicBezTo>
                <a:close/>
              </a:path>
            </a:pathLst>
          </a:custGeom>
          <a:solidFill>
            <a:srgbClr val="FFFFFF"/>
          </a:solidFill>
          <a:ln w="25400" cap="flat" cmpd="sng" algn="ctr">
            <a:noFill/>
            <a:prstDash val="solid"/>
          </a:ln>
          <a:effectLst/>
        </p:spPr>
        <p:txBody>
          <a:bodyPr spcFirstLastPara="0" vert="horz" wrap="square" lIns="239157" tIns="239157" rIns="239157" bIns="239157" numCol="1" spcCol="1270" anchor="ctr" anchorCtr="0">
            <a:noAutofit/>
          </a:bodyPr>
          <a:lstStyle/>
          <a:p>
            <a:pPr marL="0" marR="0" lvl="0" indent="0" algn="ctr" defTabSz="1466850" eaLnBrk="1" fontAlgn="auto" latinLnBrk="0" hangingPunct="1">
              <a:lnSpc>
                <a:spcPct val="90000"/>
              </a:lnSpc>
              <a:spcBef>
                <a:spcPts val="0"/>
              </a:spcBef>
              <a:spcAft>
                <a:spcPct val="35000"/>
              </a:spcAft>
              <a:buClrTx/>
              <a:buSzTx/>
              <a:buFontTx/>
              <a:buNone/>
              <a:tabLst/>
              <a:defRPr/>
            </a:pPr>
            <a:endParaRPr kumimoji="0" lang="en-GB" sz="3300" b="0" i="0" u="none" strike="noStrike" kern="0" cap="none" spc="0" normalizeH="0" baseline="0" noProof="0">
              <a:ln>
                <a:noFill/>
              </a:ln>
              <a:solidFill>
                <a:srgbClr val="646464"/>
              </a:solidFill>
              <a:effectLst/>
              <a:uLnTx/>
              <a:uFillTx/>
              <a:latin typeface="EYInterstate Light"/>
              <a:ea typeface="+mn-ea"/>
              <a:cs typeface="+mn-cs"/>
            </a:endParaRPr>
          </a:p>
        </p:txBody>
      </p:sp>
      <p:sp>
        <p:nvSpPr>
          <p:cNvPr id="110" name="Oval 109">
            <a:extLst>
              <a:ext uri="{FF2B5EF4-FFF2-40B4-BE49-F238E27FC236}">
                <a16:creationId xmlns:a16="http://schemas.microsoft.com/office/drawing/2014/main" id="{08F43D65-10F4-4BCB-9E8D-7C85291B7FF0}"/>
              </a:ext>
            </a:extLst>
          </p:cNvPr>
          <p:cNvSpPr/>
          <p:nvPr/>
        </p:nvSpPr>
        <p:spPr>
          <a:xfrm>
            <a:off x="5537627" y="3439501"/>
            <a:ext cx="1900533" cy="1916608"/>
          </a:xfrm>
          <a:prstGeom prst="ellipse">
            <a:avLst/>
          </a:prstGeom>
          <a:solidFill>
            <a:srgbClr val="FFFFFF"/>
          </a:solidFill>
          <a:ln w="28575" cap="flat" cmpd="sng" algn="ctr">
            <a:solidFill>
              <a:srgbClr val="808080"/>
            </a:solidFill>
            <a:prstDash val="solid"/>
          </a:ln>
          <a:effectLst/>
        </p:spPr>
        <p:txBody>
          <a:bodyPr lIns="0" tIns="0" rIns="0" bIns="0" rtlCol="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1" i="0" u="none" strike="noStrike" kern="0" cap="none" spc="0" normalizeH="0" baseline="0" noProof="0">
              <a:ln>
                <a:noFill/>
              </a:ln>
              <a:solidFill>
                <a:srgbClr val="404040"/>
              </a:solidFill>
              <a:effectLst/>
              <a:uLnTx/>
              <a:uFillTx/>
              <a:latin typeface="EYInterstate Light"/>
              <a:ea typeface="+mn-ea"/>
              <a:cs typeface="+mn-cs"/>
            </a:endParaRPr>
          </a:p>
          <a:p>
            <a:pPr marL="0" marR="0" lvl="0" indent="0" algn="ctr" defTabSz="914400" eaLnBrk="1" fontAlgn="auto" latinLnBrk="0" hangingPunct="1">
              <a:lnSpc>
                <a:spcPct val="100000"/>
              </a:lnSpc>
              <a:spcBef>
                <a:spcPts val="0"/>
              </a:spcBef>
              <a:spcAft>
                <a:spcPts val="600"/>
              </a:spcAft>
              <a:buClrTx/>
              <a:buSzTx/>
              <a:buFontTx/>
              <a:buNone/>
              <a:tabLst/>
              <a:defRPr/>
            </a:pPr>
            <a:endParaRPr kumimoji="0" lang="en-GB" sz="1000" b="1" i="0" u="none" strike="noStrike" kern="0" cap="none" spc="0" normalizeH="0" baseline="0" noProof="0">
              <a:ln>
                <a:noFill/>
              </a:ln>
              <a:solidFill>
                <a:srgbClr val="000000"/>
              </a:solidFill>
              <a:effectLst/>
              <a:uLnTx/>
              <a:uFillTx/>
              <a:latin typeface="EYInterstate Light"/>
              <a:ea typeface="+mn-ea"/>
              <a:cs typeface="+mn-cs"/>
            </a:endParaRPr>
          </a:p>
        </p:txBody>
      </p:sp>
      <p:sp>
        <p:nvSpPr>
          <p:cNvPr id="127" name="Rectangle 126">
            <a:extLst>
              <a:ext uri="{FF2B5EF4-FFF2-40B4-BE49-F238E27FC236}">
                <a16:creationId xmlns:a16="http://schemas.microsoft.com/office/drawing/2014/main" id="{D99D3C46-B723-4EA8-838E-1616299E49C0}"/>
              </a:ext>
            </a:extLst>
          </p:cNvPr>
          <p:cNvSpPr/>
          <p:nvPr/>
        </p:nvSpPr>
        <p:spPr>
          <a:xfrm>
            <a:off x="4166967" y="3901755"/>
            <a:ext cx="1062833" cy="1062342"/>
          </a:xfrm>
          <a:prstGeom prst="rect">
            <a:avLst/>
          </a:prstGeom>
          <a:noFill/>
          <a:ln w="9525" cap="flat" cmpd="sng" algn="ctr">
            <a:noFill/>
            <a:prstDash val="solid"/>
          </a:ln>
          <a:effectLst/>
        </p:spPr>
        <p:txBody>
          <a:bodyPr rtlCol="0" anchor="t" anchorCtr="0">
            <a:prstTxWarp prst="textArchUp">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EYInterstate Light"/>
                <a:ea typeface="+mn-ea"/>
                <a:cs typeface="+mn-cs"/>
              </a:rPr>
              <a:t>Existing Policy Information</a:t>
            </a:r>
          </a:p>
        </p:txBody>
      </p:sp>
      <p:sp>
        <p:nvSpPr>
          <p:cNvPr id="128" name="Rectangle 127">
            <a:extLst>
              <a:ext uri="{FF2B5EF4-FFF2-40B4-BE49-F238E27FC236}">
                <a16:creationId xmlns:a16="http://schemas.microsoft.com/office/drawing/2014/main" id="{FE32221F-28D0-474A-A610-1B5700E5B823}"/>
              </a:ext>
            </a:extLst>
          </p:cNvPr>
          <p:cNvSpPr/>
          <p:nvPr/>
        </p:nvSpPr>
        <p:spPr>
          <a:xfrm>
            <a:off x="5054106" y="2326101"/>
            <a:ext cx="1062833" cy="1062342"/>
          </a:xfrm>
          <a:prstGeom prst="rect">
            <a:avLst/>
          </a:prstGeom>
          <a:noFill/>
          <a:ln w="9525" cap="flat" cmpd="sng" algn="ctr">
            <a:noFill/>
            <a:prstDash val="solid"/>
          </a:ln>
          <a:effectLst/>
        </p:spPr>
        <p:txBody>
          <a:bodyPr rtlCol="0" anchor="t" anchorCtr="0">
            <a:prstTxWarp prst="textArchUp">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a:ln>
                  <a:noFill/>
                </a:ln>
                <a:solidFill>
                  <a:srgbClr val="FFFFFF"/>
                </a:solidFill>
                <a:effectLst/>
                <a:uLnTx/>
                <a:uFillTx/>
                <a:latin typeface="EYInterstate Light"/>
                <a:ea typeface="+mn-ea"/>
                <a:cs typeface="+mn-cs"/>
              </a:rPr>
              <a:t>Customer Information</a:t>
            </a:r>
          </a:p>
        </p:txBody>
      </p:sp>
      <p:sp>
        <p:nvSpPr>
          <p:cNvPr id="129" name="Rectangle 128">
            <a:extLst>
              <a:ext uri="{FF2B5EF4-FFF2-40B4-BE49-F238E27FC236}">
                <a16:creationId xmlns:a16="http://schemas.microsoft.com/office/drawing/2014/main" id="{8CB75D75-B489-4C8E-9558-FA0AE77E0D6A}"/>
              </a:ext>
            </a:extLst>
          </p:cNvPr>
          <p:cNvSpPr/>
          <p:nvPr/>
        </p:nvSpPr>
        <p:spPr>
          <a:xfrm>
            <a:off x="6852656" y="2330163"/>
            <a:ext cx="1062833" cy="1062342"/>
          </a:xfrm>
          <a:prstGeom prst="rect">
            <a:avLst/>
          </a:prstGeom>
          <a:noFill/>
          <a:ln w="9525" cap="flat" cmpd="sng" algn="ctr">
            <a:noFill/>
            <a:prstDash val="solid"/>
          </a:ln>
          <a:effectLst/>
        </p:spPr>
        <p:txBody>
          <a:bodyPr rtlCol="0" anchor="t" anchorCtr="0">
            <a:prstTxWarp prst="textArchUp">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GB" sz="1000" b="1" kern="0">
                <a:solidFill>
                  <a:srgbClr val="FFFFFF"/>
                </a:solidFill>
                <a:latin typeface="EYInterstate Light"/>
              </a:rPr>
              <a:t>Online</a:t>
            </a:r>
            <a:r>
              <a:rPr kumimoji="0" lang="en-GB" sz="1000" b="1" i="0" u="none" strike="noStrike" kern="0" cap="none" spc="0" normalizeH="0" baseline="0" noProof="0">
                <a:ln>
                  <a:noFill/>
                </a:ln>
                <a:solidFill>
                  <a:srgbClr val="FFFFFF"/>
                </a:solidFill>
                <a:effectLst/>
                <a:uLnTx/>
                <a:uFillTx/>
                <a:latin typeface="EYInterstate Light"/>
                <a:ea typeface="+mn-ea"/>
                <a:cs typeface="+mn-cs"/>
              </a:rPr>
              <a:t> Behaviour</a:t>
            </a:r>
          </a:p>
        </p:txBody>
      </p:sp>
      <p:sp>
        <p:nvSpPr>
          <p:cNvPr id="108" name="Freeform 41">
            <a:extLst>
              <a:ext uri="{FF2B5EF4-FFF2-40B4-BE49-F238E27FC236}">
                <a16:creationId xmlns:a16="http://schemas.microsoft.com/office/drawing/2014/main" id="{3945A2C8-08AE-435C-99B4-42716D1028E2}"/>
              </a:ext>
            </a:extLst>
          </p:cNvPr>
          <p:cNvSpPr/>
          <p:nvPr/>
        </p:nvSpPr>
        <p:spPr>
          <a:xfrm rot="3600000" flipV="1">
            <a:off x="7102848" y="3451096"/>
            <a:ext cx="1999523" cy="1245131"/>
          </a:xfrm>
          <a:custGeom>
            <a:avLst/>
            <a:gdLst>
              <a:gd name="connsiteX0" fmla="*/ 95551 w 2392720"/>
              <a:gd name="connsiteY0" fmla="*/ 1172511 h 1489980"/>
              <a:gd name="connsiteX1" fmla="*/ 115117 w 2392720"/>
              <a:gd name="connsiteY1" fmla="*/ 1150914 h 1489980"/>
              <a:gd name="connsiteX2" fmla="*/ 571499 w 2392720"/>
              <a:gd name="connsiteY2" fmla="*/ 872443 h 1489980"/>
              <a:gd name="connsiteX3" fmla="*/ 1120943 w 2392720"/>
              <a:gd name="connsiteY3" fmla="*/ 1271778 h 1489980"/>
              <a:gd name="connsiteX4" fmla="*/ 1647730 w 2392720"/>
              <a:gd name="connsiteY4" fmla="*/ 1489980 h 1489980"/>
              <a:gd name="connsiteX5" fmla="*/ 2392720 w 2392720"/>
              <a:gd name="connsiteY5" fmla="*/ 744990 h 1489980"/>
              <a:gd name="connsiteX6" fmla="*/ 1647730 w 2392720"/>
              <a:gd name="connsiteY6" fmla="*/ 0 h 1489980"/>
              <a:gd name="connsiteX7" fmla="*/ 1120943 w 2392720"/>
              <a:gd name="connsiteY7" fmla="*/ 218202 h 1489980"/>
              <a:gd name="connsiteX8" fmla="*/ 566419 w 2392720"/>
              <a:gd name="connsiteY8" fmla="*/ 620075 h 1489980"/>
              <a:gd name="connsiteX9" fmla="*/ 61704 w 2392720"/>
              <a:gd name="connsiteY9" fmla="*/ 265883 h 1489980"/>
              <a:gd name="connsiteX10" fmla="*/ 61700 w 2392720"/>
              <a:gd name="connsiteY10" fmla="*/ 265879 h 1489980"/>
              <a:gd name="connsiteX11" fmla="*/ 93353 w 2392720"/>
              <a:gd name="connsiteY11" fmla="*/ 305420 h 1489980"/>
              <a:gd name="connsiteX12" fmla="*/ 134769 w 2392720"/>
              <a:gd name="connsiteY12" fmla="*/ 369463 h 1489980"/>
              <a:gd name="connsiteX13" fmla="*/ 159195 w 2392720"/>
              <a:gd name="connsiteY13" fmla="*/ 1068686 h 1489980"/>
              <a:gd name="connsiteX14" fmla="*/ 0 w 2392720"/>
              <a:gd name="connsiteY14" fmla="*/ 1284221 h 1489980"/>
              <a:gd name="connsiteX15" fmla="*/ 14085 w 2392720"/>
              <a:gd name="connsiteY15" fmla="*/ 1267006 h 1489980"/>
              <a:gd name="connsiteX16" fmla="*/ 0 w 2392720"/>
              <a:gd name="connsiteY16" fmla="*/ 1282242 h 1489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392720" h="1489980">
                <a:moveTo>
                  <a:pt x="95551" y="1172511"/>
                </a:moveTo>
                <a:lnTo>
                  <a:pt x="115117" y="1150914"/>
                </a:lnTo>
                <a:cubicBezTo>
                  <a:pt x="248163" y="1011414"/>
                  <a:pt x="426318" y="869650"/>
                  <a:pt x="571499" y="872443"/>
                </a:cubicBezTo>
                <a:cubicBezTo>
                  <a:pt x="757187" y="876015"/>
                  <a:pt x="970815" y="1120886"/>
                  <a:pt x="1120943" y="1271778"/>
                </a:cubicBezTo>
                <a:cubicBezTo>
                  <a:pt x="1255759" y="1406594"/>
                  <a:pt x="1442007" y="1489980"/>
                  <a:pt x="1647730" y="1489980"/>
                </a:cubicBezTo>
                <a:cubicBezTo>
                  <a:pt x="2059177" y="1489980"/>
                  <a:pt x="2392720" y="1156437"/>
                  <a:pt x="2392720" y="744990"/>
                </a:cubicBezTo>
                <a:cubicBezTo>
                  <a:pt x="2392720" y="333543"/>
                  <a:pt x="2059177" y="0"/>
                  <a:pt x="1647730" y="0"/>
                </a:cubicBezTo>
                <a:cubicBezTo>
                  <a:pt x="1442007" y="0"/>
                  <a:pt x="1255759" y="83386"/>
                  <a:pt x="1120943" y="218202"/>
                </a:cubicBezTo>
                <a:cubicBezTo>
                  <a:pt x="981365" y="364728"/>
                  <a:pt x="753243" y="622149"/>
                  <a:pt x="566419" y="620075"/>
                </a:cubicBezTo>
                <a:cubicBezTo>
                  <a:pt x="383426" y="622624"/>
                  <a:pt x="209522" y="416043"/>
                  <a:pt x="61704" y="265883"/>
                </a:cubicBezTo>
                <a:lnTo>
                  <a:pt x="61700" y="265879"/>
                </a:lnTo>
                <a:lnTo>
                  <a:pt x="93353" y="305420"/>
                </a:lnTo>
                <a:cubicBezTo>
                  <a:pt x="108078" y="325838"/>
                  <a:pt x="121912" y="347193"/>
                  <a:pt x="134769" y="369463"/>
                </a:cubicBezTo>
                <a:cubicBezTo>
                  <a:pt x="263347" y="592166"/>
                  <a:pt x="263874" y="853659"/>
                  <a:pt x="159195" y="1068686"/>
                </a:cubicBezTo>
                <a:close/>
                <a:moveTo>
                  <a:pt x="0" y="1284221"/>
                </a:moveTo>
                <a:lnTo>
                  <a:pt x="14085" y="1267006"/>
                </a:lnTo>
                <a:lnTo>
                  <a:pt x="0" y="1282242"/>
                </a:lnTo>
                <a:close/>
              </a:path>
            </a:pathLst>
          </a:custGeom>
          <a:solidFill>
            <a:srgbClr val="C7EFCE"/>
          </a:solidFill>
          <a:ln w="25400" cap="flat" cmpd="sng" algn="ctr">
            <a:noFill/>
            <a:prstDash val="solid"/>
          </a:ln>
          <a:effectLst/>
        </p:spPr>
        <p:txBody>
          <a:bodyPr spcFirstLastPara="0" vert="horz" wrap="square" lIns="239157" tIns="239157" rIns="239157" bIns="239157" numCol="1" spcCol="1270" anchor="ctr" anchorCtr="0">
            <a:noAutofit/>
          </a:bodyPr>
          <a:lstStyle/>
          <a:p>
            <a:pPr marL="0" marR="0" lvl="0" indent="0" algn="ctr" defTabSz="1466850" eaLnBrk="1" fontAlgn="auto" latinLnBrk="0" hangingPunct="1">
              <a:lnSpc>
                <a:spcPct val="90000"/>
              </a:lnSpc>
              <a:spcBef>
                <a:spcPts val="0"/>
              </a:spcBef>
              <a:spcAft>
                <a:spcPct val="35000"/>
              </a:spcAft>
              <a:buClrTx/>
              <a:buSzTx/>
              <a:buFontTx/>
              <a:buNone/>
              <a:tabLst/>
              <a:defRPr/>
            </a:pPr>
            <a:endParaRPr kumimoji="0" lang="en-GB" sz="3300" b="0" i="0" u="none" strike="noStrike" kern="0" cap="none" spc="0" normalizeH="0" baseline="0" noProof="0">
              <a:ln>
                <a:noFill/>
              </a:ln>
              <a:solidFill>
                <a:srgbClr val="646464"/>
              </a:solidFill>
              <a:effectLst/>
              <a:uLnTx/>
              <a:uFillTx/>
              <a:latin typeface="EYInterstate Light"/>
              <a:ea typeface="+mn-ea"/>
              <a:cs typeface="+mn-cs"/>
            </a:endParaRPr>
          </a:p>
        </p:txBody>
      </p:sp>
      <p:sp>
        <p:nvSpPr>
          <p:cNvPr id="130" name="Rectangle 129">
            <a:extLst>
              <a:ext uri="{FF2B5EF4-FFF2-40B4-BE49-F238E27FC236}">
                <a16:creationId xmlns:a16="http://schemas.microsoft.com/office/drawing/2014/main" id="{CC0426A8-C38B-403F-B9BF-201561B92762}"/>
              </a:ext>
            </a:extLst>
          </p:cNvPr>
          <p:cNvSpPr/>
          <p:nvPr/>
        </p:nvSpPr>
        <p:spPr>
          <a:xfrm>
            <a:off x="7755224" y="3913068"/>
            <a:ext cx="1062833" cy="1062342"/>
          </a:xfrm>
          <a:prstGeom prst="rect">
            <a:avLst/>
          </a:prstGeom>
          <a:noFill/>
          <a:ln w="9525" cap="flat" cmpd="sng" algn="ctr">
            <a:noFill/>
            <a:prstDash val="solid"/>
          </a:ln>
          <a:effectLst/>
        </p:spPr>
        <p:txBody>
          <a:bodyPr rtlCol="0" anchor="t" anchorCtr="0">
            <a:prstTxWarp prst="textArchUp">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GB" sz="1000" b="1" kern="0">
                <a:solidFill>
                  <a:srgbClr val="FFFFFF"/>
                </a:solidFill>
                <a:latin typeface="EYInterstate Light"/>
              </a:rPr>
              <a:t>Banking Information</a:t>
            </a:r>
            <a:endParaRPr kumimoji="0" lang="en-GB" sz="1000" b="1" i="0" u="none" strike="noStrike" kern="0" cap="none" spc="0" normalizeH="0" baseline="0" noProof="0">
              <a:ln>
                <a:noFill/>
              </a:ln>
              <a:solidFill>
                <a:srgbClr val="FFFFFF"/>
              </a:solidFill>
              <a:effectLst/>
              <a:uLnTx/>
              <a:uFillTx/>
              <a:latin typeface="EYInterstate Light"/>
              <a:ea typeface="+mn-ea"/>
              <a:cs typeface="+mn-cs"/>
            </a:endParaRPr>
          </a:p>
        </p:txBody>
      </p:sp>
      <p:grpSp>
        <p:nvGrpSpPr>
          <p:cNvPr id="135" name="Group 134">
            <a:extLst>
              <a:ext uri="{FF2B5EF4-FFF2-40B4-BE49-F238E27FC236}">
                <a16:creationId xmlns:a16="http://schemas.microsoft.com/office/drawing/2014/main" id="{65AB50F3-7554-4010-B03B-DC7FC45072B6}"/>
              </a:ext>
            </a:extLst>
          </p:cNvPr>
          <p:cNvGrpSpPr/>
          <p:nvPr/>
        </p:nvGrpSpPr>
        <p:grpSpPr>
          <a:xfrm>
            <a:off x="5270284" y="2526599"/>
            <a:ext cx="616652" cy="616652"/>
            <a:chOff x="-1465263" y="3946525"/>
            <a:chExt cx="1206500" cy="1206500"/>
          </a:xfrm>
          <a:solidFill>
            <a:srgbClr val="00A3AE"/>
          </a:solidFill>
        </p:grpSpPr>
        <p:sp>
          <p:nvSpPr>
            <p:cNvPr id="136" name="Freeform 33">
              <a:extLst>
                <a:ext uri="{FF2B5EF4-FFF2-40B4-BE49-F238E27FC236}">
                  <a16:creationId xmlns:a16="http://schemas.microsoft.com/office/drawing/2014/main" id="{B05D55EC-35F2-4D51-98BA-FC791C23A339}"/>
                </a:ext>
              </a:extLst>
            </p:cNvPr>
            <p:cNvSpPr>
              <a:spLocks noEditPoints="1"/>
            </p:cNvSpPr>
            <p:nvPr/>
          </p:nvSpPr>
          <p:spPr bwMode="auto">
            <a:xfrm>
              <a:off x="-1465263" y="3946525"/>
              <a:ext cx="1206500" cy="1206500"/>
            </a:xfrm>
            <a:custGeom>
              <a:avLst/>
              <a:gdLst>
                <a:gd name="T0" fmla="*/ 964 w 2048"/>
                <a:gd name="T1" fmla="*/ 0 h 2048"/>
                <a:gd name="T2" fmla="*/ 1088 w 2048"/>
                <a:gd name="T3" fmla="*/ 0 h 2048"/>
                <a:gd name="T4" fmla="*/ 1105 w 2048"/>
                <a:gd name="T5" fmla="*/ 3 h 2048"/>
                <a:gd name="T6" fmla="*/ 1336 w 2048"/>
                <a:gd name="T7" fmla="*/ 49 h 2048"/>
                <a:gd name="T8" fmla="*/ 2032 w 2048"/>
                <a:gd name="T9" fmla="*/ 850 h 2048"/>
                <a:gd name="T10" fmla="*/ 2048 w 2048"/>
                <a:gd name="T11" fmla="*/ 960 h 2048"/>
                <a:gd name="T12" fmla="*/ 2048 w 2048"/>
                <a:gd name="T13" fmla="*/ 1084 h 2048"/>
                <a:gd name="T14" fmla="*/ 2045 w 2048"/>
                <a:gd name="T15" fmla="*/ 1103 h 2048"/>
                <a:gd name="T16" fmla="*/ 1979 w 2048"/>
                <a:gd name="T17" fmla="*/ 1392 h 2048"/>
                <a:gd name="T18" fmla="*/ 1198 w 2048"/>
                <a:gd name="T19" fmla="*/ 2032 h 2048"/>
                <a:gd name="T20" fmla="*/ 1084 w 2048"/>
                <a:gd name="T21" fmla="*/ 2048 h 2048"/>
                <a:gd name="T22" fmla="*/ 964 w 2048"/>
                <a:gd name="T23" fmla="*/ 2048 h 2048"/>
                <a:gd name="T24" fmla="*/ 949 w 2048"/>
                <a:gd name="T25" fmla="*/ 2045 h 2048"/>
                <a:gd name="T26" fmla="*/ 586 w 2048"/>
                <a:gd name="T27" fmla="*/ 1949 h 2048"/>
                <a:gd name="T28" fmla="*/ 16 w 2048"/>
                <a:gd name="T29" fmla="*/ 1200 h 2048"/>
                <a:gd name="T30" fmla="*/ 0 w 2048"/>
                <a:gd name="T31" fmla="*/ 1084 h 2048"/>
                <a:gd name="T32" fmla="*/ 0 w 2048"/>
                <a:gd name="T33" fmla="*/ 964 h 2048"/>
                <a:gd name="T34" fmla="*/ 3 w 2048"/>
                <a:gd name="T35" fmla="*/ 947 h 2048"/>
                <a:gd name="T36" fmla="*/ 121 w 2048"/>
                <a:gd name="T37" fmla="*/ 542 h 2048"/>
                <a:gd name="T38" fmla="*/ 848 w 2048"/>
                <a:gd name="T39" fmla="*/ 16 h 2048"/>
                <a:gd name="T40" fmla="*/ 964 w 2048"/>
                <a:gd name="T41" fmla="*/ 0 h 2048"/>
                <a:gd name="T42" fmla="*/ 85 w 2048"/>
                <a:gd name="T43" fmla="*/ 1064 h 2048"/>
                <a:gd name="T44" fmla="*/ 984 w 2048"/>
                <a:gd name="T45" fmla="*/ 1962 h 2048"/>
                <a:gd name="T46" fmla="*/ 984 w 2048"/>
                <a:gd name="T47" fmla="*/ 1763 h 2048"/>
                <a:gd name="T48" fmla="*/ 1066 w 2048"/>
                <a:gd name="T49" fmla="*/ 1763 h 2048"/>
                <a:gd name="T50" fmla="*/ 1066 w 2048"/>
                <a:gd name="T51" fmla="*/ 1963 h 2048"/>
                <a:gd name="T52" fmla="*/ 1961 w 2048"/>
                <a:gd name="T53" fmla="*/ 1064 h 2048"/>
                <a:gd name="T54" fmla="*/ 1762 w 2048"/>
                <a:gd name="T55" fmla="*/ 1064 h 2048"/>
                <a:gd name="T56" fmla="*/ 1762 w 2048"/>
                <a:gd name="T57" fmla="*/ 983 h 2048"/>
                <a:gd name="T58" fmla="*/ 1963 w 2048"/>
                <a:gd name="T59" fmla="*/ 983 h 2048"/>
                <a:gd name="T60" fmla="*/ 1065 w 2048"/>
                <a:gd name="T61" fmla="*/ 86 h 2048"/>
                <a:gd name="T62" fmla="*/ 1065 w 2048"/>
                <a:gd name="T63" fmla="*/ 286 h 2048"/>
                <a:gd name="T64" fmla="*/ 983 w 2048"/>
                <a:gd name="T65" fmla="*/ 286 h 2048"/>
                <a:gd name="T66" fmla="*/ 983 w 2048"/>
                <a:gd name="T67" fmla="*/ 85 h 2048"/>
                <a:gd name="T68" fmla="*/ 86 w 2048"/>
                <a:gd name="T69" fmla="*/ 984 h 2048"/>
                <a:gd name="T70" fmla="*/ 286 w 2048"/>
                <a:gd name="T71" fmla="*/ 984 h 2048"/>
                <a:gd name="T72" fmla="*/ 286 w 2048"/>
                <a:gd name="T73" fmla="*/ 1064 h 2048"/>
                <a:gd name="T74" fmla="*/ 85 w 2048"/>
                <a:gd name="T75" fmla="*/ 1064 h 20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048" h="2048">
                  <a:moveTo>
                    <a:pt x="964" y="0"/>
                  </a:moveTo>
                  <a:cubicBezTo>
                    <a:pt x="1005" y="0"/>
                    <a:pt x="1047" y="0"/>
                    <a:pt x="1088" y="0"/>
                  </a:cubicBezTo>
                  <a:cubicBezTo>
                    <a:pt x="1094" y="1"/>
                    <a:pt x="1100" y="3"/>
                    <a:pt x="1105" y="3"/>
                  </a:cubicBezTo>
                  <a:cubicBezTo>
                    <a:pt x="1184" y="9"/>
                    <a:pt x="1262" y="23"/>
                    <a:pt x="1336" y="49"/>
                  </a:cubicBezTo>
                  <a:cubicBezTo>
                    <a:pt x="1718" y="185"/>
                    <a:pt x="1952" y="451"/>
                    <a:pt x="2032" y="850"/>
                  </a:cubicBezTo>
                  <a:cubicBezTo>
                    <a:pt x="2040" y="886"/>
                    <a:pt x="2043" y="923"/>
                    <a:pt x="2048" y="960"/>
                  </a:cubicBezTo>
                  <a:cubicBezTo>
                    <a:pt x="2048" y="1001"/>
                    <a:pt x="2048" y="1043"/>
                    <a:pt x="2048" y="1084"/>
                  </a:cubicBezTo>
                  <a:cubicBezTo>
                    <a:pt x="2047" y="1090"/>
                    <a:pt x="2045" y="1097"/>
                    <a:pt x="2045" y="1103"/>
                  </a:cubicBezTo>
                  <a:cubicBezTo>
                    <a:pt x="2037" y="1203"/>
                    <a:pt x="2017" y="1300"/>
                    <a:pt x="1979" y="1392"/>
                  </a:cubicBezTo>
                  <a:cubicBezTo>
                    <a:pt x="1833" y="1744"/>
                    <a:pt x="1573" y="1959"/>
                    <a:pt x="1198" y="2032"/>
                  </a:cubicBezTo>
                  <a:cubicBezTo>
                    <a:pt x="1161" y="2040"/>
                    <a:pt x="1122" y="2043"/>
                    <a:pt x="1084" y="2048"/>
                  </a:cubicBezTo>
                  <a:cubicBezTo>
                    <a:pt x="1044" y="2048"/>
                    <a:pt x="1004" y="2048"/>
                    <a:pt x="964" y="2048"/>
                  </a:cubicBezTo>
                  <a:cubicBezTo>
                    <a:pt x="959" y="2047"/>
                    <a:pt x="954" y="2045"/>
                    <a:pt x="949" y="2045"/>
                  </a:cubicBezTo>
                  <a:cubicBezTo>
                    <a:pt x="822" y="2036"/>
                    <a:pt x="700" y="2006"/>
                    <a:pt x="586" y="1949"/>
                  </a:cubicBezTo>
                  <a:cubicBezTo>
                    <a:pt x="274" y="1793"/>
                    <a:pt x="82" y="1544"/>
                    <a:pt x="16" y="1200"/>
                  </a:cubicBezTo>
                  <a:cubicBezTo>
                    <a:pt x="9" y="1162"/>
                    <a:pt x="5" y="1123"/>
                    <a:pt x="0" y="1084"/>
                  </a:cubicBezTo>
                  <a:cubicBezTo>
                    <a:pt x="0" y="1044"/>
                    <a:pt x="0" y="1004"/>
                    <a:pt x="0" y="964"/>
                  </a:cubicBezTo>
                  <a:cubicBezTo>
                    <a:pt x="1" y="958"/>
                    <a:pt x="3" y="953"/>
                    <a:pt x="3" y="947"/>
                  </a:cubicBezTo>
                  <a:cubicBezTo>
                    <a:pt x="13" y="803"/>
                    <a:pt x="51" y="667"/>
                    <a:pt x="121" y="542"/>
                  </a:cubicBezTo>
                  <a:cubicBezTo>
                    <a:pt x="281" y="254"/>
                    <a:pt x="523" y="77"/>
                    <a:pt x="848" y="16"/>
                  </a:cubicBezTo>
                  <a:cubicBezTo>
                    <a:pt x="886" y="9"/>
                    <a:pt x="925" y="5"/>
                    <a:pt x="964" y="0"/>
                  </a:cubicBezTo>
                  <a:close/>
                  <a:moveTo>
                    <a:pt x="85" y="1064"/>
                  </a:moveTo>
                  <a:cubicBezTo>
                    <a:pt x="94" y="1546"/>
                    <a:pt x="511" y="1955"/>
                    <a:pt x="984" y="1962"/>
                  </a:cubicBezTo>
                  <a:cubicBezTo>
                    <a:pt x="984" y="1896"/>
                    <a:pt x="984" y="1829"/>
                    <a:pt x="984" y="1763"/>
                  </a:cubicBezTo>
                  <a:cubicBezTo>
                    <a:pt x="1012" y="1763"/>
                    <a:pt x="1038" y="1763"/>
                    <a:pt x="1066" y="1763"/>
                  </a:cubicBezTo>
                  <a:cubicBezTo>
                    <a:pt x="1066" y="1831"/>
                    <a:pt x="1066" y="1897"/>
                    <a:pt x="1066" y="1963"/>
                  </a:cubicBezTo>
                  <a:cubicBezTo>
                    <a:pt x="1580" y="1948"/>
                    <a:pt x="1962" y="1501"/>
                    <a:pt x="1961" y="1064"/>
                  </a:cubicBezTo>
                  <a:cubicBezTo>
                    <a:pt x="1895" y="1064"/>
                    <a:pt x="1829" y="1064"/>
                    <a:pt x="1762" y="1064"/>
                  </a:cubicBezTo>
                  <a:cubicBezTo>
                    <a:pt x="1762" y="1036"/>
                    <a:pt x="1762" y="1011"/>
                    <a:pt x="1762" y="983"/>
                  </a:cubicBezTo>
                  <a:cubicBezTo>
                    <a:pt x="1830" y="983"/>
                    <a:pt x="1896" y="983"/>
                    <a:pt x="1963" y="983"/>
                  </a:cubicBezTo>
                  <a:cubicBezTo>
                    <a:pt x="1953" y="498"/>
                    <a:pt x="1532" y="92"/>
                    <a:pt x="1065" y="86"/>
                  </a:cubicBezTo>
                  <a:cubicBezTo>
                    <a:pt x="1065" y="152"/>
                    <a:pt x="1065" y="218"/>
                    <a:pt x="1065" y="286"/>
                  </a:cubicBezTo>
                  <a:cubicBezTo>
                    <a:pt x="1037" y="286"/>
                    <a:pt x="1011" y="286"/>
                    <a:pt x="983" y="286"/>
                  </a:cubicBezTo>
                  <a:cubicBezTo>
                    <a:pt x="983" y="218"/>
                    <a:pt x="983" y="151"/>
                    <a:pt x="983" y="85"/>
                  </a:cubicBezTo>
                  <a:cubicBezTo>
                    <a:pt x="469" y="100"/>
                    <a:pt x="86" y="546"/>
                    <a:pt x="86" y="984"/>
                  </a:cubicBezTo>
                  <a:cubicBezTo>
                    <a:pt x="153" y="984"/>
                    <a:pt x="219" y="984"/>
                    <a:pt x="286" y="984"/>
                  </a:cubicBezTo>
                  <a:cubicBezTo>
                    <a:pt x="286" y="1012"/>
                    <a:pt x="286" y="1037"/>
                    <a:pt x="286" y="1064"/>
                  </a:cubicBezTo>
                  <a:cubicBezTo>
                    <a:pt x="219" y="1064"/>
                    <a:pt x="153" y="1064"/>
                    <a:pt x="85" y="10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EYInterstate Light"/>
              </a:endParaRPr>
            </a:p>
          </p:txBody>
        </p:sp>
        <p:sp>
          <p:nvSpPr>
            <p:cNvPr id="137" name="Freeform 39">
              <a:extLst>
                <a:ext uri="{FF2B5EF4-FFF2-40B4-BE49-F238E27FC236}">
                  <a16:creationId xmlns:a16="http://schemas.microsoft.com/office/drawing/2014/main" id="{46776885-2678-44CF-9ABD-3B223AF30332}"/>
                </a:ext>
              </a:extLst>
            </p:cNvPr>
            <p:cNvSpPr>
              <a:spLocks/>
            </p:cNvSpPr>
            <p:nvPr/>
          </p:nvSpPr>
          <p:spPr bwMode="auto">
            <a:xfrm>
              <a:off x="-1135063" y="4275138"/>
              <a:ext cx="544513" cy="547688"/>
            </a:xfrm>
            <a:custGeom>
              <a:avLst/>
              <a:gdLst>
                <a:gd name="T0" fmla="*/ 461 w 925"/>
                <a:gd name="T1" fmla="*/ 930 h 930"/>
                <a:gd name="T2" fmla="*/ 60 w 925"/>
                <a:gd name="T3" fmla="*/ 878 h 930"/>
                <a:gd name="T4" fmla="*/ 54 w 925"/>
                <a:gd name="T5" fmla="*/ 877 h 930"/>
                <a:gd name="T6" fmla="*/ 2 w 925"/>
                <a:gd name="T7" fmla="*/ 807 h 930"/>
                <a:gd name="T8" fmla="*/ 2 w 925"/>
                <a:gd name="T9" fmla="*/ 759 h 930"/>
                <a:gd name="T10" fmla="*/ 30 w 925"/>
                <a:gd name="T11" fmla="*/ 700 h 930"/>
                <a:gd name="T12" fmla="*/ 110 w 925"/>
                <a:gd name="T13" fmla="*/ 651 h 930"/>
                <a:gd name="T14" fmla="*/ 224 w 925"/>
                <a:gd name="T15" fmla="*/ 599 h 930"/>
                <a:gd name="T16" fmla="*/ 330 w 925"/>
                <a:gd name="T17" fmla="*/ 521 h 930"/>
                <a:gd name="T18" fmla="*/ 333 w 925"/>
                <a:gd name="T19" fmla="*/ 487 h 930"/>
                <a:gd name="T20" fmla="*/ 284 w 925"/>
                <a:gd name="T21" fmla="*/ 400 h 930"/>
                <a:gd name="T22" fmla="*/ 259 w 925"/>
                <a:gd name="T23" fmla="*/ 268 h 930"/>
                <a:gd name="T24" fmla="*/ 262 w 925"/>
                <a:gd name="T25" fmla="*/ 203 h 930"/>
                <a:gd name="T26" fmla="*/ 415 w 925"/>
                <a:gd name="T27" fmla="*/ 12 h 930"/>
                <a:gd name="T28" fmla="*/ 547 w 925"/>
                <a:gd name="T29" fmla="*/ 26 h 930"/>
                <a:gd name="T30" fmla="*/ 575 w 925"/>
                <a:gd name="T31" fmla="*/ 35 h 930"/>
                <a:gd name="T32" fmla="*/ 650 w 925"/>
                <a:gd name="T33" fmla="*/ 112 h 930"/>
                <a:gd name="T34" fmla="*/ 663 w 925"/>
                <a:gd name="T35" fmla="*/ 233 h 930"/>
                <a:gd name="T36" fmla="*/ 671 w 925"/>
                <a:gd name="T37" fmla="*/ 283 h 930"/>
                <a:gd name="T38" fmla="*/ 642 w 925"/>
                <a:gd name="T39" fmla="*/ 399 h 930"/>
                <a:gd name="T40" fmla="*/ 593 w 925"/>
                <a:gd name="T41" fmla="*/ 485 h 930"/>
                <a:gd name="T42" fmla="*/ 601 w 925"/>
                <a:gd name="T43" fmla="*/ 528 h 930"/>
                <a:gd name="T44" fmla="*/ 712 w 925"/>
                <a:gd name="T45" fmla="*/ 604 h 930"/>
                <a:gd name="T46" fmla="*/ 844 w 925"/>
                <a:gd name="T47" fmla="*/ 666 h 930"/>
                <a:gd name="T48" fmla="*/ 897 w 925"/>
                <a:gd name="T49" fmla="*/ 701 h 930"/>
                <a:gd name="T50" fmla="*/ 924 w 925"/>
                <a:gd name="T51" fmla="*/ 758 h 930"/>
                <a:gd name="T52" fmla="*/ 923 w 925"/>
                <a:gd name="T53" fmla="*/ 826 h 930"/>
                <a:gd name="T54" fmla="*/ 893 w 925"/>
                <a:gd name="T55" fmla="*/ 869 h 930"/>
                <a:gd name="T56" fmla="*/ 690 w 925"/>
                <a:gd name="T57" fmla="*/ 913 h 930"/>
                <a:gd name="T58" fmla="*/ 461 w 925"/>
                <a:gd name="T59" fmla="*/ 930 h 9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925" h="930">
                  <a:moveTo>
                    <a:pt x="461" y="930"/>
                  </a:moveTo>
                  <a:cubicBezTo>
                    <a:pt x="325" y="926"/>
                    <a:pt x="191" y="916"/>
                    <a:pt x="60" y="878"/>
                  </a:cubicBezTo>
                  <a:cubicBezTo>
                    <a:pt x="58" y="878"/>
                    <a:pt x="56" y="877"/>
                    <a:pt x="54" y="877"/>
                  </a:cubicBezTo>
                  <a:cubicBezTo>
                    <a:pt x="5" y="861"/>
                    <a:pt x="3" y="858"/>
                    <a:pt x="2" y="807"/>
                  </a:cubicBezTo>
                  <a:cubicBezTo>
                    <a:pt x="2" y="791"/>
                    <a:pt x="3" y="775"/>
                    <a:pt x="2" y="759"/>
                  </a:cubicBezTo>
                  <a:cubicBezTo>
                    <a:pt x="0" y="734"/>
                    <a:pt x="10" y="714"/>
                    <a:pt x="30" y="700"/>
                  </a:cubicBezTo>
                  <a:cubicBezTo>
                    <a:pt x="56" y="682"/>
                    <a:pt x="82" y="666"/>
                    <a:pt x="110" y="651"/>
                  </a:cubicBezTo>
                  <a:cubicBezTo>
                    <a:pt x="147" y="632"/>
                    <a:pt x="186" y="615"/>
                    <a:pt x="224" y="599"/>
                  </a:cubicBezTo>
                  <a:cubicBezTo>
                    <a:pt x="266" y="582"/>
                    <a:pt x="300" y="554"/>
                    <a:pt x="330" y="521"/>
                  </a:cubicBezTo>
                  <a:cubicBezTo>
                    <a:pt x="336" y="515"/>
                    <a:pt x="337" y="497"/>
                    <a:pt x="333" y="487"/>
                  </a:cubicBezTo>
                  <a:cubicBezTo>
                    <a:pt x="321" y="456"/>
                    <a:pt x="306" y="426"/>
                    <a:pt x="284" y="400"/>
                  </a:cubicBezTo>
                  <a:cubicBezTo>
                    <a:pt x="253" y="362"/>
                    <a:pt x="243" y="318"/>
                    <a:pt x="259" y="268"/>
                  </a:cubicBezTo>
                  <a:cubicBezTo>
                    <a:pt x="265" y="249"/>
                    <a:pt x="261" y="225"/>
                    <a:pt x="262" y="203"/>
                  </a:cubicBezTo>
                  <a:cubicBezTo>
                    <a:pt x="266" y="109"/>
                    <a:pt x="323" y="37"/>
                    <a:pt x="415" y="12"/>
                  </a:cubicBezTo>
                  <a:cubicBezTo>
                    <a:pt x="460" y="0"/>
                    <a:pt x="504" y="4"/>
                    <a:pt x="547" y="26"/>
                  </a:cubicBezTo>
                  <a:cubicBezTo>
                    <a:pt x="555" y="30"/>
                    <a:pt x="565" y="33"/>
                    <a:pt x="575" y="35"/>
                  </a:cubicBezTo>
                  <a:cubicBezTo>
                    <a:pt x="619" y="45"/>
                    <a:pt x="643" y="67"/>
                    <a:pt x="650" y="112"/>
                  </a:cubicBezTo>
                  <a:cubicBezTo>
                    <a:pt x="656" y="152"/>
                    <a:pt x="659" y="192"/>
                    <a:pt x="663" y="233"/>
                  </a:cubicBezTo>
                  <a:cubicBezTo>
                    <a:pt x="665" y="250"/>
                    <a:pt x="667" y="267"/>
                    <a:pt x="671" y="283"/>
                  </a:cubicBezTo>
                  <a:cubicBezTo>
                    <a:pt x="681" y="327"/>
                    <a:pt x="670" y="366"/>
                    <a:pt x="642" y="399"/>
                  </a:cubicBezTo>
                  <a:cubicBezTo>
                    <a:pt x="620" y="425"/>
                    <a:pt x="606" y="454"/>
                    <a:pt x="593" y="485"/>
                  </a:cubicBezTo>
                  <a:cubicBezTo>
                    <a:pt x="586" y="501"/>
                    <a:pt x="586" y="514"/>
                    <a:pt x="601" y="528"/>
                  </a:cubicBezTo>
                  <a:cubicBezTo>
                    <a:pt x="634" y="559"/>
                    <a:pt x="669" y="586"/>
                    <a:pt x="712" y="604"/>
                  </a:cubicBezTo>
                  <a:cubicBezTo>
                    <a:pt x="757" y="623"/>
                    <a:pt x="801" y="644"/>
                    <a:pt x="844" y="666"/>
                  </a:cubicBezTo>
                  <a:cubicBezTo>
                    <a:pt x="863" y="675"/>
                    <a:pt x="880" y="688"/>
                    <a:pt x="897" y="701"/>
                  </a:cubicBezTo>
                  <a:cubicBezTo>
                    <a:pt x="916" y="715"/>
                    <a:pt x="925" y="734"/>
                    <a:pt x="924" y="758"/>
                  </a:cubicBezTo>
                  <a:cubicBezTo>
                    <a:pt x="923" y="781"/>
                    <a:pt x="924" y="804"/>
                    <a:pt x="923" y="826"/>
                  </a:cubicBezTo>
                  <a:cubicBezTo>
                    <a:pt x="923" y="851"/>
                    <a:pt x="917" y="863"/>
                    <a:pt x="893" y="869"/>
                  </a:cubicBezTo>
                  <a:cubicBezTo>
                    <a:pt x="826" y="885"/>
                    <a:pt x="759" y="903"/>
                    <a:pt x="690" y="913"/>
                  </a:cubicBezTo>
                  <a:cubicBezTo>
                    <a:pt x="615" y="923"/>
                    <a:pt x="538" y="925"/>
                    <a:pt x="461" y="9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EYInterstate Light"/>
              </a:endParaRPr>
            </a:p>
          </p:txBody>
        </p:sp>
        <p:sp>
          <p:nvSpPr>
            <p:cNvPr id="138" name="Freeform 40">
              <a:extLst>
                <a:ext uri="{FF2B5EF4-FFF2-40B4-BE49-F238E27FC236}">
                  <a16:creationId xmlns:a16="http://schemas.microsoft.com/office/drawing/2014/main" id="{EABE5548-F9FF-4159-9F2B-59B8790EDE2F}"/>
                </a:ext>
              </a:extLst>
            </p:cNvPr>
            <p:cNvSpPr>
              <a:spLocks/>
            </p:cNvSpPr>
            <p:nvPr/>
          </p:nvSpPr>
          <p:spPr bwMode="auto">
            <a:xfrm>
              <a:off x="-714376" y="4354513"/>
              <a:ext cx="280988" cy="377825"/>
            </a:xfrm>
            <a:custGeom>
              <a:avLst/>
              <a:gdLst>
                <a:gd name="T0" fmla="*/ 241 w 478"/>
                <a:gd name="T1" fmla="*/ 641 h 641"/>
                <a:gd name="T2" fmla="*/ 166 w 478"/>
                <a:gd name="T3" fmla="*/ 508 h 641"/>
                <a:gd name="T4" fmla="*/ 30 w 478"/>
                <a:gd name="T5" fmla="*/ 440 h 641"/>
                <a:gd name="T6" fmla="*/ 0 w 478"/>
                <a:gd name="T7" fmla="*/ 425 h 641"/>
                <a:gd name="T8" fmla="*/ 66 w 478"/>
                <a:gd name="T9" fmla="*/ 373 h 641"/>
                <a:gd name="T10" fmla="*/ 74 w 478"/>
                <a:gd name="T11" fmla="*/ 351 h 641"/>
                <a:gd name="T12" fmla="*/ 50 w 478"/>
                <a:gd name="T13" fmla="*/ 302 h 641"/>
                <a:gd name="T14" fmla="*/ 24 w 478"/>
                <a:gd name="T15" fmla="*/ 199 h 641"/>
                <a:gd name="T16" fmla="*/ 26 w 478"/>
                <a:gd name="T17" fmla="*/ 149 h 641"/>
                <a:gd name="T18" fmla="*/ 209 w 478"/>
                <a:gd name="T19" fmla="*/ 36 h 641"/>
                <a:gd name="T20" fmla="*/ 233 w 478"/>
                <a:gd name="T21" fmla="*/ 44 h 641"/>
                <a:gd name="T22" fmla="*/ 286 w 478"/>
                <a:gd name="T23" fmla="*/ 101 h 641"/>
                <a:gd name="T24" fmla="*/ 300 w 478"/>
                <a:gd name="T25" fmla="*/ 222 h 641"/>
                <a:gd name="T26" fmla="*/ 277 w 478"/>
                <a:gd name="T27" fmla="*/ 292 h 641"/>
                <a:gd name="T28" fmla="*/ 246 w 478"/>
                <a:gd name="T29" fmla="*/ 347 h 641"/>
                <a:gd name="T30" fmla="*/ 251 w 478"/>
                <a:gd name="T31" fmla="*/ 372 h 641"/>
                <a:gd name="T32" fmla="*/ 321 w 478"/>
                <a:gd name="T33" fmla="*/ 421 h 641"/>
                <a:gd name="T34" fmla="*/ 430 w 478"/>
                <a:gd name="T35" fmla="*/ 475 h 641"/>
                <a:gd name="T36" fmla="*/ 467 w 478"/>
                <a:gd name="T37" fmla="*/ 541 h 641"/>
                <a:gd name="T38" fmla="*/ 411 w 478"/>
                <a:gd name="T39" fmla="*/ 611 h 641"/>
                <a:gd name="T40" fmla="*/ 241 w 478"/>
                <a:gd name="T41" fmla="*/ 641 h 6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78" h="641">
                  <a:moveTo>
                    <a:pt x="241" y="641"/>
                  </a:moveTo>
                  <a:cubicBezTo>
                    <a:pt x="248" y="573"/>
                    <a:pt x="214" y="535"/>
                    <a:pt x="166" y="508"/>
                  </a:cubicBezTo>
                  <a:cubicBezTo>
                    <a:pt x="122" y="483"/>
                    <a:pt x="76" y="462"/>
                    <a:pt x="30" y="440"/>
                  </a:cubicBezTo>
                  <a:cubicBezTo>
                    <a:pt x="20" y="435"/>
                    <a:pt x="9" y="430"/>
                    <a:pt x="0" y="425"/>
                  </a:cubicBezTo>
                  <a:cubicBezTo>
                    <a:pt x="23" y="408"/>
                    <a:pt x="45" y="391"/>
                    <a:pt x="66" y="373"/>
                  </a:cubicBezTo>
                  <a:cubicBezTo>
                    <a:pt x="71" y="369"/>
                    <a:pt x="76" y="357"/>
                    <a:pt x="74" y="351"/>
                  </a:cubicBezTo>
                  <a:cubicBezTo>
                    <a:pt x="68" y="334"/>
                    <a:pt x="61" y="316"/>
                    <a:pt x="50" y="302"/>
                  </a:cubicBezTo>
                  <a:cubicBezTo>
                    <a:pt x="26" y="270"/>
                    <a:pt x="10" y="240"/>
                    <a:pt x="24" y="199"/>
                  </a:cubicBezTo>
                  <a:cubicBezTo>
                    <a:pt x="29" y="184"/>
                    <a:pt x="25" y="166"/>
                    <a:pt x="26" y="149"/>
                  </a:cubicBezTo>
                  <a:cubicBezTo>
                    <a:pt x="29" y="61"/>
                    <a:pt x="129" y="0"/>
                    <a:pt x="209" y="36"/>
                  </a:cubicBezTo>
                  <a:cubicBezTo>
                    <a:pt x="217" y="39"/>
                    <a:pt x="225" y="42"/>
                    <a:pt x="233" y="44"/>
                  </a:cubicBezTo>
                  <a:cubicBezTo>
                    <a:pt x="265" y="52"/>
                    <a:pt x="281" y="69"/>
                    <a:pt x="286" y="101"/>
                  </a:cubicBezTo>
                  <a:cubicBezTo>
                    <a:pt x="291" y="142"/>
                    <a:pt x="296" y="182"/>
                    <a:pt x="300" y="222"/>
                  </a:cubicBezTo>
                  <a:cubicBezTo>
                    <a:pt x="303" y="248"/>
                    <a:pt x="292" y="271"/>
                    <a:pt x="277" y="292"/>
                  </a:cubicBezTo>
                  <a:cubicBezTo>
                    <a:pt x="265" y="309"/>
                    <a:pt x="254" y="328"/>
                    <a:pt x="246" y="347"/>
                  </a:cubicBezTo>
                  <a:cubicBezTo>
                    <a:pt x="243" y="354"/>
                    <a:pt x="246" y="367"/>
                    <a:pt x="251" y="372"/>
                  </a:cubicBezTo>
                  <a:cubicBezTo>
                    <a:pt x="273" y="389"/>
                    <a:pt x="296" y="407"/>
                    <a:pt x="321" y="421"/>
                  </a:cubicBezTo>
                  <a:cubicBezTo>
                    <a:pt x="356" y="440"/>
                    <a:pt x="394" y="456"/>
                    <a:pt x="430" y="475"/>
                  </a:cubicBezTo>
                  <a:cubicBezTo>
                    <a:pt x="456" y="488"/>
                    <a:pt x="469" y="509"/>
                    <a:pt x="467" y="541"/>
                  </a:cubicBezTo>
                  <a:cubicBezTo>
                    <a:pt x="464" y="595"/>
                    <a:pt x="478" y="595"/>
                    <a:pt x="411" y="611"/>
                  </a:cubicBezTo>
                  <a:cubicBezTo>
                    <a:pt x="357" y="624"/>
                    <a:pt x="300" y="631"/>
                    <a:pt x="241" y="6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EYInterstate Light"/>
              </a:endParaRPr>
            </a:p>
          </p:txBody>
        </p:sp>
        <p:sp>
          <p:nvSpPr>
            <p:cNvPr id="139" name="Freeform 41">
              <a:extLst>
                <a:ext uri="{FF2B5EF4-FFF2-40B4-BE49-F238E27FC236}">
                  <a16:creationId xmlns:a16="http://schemas.microsoft.com/office/drawing/2014/main" id="{8A7D7072-B2A7-465C-B889-F981B854887B}"/>
                </a:ext>
              </a:extLst>
            </p:cNvPr>
            <p:cNvSpPr>
              <a:spLocks/>
            </p:cNvSpPr>
            <p:nvPr/>
          </p:nvSpPr>
          <p:spPr bwMode="auto">
            <a:xfrm>
              <a:off x="-1287463" y="4352925"/>
              <a:ext cx="277813" cy="374650"/>
            </a:xfrm>
            <a:custGeom>
              <a:avLst/>
              <a:gdLst>
                <a:gd name="T0" fmla="*/ 472 w 472"/>
                <a:gd name="T1" fmla="*/ 428 h 638"/>
                <a:gd name="T2" fmla="*/ 367 w 472"/>
                <a:gd name="T3" fmla="*/ 475 h 638"/>
                <a:gd name="T4" fmla="*/ 286 w 472"/>
                <a:gd name="T5" fmla="*/ 517 h 638"/>
                <a:gd name="T6" fmla="*/ 212 w 472"/>
                <a:gd name="T7" fmla="*/ 638 h 638"/>
                <a:gd name="T8" fmla="*/ 23 w 472"/>
                <a:gd name="T9" fmla="*/ 602 h 638"/>
                <a:gd name="T10" fmla="*/ 7 w 472"/>
                <a:gd name="T11" fmla="*/ 579 h 638"/>
                <a:gd name="T12" fmla="*/ 6 w 472"/>
                <a:gd name="T13" fmla="*/ 550 h 638"/>
                <a:gd name="T14" fmla="*/ 50 w 472"/>
                <a:gd name="T15" fmla="*/ 473 h 638"/>
                <a:gd name="T16" fmla="*/ 154 w 472"/>
                <a:gd name="T17" fmla="*/ 423 h 638"/>
                <a:gd name="T18" fmla="*/ 222 w 472"/>
                <a:gd name="T19" fmla="*/ 374 h 638"/>
                <a:gd name="T20" fmla="*/ 228 w 472"/>
                <a:gd name="T21" fmla="*/ 354 h 638"/>
                <a:gd name="T22" fmla="*/ 201 w 472"/>
                <a:gd name="T23" fmla="*/ 301 h 638"/>
                <a:gd name="T24" fmla="*/ 177 w 472"/>
                <a:gd name="T25" fmla="*/ 203 h 638"/>
                <a:gd name="T26" fmla="*/ 179 w 472"/>
                <a:gd name="T27" fmla="*/ 160 h 638"/>
                <a:gd name="T28" fmla="*/ 368 w 472"/>
                <a:gd name="T29" fmla="*/ 41 h 638"/>
                <a:gd name="T30" fmla="*/ 387 w 472"/>
                <a:gd name="T31" fmla="*/ 47 h 638"/>
                <a:gd name="T32" fmla="*/ 439 w 472"/>
                <a:gd name="T33" fmla="*/ 104 h 638"/>
                <a:gd name="T34" fmla="*/ 454 w 472"/>
                <a:gd name="T35" fmla="*/ 225 h 638"/>
                <a:gd name="T36" fmla="*/ 429 w 472"/>
                <a:gd name="T37" fmla="*/ 297 h 638"/>
                <a:gd name="T38" fmla="*/ 400 w 472"/>
                <a:gd name="T39" fmla="*/ 350 h 638"/>
                <a:gd name="T40" fmla="*/ 407 w 472"/>
                <a:gd name="T41" fmla="*/ 376 h 638"/>
                <a:gd name="T42" fmla="*/ 472 w 472"/>
                <a:gd name="T43" fmla="*/ 428 h 6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72" h="638">
                  <a:moveTo>
                    <a:pt x="472" y="428"/>
                  </a:moveTo>
                  <a:cubicBezTo>
                    <a:pt x="438" y="443"/>
                    <a:pt x="402" y="458"/>
                    <a:pt x="367" y="475"/>
                  </a:cubicBezTo>
                  <a:cubicBezTo>
                    <a:pt x="340" y="488"/>
                    <a:pt x="312" y="501"/>
                    <a:pt x="286" y="517"/>
                  </a:cubicBezTo>
                  <a:cubicBezTo>
                    <a:pt x="242" y="544"/>
                    <a:pt x="204" y="576"/>
                    <a:pt x="212" y="638"/>
                  </a:cubicBezTo>
                  <a:cubicBezTo>
                    <a:pt x="146" y="633"/>
                    <a:pt x="83" y="624"/>
                    <a:pt x="23" y="602"/>
                  </a:cubicBezTo>
                  <a:cubicBezTo>
                    <a:pt x="16" y="599"/>
                    <a:pt x="10" y="588"/>
                    <a:pt x="7" y="579"/>
                  </a:cubicBezTo>
                  <a:cubicBezTo>
                    <a:pt x="4" y="570"/>
                    <a:pt x="8" y="559"/>
                    <a:pt x="6" y="550"/>
                  </a:cubicBezTo>
                  <a:cubicBezTo>
                    <a:pt x="0" y="512"/>
                    <a:pt x="19" y="489"/>
                    <a:pt x="50" y="473"/>
                  </a:cubicBezTo>
                  <a:cubicBezTo>
                    <a:pt x="85" y="456"/>
                    <a:pt x="121" y="441"/>
                    <a:pt x="154" y="423"/>
                  </a:cubicBezTo>
                  <a:cubicBezTo>
                    <a:pt x="178" y="409"/>
                    <a:pt x="200" y="392"/>
                    <a:pt x="222" y="374"/>
                  </a:cubicBezTo>
                  <a:cubicBezTo>
                    <a:pt x="227" y="371"/>
                    <a:pt x="230" y="359"/>
                    <a:pt x="228" y="354"/>
                  </a:cubicBezTo>
                  <a:cubicBezTo>
                    <a:pt x="221" y="336"/>
                    <a:pt x="213" y="317"/>
                    <a:pt x="201" y="301"/>
                  </a:cubicBezTo>
                  <a:cubicBezTo>
                    <a:pt x="179" y="271"/>
                    <a:pt x="165" y="242"/>
                    <a:pt x="177" y="203"/>
                  </a:cubicBezTo>
                  <a:cubicBezTo>
                    <a:pt x="182" y="190"/>
                    <a:pt x="179" y="174"/>
                    <a:pt x="179" y="160"/>
                  </a:cubicBezTo>
                  <a:cubicBezTo>
                    <a:pt x="181" y="64"/>
                    <a:pt x="282" y="0"/>
                    <a:pt x="368" y="41"/>
                  </a:cubicBezTo>
                  <a:cubicBezTo>
                    <a:pt x="374" y="44"/>
                    <a:pt x="381" y="46"/>
                    <a:pt x="387" y="47"/>
                  </a:cubicBezTo>
                  <a:cubicBezTo>
                    <a:pt x="419" y="55"/>
                    <a:pt x="435" y="72"/>
                    <a:pt x="439" y="104"/>
                  </a:cubicBezTo>
                  <a:cubicBezTo>
                    <a:pt x="444" y="145"/>
                    <a:pt x="450" y="185"/>
                    <a:pt x="454" y="225"/>
                  </a:cubicBezTo>
                  <a:cubicBezTo>
                    <a:pt x="457" y="252"/>
                    <a:pt x="445" y="275"/>
                    <a:pt x="429" y="297"/>
                  </a:cubicBezTo>
                  <a:cubicBezTo>
                    <a:pt x="417" y="313"/>
                    <a:pt x="407" y="331"/>
                    <a:pt x="400" y="350"/>
                  </a:cubicBezTo>
                  <a:cubicBezTo>
                    <a:pt x="397" y="357"/>
                    <a:pt x="401" y="371"/>
                    <a:pt x="407" y="376"/>
                  </a:cubicBezTo>
                  <a:cubicBezTo>
                    <a:pt x="427" y="395"/>
                    <a:pt x="450" y="411"/>
                    <a:pt x="472" y="4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EYInterstate Light"/>
              </a:endParaRPr>
            </a:p>
          </p:txBody>
        </p:sp>
      </p:grpSp>
      <p:grpSp>
        <p:nvGrpSpPr>
          <p:cNvPr id="140" name="Group 139">
            <a:extLst>
              <a:ext uri="{FF2B5EF4-FFF2-40B4-BE49-F238E27FC236}">
                <a16:creationId xmlns:a16="http://schemas.microsoft.com/office/drawing/2014/main" id="{0C0C16F3-B027-4120-B2C7-C2756977E613}"/>
              </a:ext>
            </a:extLst>
          </p:cNvPr>
          <p:cNvGrpSpPr/>
          <p:nvPr/>
        </p:nvGrpSpPr>
        <p:grpSpPr>
          <a:xfrm>
            <a:off x="7194729" y="2579467"/>
            <a:ext cx="441359" cy="543958"/>
            <a:chOff x="7759700" y="5105400"/>
            <a:chExt cx="1584326" cy="1952626"/>
          </a:xfrm>
          <a:solidFill>
            <a:srgbClr val="F5DBF4"/>
          </a:solidFill>
        </p:grpSpPr>
        <p:sp>
          <p:nvSpPr>
            <p:cNvPr id="141" name="Freeform 46">
              <a:extLst>
                <a:ext uri="{FF2B5EF4-FFF2-40B4-BE49-F238E27FC236}">
                  <a16:creationId xmlns:a16="http://schemas.microsoft.com/office/drawing/2014/main" id="{8DC248EC-444C-4F6C-919E-1BF15E960124}"/>
                </a:ext>
              </a:extLst>
            </p:cNvPr>
            <p:cNvSpPr>
              <a:spLocks/>
            </p:cNvSpPr>
            <p:nvPr/>
          </p:nvSpPr>
          <p:spPr bwMode="auto">
            <a:xfrm>
              <a:off x="7759700" y="5105400"/>
              <a:ext cx="1530350" cy="822325"/>
            </a:xfrm>
            <a:custGeom>
              <a:avLst/>
              <a:gdLst>
                <a:gd name="T0" fmla="*/ 1964 w 1964"/>
                <a:gd name="T1" fmla="*/ 0 h 1055"/>
                <a:gd name="T2" fmla="*/ 1964 w 1964"/>
                <a:gd name="T3" fmla="*/ 1028 h 1055"/>
                <a:gd name="T4" fmla="*/ 1964 w 1964"/>
                <a:gd name="T5" fmla="*/ 1055 h 1055"/>
                <a:gd name="T6" fmla="*/ 1796 w 1964"/>
                <a:gd name="T7" fmla="*/ 1055 h 1055"/>
                <a:gd name="T8" fmla="*/ 1796 w 1964"/>
                <a:gd name="T9" fmla="*/ 1030 h 1055"/>
                <a:gd name="T10" fmla="*/ 1796 w 1964"/>
                <a:gd name="T11" fmla="*/ 194 h 1055"/>
                <a:gd name="T12" fmla="*/ 1770 w 1964"/>
                <a:gd name="T13" fmla="*/ 168 h 1055"/>
                <a:gd name="T14" fmla="*/ 194 w 1964"/>
                <a:gd name="T15" fmla="*/ 168 h 1055"/>
                <a:gd name="T16" fmla="*/ 167 w 1964"/>
                <a:gd name="T17" fmla="*/ 195 h 1055"/>
                <a:gd name="T18" fmla="*/ 167 w 1964"/>
                <a:gd name="T19" fmla="*/ 521 h 1055"/>
                <a:gd name="T20" fmla="*/ 167 w 1964"/>
                <a:gd name="T21" fmla="*/ 546 h 1055"/>
                <a:gd name="T22" fmla="*/ 0 w 1964"/>
                <a:gd name="T23" fmla="*/ 546 h 1055"/>
                <a:gd name="T24" fmla="*/ 0 w 1964"/>
                <a:gd name="T25" fmla="*/ 0 h 1055"/>
                <a:gd name="T26" fmla="*/ 1964 w 1964"/>
                <a:gd name="T27" fmla="*/ 0 h 10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64" h="1055">
                  <a:moveTo>
                    <a:pt x="1964" y="0"/>
                  </a:moveTo>
                  <a:cubicBezTo>
                    <a:pt x="1964" y="343"/>
                    <a:pt x="1964" y="685"/>
                    <a:pt x="1964" y="1028"/>
                  </a:cubicBezTo>
                  <a:cubicBezTo>
                    <a:pt x="1964" y="1036"/>
                    <a:pt x="1964" y="1045"/>
                    <a:pt x="1964" y="1055"/>
                  </a:cubicBezTo>
                  <a:cubicBezTo>
                    <a:pt x="1908" y="1055"/>
                    <a:pt x="1854" y="1055"/>
                    <a:pt x="1796" y="1055"/>
                  </a:cubicBezTo>
                  <a:cubicBezTo>
                    <a:pt x="1796" y="1047"/>
                    <a:pt x="1796" y="1039"/>
                    <a:pt x="1796" y="1030"/>
                  </a:cubicBezTo>
                  <a:cubicBezTo>
                    <a:pt x="1796" y="752"/>
                    <a:pt x="1796" y="473"/>
                    <a:pt x="1796" y="194"/>
                  </a:cubicBezTo>
                  <a:cubicBezTo>
                    <a:pt x="1796" y="168"/>
                    <a:pt x="1796" y="168"/>
                    <a:pt x="1770" y="168"/>
                  </a:cubicBezTo>
                  <a:cubicBezTo>
                    <a:pt x="1245" y="168"/>
                    <a:pt x="720" y="168"/>
                    <a:pt x="194" y="168"/>
                  </a:cubicBezTo>
                  <a:cubicBezTo>
                    <a:pt x="167" y="168"/>
                    <a:pt x="167" y="168"/>
                    <a:pt x="167" y="195"/>
                  </a:cubicBezTo>
                  <a:cubicBezTo>
                    <a:pt x="167" y="304"/>
                    <a:pt x="167" y="412"/>
                    <a:pt x="167" y="521"/>
                  </a:cubicBezTo>
                  <a:cubicBezTo>
                    <a:pt x="167" y="529"/>
                    <a:pt x="167" y="537"/>
                    <a:pt x="167" y="546"/>
                  </a:cubicBezTo>
                  <a:cubicBezTo>
                    <a:pt x="111" y="546"/>
                    <a:pt x="57" y="546"/>
                    <a:pt x="0" y="546"/>
                  </a:cubicBezTo>
                  <a:cubicBezTo>
                    <a:pt x="0" y="365"/>
                    <a:pt x="0" y="182"/>
                    <a:pt x="0" y="0"/>
                  </a:cubicBezTo>
                  <a:cubicBezTo>
                    <a:pt x="655" y="0"/>
                    <a:pt x="1309" y="0"/>
                    <a:pt x="196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EYInterstate Light"/>
              </a:endParaRPr>
            </a:p>
          </p:txBody>
        </p:sp>
        <p:sp>
          <p:nvSpPr>
            <p:cNvPr id="142" name="Freeform 47">
              <a:extLst>
                <a:ext uri="{FF2B5EF4-FFF2-40B4-BE49-F238E27FC236}">
                  <a16:creationId xmlns:a16="http://schemas.microsoft.com/office/drawing/2014/main" id="{E67B42FB-E8A4-48EA-9FE9-CA4A48A9F648}"/>
                </a:ext>
              </a:extLst>
            </p:cNvPr>
            <p:cNvSpPr>
              <a:spLocks noEditPoints="1"/>
            </p:cNvSpPr>
            <p:nvPr/>
          </p:nvSpPr>
          <p:spPr bwMode="auto">
            <a:xfrm>
              <a:off x="8174038" y="6878638"/>
              <a:ext cx="115888" cy="179388"/>
            </a:xfrm>
            <a:custGeom>
              <a:avLst/>
              <a:gdLst>
                <a:gd name="T0" fmla="*/ 53 w 149"/>
                <a:gd name="T1" fmla="*/ 230 h 230"/>
                <a:gd name="T2" fmla="*/ 1 w 149"/>
                <a:gd name="T3" fmla="*/ 135 h 230"/>
                <a:gd name="T4" fmla="*/ 6 w 149"/>
                <a:gd name="T5" fmla="*/ 58 h 230"/>
                <a:gd name="T6" fmla="*/ 73 w 149"/>
                <a:gd name="T7" fmla="*/ 1 h 230"/>
                <a:gd name="T8" fmla="*/ 138 w 149"/>
                <a:gd name="T9" fmla="*/ 56 h 230"/>
                <a:gd name="T10" fmla="*/ 137 w 149"/>
                <a:gd name="T11" fmla="*/ 178 h 230"/>
                <a:gd name="T12" fmla="*/ 89 w 149"/>
                <a:gd name="T13" fmla="*/ 230 h 230"/>
                <a:gd name="T14" fmla="*/ 53 w 149"/>
                <a:gd name="T15" fmla="*/ 230 h 230"/>
                <a:gd name="T16" fmla="*/ 118 w 149"/>
                <a:gd name="T17" fmla="*/ 114 h 230"/>
                <a:gd name="T18" fmla="*/ 113 w 149"/>
                <a:gd name="T19" fmla="*/ 63 h 230"/>
                <a:gd name="T20" fmla="*/ 74 w 149"/>
                <a:gd name="T21" fmla="*/ 23 h 230"/>
                <a:gd name="T22" fmla="*/ 34 w 149"/>
                <a:gd name="T23" fmla="*/ 58 h 230"/>
                <a:gd name="T24" fmla="*/ 34 w 149"/>
                <a:gd name="T25" fmla="*/ 171 h 230"/>
                <a:gd name="T26" fmla="*/ 75 w 149"/>
                <a:gd name="T27" fmla="*/ 206 h 230"/>
                <a:gd name="T28" fmla="*/ 113 w 149"/>
                <a:gd name="T29" fmla="*/ 168 h 230"/>
                <a:gd name="T30" fmla="*/ 118 w 149"/>
                <a:gd name="T31" fmla="*/ 114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9" h="230">
                  <a:moveTo>
                    <a:pt x="53" y="230"/>
                  </a:moveTo>
                  <a:cubicBezTo>
                    <a:pt x="14" y="210"/>
                    <a:pt x="0" y="176"/>
                    <a:pt x="1" y="135"/>
                  </a:cubicBezTo>
                  <a:cubicBezTo>
                    <a:pt x="1" y="109"/>
                    <a:pt x="1" y="83"/>
                    <a:pt x="6" y="58"/>
                  </a:cubicBezTo>
                  <a:cubicBezTo>
                    <a:pt x="13" y="21"/>
                    <a:pt x="39" y="1"/>
                    <a:pt x="73" y="1"/>
                  </a:cubicBezTo>
                  <a:cubicBezTo>
                    <a:pt x="105" y="0"/>
                    <a:pt x="128" y="19"/>
                    <a:pt x="138" y="56"/>
                  </a:cubicBezTo>
                  <a:cubicBezTo>
                    <a:pt x="149" y="97"/>
                    <a:pt x="148" y="138"/>
                    <a:pt x="137" y="178"/>
                  </a:cubicBezTo>
                  <a:cubicBezTo>
                    <a:pt x="131" y="204"/>
                    <a:pt x="112" y="219"/>
                    <a:pt x="89" y="230"/>
                  </a:cubicBezTo>
                  <a:cubicBezTo>
                    <a:pt x="77" y="230"/>
                    <a:pt x="65" y="230"/>
                    <a:pt x="53" y="230"/>
                  </a:cubicBezTo>
                  <a:close/>
                  <a:moveTo>
                    <a:pt x="118" y="114"/>
                  </a:moveTo>
                  <a:cubicBezTo>
                    <a:pt x="116" y="96"/>
                    <a:pt x="115" y="79"/>
                    <a:pt x="113" y="63"/>
                  </a:cubicBezTo>
                  <a:cubicBezTo>
                    <a:pt x="109" y="42"/>
                    <a:pt x="92" y="24"/>
                    <a:pt x="74" y="23"/>
                  </a:cubicBezTo>
                  <a:cubicBezTo>
                    <a:pt x="57" y="22"/>
                    <a:pt x="36" y="36"/>
                    <a:pt x="34" y="58"/>
                  </a:cubicBezTo>
                  <a:cubicBezTo>
                    <a:pt x="31" y="96"/>
                    <a:pt x="31" y="134"/>
                    <a:pt x="34" y="171"/>
                  </a:cubicBezTo>
                  <a:cubicBezTo>
                    <a:pt x="35" y="194"/>
                    <a:pt x="56" y="207"/>
                    <a:pt x="75" y="206"/>
                  </a:cubicBezTo>
                  <a:cubicBezTo>
                    <a:pt x="93" y="205"/>
                    <a:pt x="109" y="189"/>
                    <a:pt x="113" y="168"/>
                  </a:cubicBezTo>
                  <a:cubicBezTo>
                    <a:pt x="115" y="150"/>
                    <a:pt x="116" y="131"/>
                    <a:pt x="118" y="1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EYInterstate Light"/>
              </a:endParaRPr>
            </a:p>
          </p:txBody>
        </p:sp>
        <p:sp>
          <p:nvSpPr>
            <p:cNvPr id="143" name="Freeform 48">
              <a:extLst>
                <a:ext uri="{FF2B5EF4-FFF2-40B4-BE49-F238E27FC236}">
                  <a16:creationId xmlns:a16="http://schemas.microsoft.com/office/drawing/2014/main" id="{073C2124-DB52-4A0F-A9E1-8BBFFAEB0EDB}"/>
                </a:ext>
              </a:extLst>
            </p:cNvPr>
            <p:cNvSpPr>
              <a:spLocks noEditPoints="1"/>
            </p:cNvSpPr>
            <p:nvPr/>
          </p:nvSpPr>
          <p:spPr bwMode="auto">
            <a:xfrm>
              <a:off x="7778750" y="6878638"/>
              <a:ext cx="120650" cy="179388"/>
            </a:xfrm>
            <a:custGeom>
              <a:avLst/>
              <a:gdLst>
                <a:gd name="T0" fmla="*/ 59 w 155"/>
                <a:gd name="T1" fmla="*/ 230 h 230"/>
                <a:gd name="T2" fmla="*/ 7 w 155"/>
                <a:gd name="T3" fmla="*/ 158 h 230"/>
                <a:gd name="T4" fmla="*/ 18 w 155"/>
                <a:gd name="T5" fmla="*/ 37 h 230"/>
                <a:gd name="T6" fmla="*/ 79 w 155"/>
                <a:gd name="T7" fmla="*/ 1 h 230"/>
                <a:gd name="T8" fmla="*/ 137 w 155"/>
                <a:gd name="T9" fmla="*/ 40 h 230"/>
                <a:gd name="T10" fmla="*/ 139 w 155"/>
                <a:gd name="T11" fmla="*/ 183 h 230"/>
                <a:gd name="T12" fmla="*/ 91 w 155"/>
                <a:gd name="T13" fmla="*/ 230 h 230"/>
                <a:gd name="T14" fmla="*/ 59 w 155"/>
                <a:gd name="T15" fmla="*/ 230 h 230"/>
                <a:gd name="T16" fmla="*/ 28 w 155"/>
                <a:gd name="T17" fmla="*/ 116 h 230"/>
                <a:gd name="T18" fmla="*/ 43 w 155"/>
                <a:gd name="T19" fmla="*/ 185 h 230"/>
                <a:gd name="T20" fmla="*/ 78 w 155"/>
                <a:gd name="T21" fmla="*/ 206 h 230"/>
                <a:gd name="T22" fmla="*/ 112 w 155"/>
                <a:gd name="T23" fmla="*/ 180 h 230"/>
                <a:gd name="T24" fmla="*/ 111 w 155"/>
                <a:gd name="T25" fmla="*/ 49 h 230"/>
                <a:gd name="T26" fmla="*/ 76 w 155"/>
                <a:gd name="T27" fmla="*/ 24 h 230"/>
                <a:gd name="T28" fmla="*/ 43 w 155"/>
                <a:gd name="T29" fmla="*/ 46 h 230"/>
                <a:gd name="T30" fmla="*/ 28 w 155"/>
                <a:gd name="T31" fmla="*/ 116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5" h="230">
                  <a:moveTo>
                    <a:pt x="59" y="230"/>
                  </a:moveTo>
                  <a:cubicBezTo>
                    <a:pt x="27" y="217"/>
                    <a:pt x="11" y="191"/>
                    <a:pt x="7" y="158"/>
                  </a:cubicBezTo>
                  <a:cubicBezTo>
                    <a:pt x="0" y="117"/>
                    <a:pt x="0" y="76"/>
                    <a:pt x="18" y="37"/>
                  </a:cubicBezTo>
                  <a:cubicBezTo>
                    <a:pt x="30" y="11"/>
                    <a:pt x="52" y="0"/>
                    <a:pt x="79" y="1"/>
                  </a:cubicBezTo>
                  <a:cubicBezTo>
                    <a:pt x="107" y="2"/>
                    <a:pt x="127" y="15"/>
                    <a:pt x="137" y="40"/>
                  </a:cubicBezTo>
                  <a:cubicBezTo>
                    <a:pt x="155" y="88"/>
                    <a:pt x="153" y="135"/>
                    <a:pt x="139" y="183"/>
                  </a:cubicBezTo>
                  <a:cubicBezTo>
                    <a:pt x="132" y="208"/>
                    <a:pt x="113" y="221"/>
                    <a:pt x="91" y="230"/>
                  </a:cubicBezTo>
                  <a:cubicBezTo>
                    <a:pt x="80" y="230"/>
                    <a:pt x="70" y="230"/>
                    <a:pt x="59" y="230"/>
                  </a:cubicBezTo>
                  <a:close/>
                  <a:moveTo>
                    <a:pt x="28" y="116"/>
                  </a:moveTo>
                  <a:cubicBezTo>
                    <a:pt x="33" y="138"/>
                    <a:pt x="36" y="162"/>
                    <a:pt x="43" y="185"/>
                  </a:cubicBezTo>
                  <a:cubicBezTo>
                    <a:pt x="48" y="199"/>
                    <a:pt x="61" y="207"/>
                    <a:pt x="78" y="206"/>
                  </a:cubicBezTo>
                  <a:cubicBezTo>
                    <a:pt x="95" y="205"/>
                    <a:pt x="108" y="196"/>
                    <a:pt x="112" y="180"/>
                  </a:cubicBezTo>
                  <a:cubicBezTo>
                    <a:pt x="125" y="136"/>
                    <a:pt x="127" y="92"/>
                    <a:pt x="111" y="49"/>
                  </a:cubicBezTo>
                  <a:cubicBezTo>
                    <a:pt x="106" y="38"/>
                    <a:pt x="89" y="27"/>
                    <a:pt x="76" y="24"/>
                  </a:cubicBezTo>
                  <a:cubicBezTo>
                    <a:pt x="62" y="21"/>
                    <a:pt x="47" y="31"/>
                    <a:pt x="43" y="46"/>
                  </a:cubicBezTo>
                  <a:cubicBezTo>
                    <a:pt x="37" y="69"/>
                    <a:pt x="33" y="92"/>
                    <a:pt x="28" y="1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EYInterstate Light"/>
              </a:endParaRPr>
            </a:p>
          </p:txBody>
        </p:sp>
        <p:sp>
          <p:nvSpPr>
            <p:cNvPr id="144" name="Freeform 49">
              <a:extLst>
                <a:ext uri="{FF2B5EF4-FFF2-40B4-BE49-F238E27FC236}">
                  <a16:creationId xmlns:a16="http://schemas.microsoft.com/office/drawing/2014/main" id="{CFE56D54-8F4C-4417-9450-7722404FC17F}"/>
                </a:ext>
              </a:extLst>
            </p:cNvPr>
            <p:cNvSpPr>
              <a:spLocks noEditPoints="1"/>
            </p:cNvSpPr>
            <p:nvPr/>
          </p:nvSpPr>
          <p:spPr bwMode="auto">
            <a:xfrm>
              <a:off x="8389938" y="6313488"/>
              <a:ext cx="755650" cy="715963"/>
            </a:xfrm>
            <a:custGeom>
              <a:avLst/>
              <a:gdLst>
                <a:gd name="T0" fmla="*/ 523 w 970"/>
                <a:gd name="T1" fmla="*/ 915 h 919"/>
                <a:gd name="T2" fmla="*/ 443 w 970"/>
                <a:gd name="T3" fmla="*/ 919 h 919"/>
                <a:gd name="T4" fmla="*/ 428 w 970"/>
                <a:gd name="T5" fmla="*/ 916 h 919"/>
                <a:gd name="T6" fmla="*/ 371 w 970"/>
                <a:gd name="T7" fmla="*/ 817 h 919"/>
                <a:gd name="T8" fmla="*/ 365 w 970"/>
                <a:gd name="T9" fmla="*/ 784 h 919"/>
                <a:gd name="T10" fmla="*/ 314 w 970"/>
                <a:gd name="T11" fmla="*/ 763 h 919"/>
                <a:gd name="T12" fmla="*/ 303 w 970"/>
                <a:gd name="T13" fmla="*/ 768 h 919"/>
                <a:gd name="T14" fmla="*/ 253 w 970"/>
                <a:gd name="T15" fmla="*/ 807 h 919"/>
                <a:gd name="T16" fmla="*/ 213 w 970"/>
                <a:gd name="T17" fmla="*/ 820 h 919"/>
                <a:gd name="T18" fmla="*/ 127 w 970"/>
                <a:gd name="T19" fmla="*/ 771 h 919"/>
                <a:gd name="T20" fmla="*/ 57 w 970"/>
                <a:gd name="T21" fmla="*/ 684 h 919"/>
                <a:gd name="T22" fmla="*/ 45 w 970"/>
                <a:gd name="T23" fmla="*/ 640 h 919"/>
                <a:gd name="T24" fmla="*/ 90 w 970"/>
                <a:gd name="T25" fmla="*/ 547 h 919"/>
                <a:gd name="T26" fmla="*/ 111 w 970"/>
                <a:gd name="T27" fmla="*/ 473 h 919"/>
                <a:gd name="T28" fmla="*/ 98 w 970"/>
                <a:gd name="T29" fmla="*/ 461 h 919"/>
                <a:gd name="T30" fmla="*/ 43 w 970"/>
                <a:gd name="T31" fmla="*/ 434 h 919"/>
                <a:gd name="T32" fmla="*/ 13 w 970"/>
                <a:gd name="T33" fmla="*/ 400 h 919"/>
                <a:gd name="T34" fmla="*/ 21 w 970"/>
                <a:gd name="T35" fmla="*/ 301 h 919"/>
                <a:gd name="T36" fmla="*/ 77 w 970"/>
                <a:gd name="T37" fmla="*/ 191 h 919"/>
                <a:gd name="T38" fmla="*/ 101 w 970"/>
                <a:gd name="T39" fmla="*/ 171 h 919"/>
                <a:gd name="T40" fmla="*/ 157 w 970"/>
                <a:gd name="T41" fmla="*/ 158 h 919"/>
                <a:gd name="T42" fmla="*/ 178 w 970"/>
                <a:gd name="T43" fmla="*/ 161 h 919"/>
                <a:gd name="T44" fmla="*/ 202 w 970"/>
                <a:gd name="T45" fmla="*/ 172 h 919"/>
                <a:gd name="T46" fmla="*/ 289 w 970"/>
                <a:gd name="T47" fmla="*/ 164 h 919"/>
                <a:gd name="T48" fmla="*/ 296 w 970"/>
                <a:gd name="T49" fmla="*/ 149 h 919"/>
                <a:gd name="T50" fmla="*/ 294 w 970"/>
                <a:gd name="T51" fmla="*/ 105 h 919"/>
                <a:gd name="T52" fmla="*/ 354 w 970"/>
                <a:gd name="T53" fmla="*/ 9 h 919"/>
                <a:gd name="T54" fmla="*/ 369 w 970"/>
                <a:gd name="T55" fmla="*/ 7 h 919"/>
                <a:gd name="T56" fmla="*/ 523 w 970"/>
                <a:gd name="T57" fmla="*/ 0 h 919"/>
                <a:gd name="T58" fmla="*/ 551 w 970"/>
                <a:gd name="T59" fmla="*/ 10 h 919"/>
                <a:gd name="T60" fmla="*/ 593 w 970"/>
                <a:gd name="T61" fmla="*/ 56 h 919"/>
                <a:gd name="T62" fmla="*/ 599 w 970"/>
                <a:gd name="T63" fmla="*/ 90 h 919"/>
                <a:gd name="T64" fmla="*/ 636 w 970"/>
                <a:gd name="T65" fmla="*/ 147 h 919"/>
                <a:gd name="T66" fmla="*/ 698 w 970"/>
                <a:gd name="T67" fmla="*/ 137 h 919"/>
                <a:gd name="T68" fmla="*/ 812 w 970"/>
                <a:gd name="T69" fmla="*/ 115 h 919"/>
                <a:gd name="T70" fmla="*/ 840 w 970"/>
                <a:gd name="T71" fmla="*/ 143 h 919"/>
                <a:gd name="T72" fmla="*/ 922 w 970"/>
                <a:gd name="T73" fmla="*/ 246 h 919"/>
                <a:gd name="T74" fmla="*/ 931 w 970"/>
                <a:gd name="T75" fmla="*/ 273 h 919"/>
                <a:gd name="T76" fmla="*/ 876 w 970"/>
                <a:gd name="T77" fmla="*/ 385 h 919"/>
                <a:gd name="T78" fmla="*/ 882 w 970"/>
                <a:gd name="T79" fmla="*/ 470 h 919"/>
                <a:gd name="T80" fmla="*/ 926 w 970"/>
                <a:gd name="T81" fmla="*/ 497 h 919"/>
                <a:gd name="T82" fmla="*/ 957 w 970"/>
                <a:gd name="T83" fmla="*/ 542 h 919"/>
                <a:gd name="T84" fmla="*/ 938 w 970"/>
                <a:gd name="T85" fmla="*/ 645 h 919"/>
                <a:gd name="T86" fmla="*/ 877 w 970"/>
                <a:gd name="T87" fmla="*/ 741 h 919"/>
                <a:gd name="T88" fmla="*/ 854 w 970"/>
                <a:gd name="T89" fmla="*/ 757 h 919"/>
                <a:gd name="T90" fmla="*/ 804 w 970"/>
                <a:gd name="T91" fmla="*/ 768 h 919"/>
                <a:gd name="T92" fmla="*/ 776 w 970"/>
                <a:gd name="T93" fmla="*/ 763 h 919"/>
                <a:gd name="T94" fmla="*/ 749 w 970"/>
                <a:gd name="T95" fmla="*/ 747 h 919"/>
                <a:gd name="T96" fmla="*/ 685 w 970"/>
                <a:gd name="T97" fmla="*/ 747 h 919"/>
                <a:gd name="T98" fmla="*/ 673 w 970"/>
                <a:gd name="T99" fmla="*/ 771 h 919"/>
                <a:gd name="T100" fmla="*/ 676 w 970"/>
                <a:gd name="T101" fmla="*/ 809 h 919"/>
                <a:gd name="T102" fmla="*/ 645 w 970"/>
                <a:gd name="T103" fmla="*/ 884 h 919"/>
                <a:gd name="T104" fmla="*/ 579 w 970"/>
                <a:gd name="T105" fmla="*/ 912 h 919"/>
                <a:gd name="T106" fmla="*/ 523 w 970"/>
                <a:gd name="T107" fmla="*/ 915 h 919"/>
                <a:gd name="T108" fmla="*/ 523 w 970"/>
                <a:gd name="T109" fmla="*/ 915 h 919"/>
                <a:gd name="T110" fmla="*/ 474 w 970"/>
                <a:gd name="T111" fmla="*/ 273 h 919"/>
                <a:gd name="T112" fmla="*/ 288 w 970"/>
                <a:gd name="T113" fmla="*/ 460 h 919"/>
                <a:gd name="T114" fmla="*/ 476 w 970"/>
                <a:gd name="T115" fmla="*/ 646 h 919"/>
                <a:gd name="T116" fmla="*/ 661 w 970"/>
                <a:gd name="T117" fmla="*/ 460 h 919"/>
                <a:gd name="T118" fmla="*/ 474 w 970"/>
                <a:gd name="T119" fmla="*/ 273 h 9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70" h="919">
                  <a:moveTo>
                    <a:pt x="523" y="915"/>
                  </a:moveTo>
                  <a:cubicBezTo>
                    <a:pt x="496" y="916"/>
                    <a:pt x="470" y="918"/>
                    <a:pt x="443" y="919"/>
                  </a:cubicBezTo>
                  <a:cubicBezTo>
                    <a:pt x="438" y="919"/>
                    <a:pt x="431" y="919"/>
                    <a:pt x="428" y="916"/>
                  </a:cubicBezTo>
                  <a:cubicBezTo>
                    <a:pt x="404" y="887"/>
                    <a:pt x="364" y="866"/>
                    <a:pt x="371" y="817"/>
                  </a:cubicBezTo>
                  <a:cubicBezTo>
                    <a:pt x="372" y="806"/>
                    <a:pt x="371" y="789"/>
                    <a:pt x="365" y="784"/>
                  </a:cubicBezTo>
                  <a:cubicBezTo>
                    <a:pt x="350" y="774"/>
                    <a:pt x="331" y="769"/>
                    <a:pt x="314" y="763"/>
                  </a:cubicBezTo>
                  <a:cubicBezTo>
                    <a:pt x="311" y="762"/>
                    <a:pt x="306" y="765"/>
                    <a:pt x="303" y="768"/>
                  </a:cubicBezTo>
                  <a:cubicBezTo>
                    <a:pt x="286" y="781"/>
                    <a:pt x="269" y="793"/>
                    <a:pt x="253" y="807"/>
                  </a:cubicBezTo>
                  <a:cubicBezTo>
                    <a:pt x="241" y="818"/>
                    <a:pt x="229" y="820"/>
                    <a:pt x="213" y="820"/>
                  </a:cubicBezTo>
                  <a:cubicBezTo>
                    <a:pt x="175" y="819"/>
                    <a:pt x="148" y="804"/>
                    <a:pt x="127" y="771"/>
                  </a:cubicBezTo>
                  <a:cubicBezTo>
                    <a:pt x="107" y="740"/>
                    <a:pt x="81" y="712"/>
                    <a:pt x="57" y="684"/>
                  </a:cubicBezTo>
                  <a:cubicBezTo>
                    <a:pt x="46" y="671"/>
                    <a:pt x="46" y="656"/>
                    <a:pt x="45" y="640"/>
                  </a:cubicBezTo>
                  <a:cubicBezTo>
                    <a:pt x="42" y="600"/>
                    <a:pt x="52" y="569"/>
                    <a:pt x="90" y="547"/>
                  </a:cubicBezTo>
                  <a:cubicBezTo>
                    <a:pt x="118" y="531"/>
                    <a:pt x="122" y="503"/>
                    <a:pt x="111" y="473"/>
                  </a:cubicBezTo>
                  <a:cubicBezTo>
                    <a:pt x="109" y="468"/>
                    <a:pt x="103" y="464"/>
                    <a:pt x="98" y="461"/>
                  </a:cubicBezTo>
                  <a:cubicBezTo>
                    <a:pt x="80" y="451"/>
                    <a:pt x="62" y="441"/>
                    <a:pt x="43" y="434"/>
                  </a:cubicBezTo>
                  <a:cubicBezTo>
                    <a:pt x="26" y="427"/>
                    <a:pt x="20" y="415"/>
                    <a:pt x="13" y="400"/>
                  </a:cubicBezTo>
                  <a:cubicBezTo>
                    <a:pt x="0" y="365"/>
                    <a:pt x="1" y="334"/>
                    <a:pt x="21" y="301"/>
                  </a:cubicBezTo>
                  <a:cubicBezTo>
                    <a:pt x="42" y="266"/>
                    <a:pt x="57" y="227"/>
                    <a:pt x="77" y="191"/>
                  </a:cubicBezTo>
                  <a:cubicBezTo>
                    <a:pt x="81" y="182"/>
                    <a:pt x="91" y="174"/>
                    <a:pt x="101" y="171"/>
                  </a:cubicBezTo>
                  <a:cubicBezTo>
                    <a:pt x="119" y="165"/>
                    <a:pt x="138" y="161"/>
                    <a:pt x="157" y="158"/>
                  </a:cubicBezTo>
                  <a:cubicBezTo>
                    <a:pt x="164" y="157"/>
                    <a:pt x="172" y="158"/>
                    <a:pt x="178" y="161"/>
                  </a:cubicBezTo>
                  <a:cubicBezTo>
                    <a:pt x="186" y="163"/>
                    <a:pt x="194" y="168"/>
                    <a:pt x="202" y="172"/>
                  </a:cubicBezTo>
                  <a:cubicBezTo>
                    <a:pt x="245" y="195"/>
                    <a:pt x="250" y="195"/>
                    <a:pt x="289" y="164"/>
                  </a:cubicBezTo>
                  <a:cubicBezTo>
                    <a:pt x="293" y="161"/>
                    <a:pt x="295" y="154"/>
                    <a:pt x="296" y="149"/>
                  </a:cubicBezTo>
                  <a:cubicBezTo>
                    <a:pt x="296" y="135"/>
                    <a:pt x="297" y="119"/>
                    <a:pt x="294" y="105"/>
                  </a:cubicBezTo>
                  <a:cubicBezTo>
                    <a:pt x="283" y="53"/>
                    <a:pt x="328" y="37"/>
                    <a:pt x="354" y="9"/>
                  </a:cubicBezTo>
                  <a:cubicBezTo>
                    <a:pt x="357" y="6"/>
                    <a:pt x="364" y="7"/>
                    <a:pt x="369" y="7"/>
                  </a:cubicBezTo>
                  <a:cubicBezTo>
                    <a:pt x="420" y="4"/>
                    <a:pt x="472" y="1"/>
                    <a:pt x="523" y="0"/>
                  </a:cubicBezTo>
                  <a:cubicBezTo>
                    <a:pt x="532" y="0"/>
                    <a:pt x="544" y="4"/>
                    <a:pt x="551" y="10"/>
                  </a:cubicBezTo>
                  <a:cubicBezTo>
                    <a:pt x="566" y="24"/>
                    <a:pt x="581" y="39"/>
                    <a:pt x="593" y="56"/>
                  </a:cubicBezTo>
                  <a:cubicBezTo>
                    <a:pt x="599" y="65"/>
                    <a:pt x="599" y="78"/>
                    <a:pt x="599" y="90"/>
                  </a:cubicBezTo>
                  <a:cubicBezTo>
                    <a:pt x="598" y="118"/>
                    <a:pt x="604" y="135"/>
                    <a:pt x="636" y="147"/>
                  </a:cubicBezTo>
                  <a:cubicBezTo>
                    <a:pt x="663" y="156"/>
                    <a:pt x="681" y="158"/>
                    <a:pt x="698" y="137"/>
                  </a:cubicBezTo>
                  <a:cubicBezTo>
                    <a:pt x="730" y="98"/>
                    <a:pt x="773" y="113"/>
                    <a:pt x="812" y="115"/>
                  </a:cubicBezTo>
                  <a:cubicBezTo>
                    <a:pt x="822" y="116"/>
                    <a:pt x="832" y="132"/>
                    <a:pt x="840" y="143"/>
                  </a:cubicBezTo>
                  <a:cubicBezTo>
                    <a:pt x="868" y="177"/>
                    <a:pt x="896" y="211"/>
                    <a:pt x="922" y="246"/>
                  </a:cubicBezTo>
                  <a:cubicBezTo>
                    <a:pt x="928" y="253"/>
                    <a:pt x="931" y="264"/>
                    <a:pt x="931" y="273"/>
                  </a:cubicBezTo>
                  <a:cubicBezTo>
                    <a:pt x="931" y="343"/>
                    <a:pt x="931" y="343"/>
                    <a:pt x="876" y="385"/>
                  </a:cubicBezTo>
                  <a:cubicBezTo>
                    <a:pt x="844" y="410"/>
                    <a:pt x="847" y="450"/>
                    <a:pt x="882" y="470"/>
                  </a:cubicBezTo>
                  <a:cubicBezTo>
                    <a:pt x="897" y="479"/>
                    <a:pt x="911" y="489"/>
                    <a:pt x="926" y="497"/>
                  </a:cubicBezTo>
                  <a:cubicBezTo>
                    <a:pt x="944" y="507"/>
                    <a:pt x="951" y="522"/>
                    <a:pt x="957" y="542"/>
                  </a:cubicBezTo>
                  <a:cubicBezTo>
                    <a:pt x="970" y="581"/>
                    <a:pt x="963" y="613"/>
                    <a:pt x="938" y="645"/>
                  </a:cubicBezTo>
                  <a:cubicBezTo>
                    <a:pt x="916" y="675"/>
                    <a:pt x="898" y="709"/>
                    <a:pt x="877" y="741"/>
                  </a:cubicBezTo>
                  <a:cubicBezTo>
                    <a:pt x="872" y="748"/>
                    <a:pt x="863" y="754"/>
                    <a:pt x="854" y="757"/>
                  </a:cubicBezTo>
                  <a:cubicBezTo>
                    <a:pt x="838" y="762"/>
                    <a:pt x="821" y="766"/>
                    <a:pt x="804" y="768"/>
                  </a:cubicBezTo>
                  <a:cubicBezTo>
                    <a:pt x="795" y="769"/>
                    <a:pt x="784" y="767"/>
                    <a:pt x="776" y="763"/>
                  </a:cubicBezTo>
                  <a:cubicBezTo>
                    <a:pt x="766" y="759"/>
                    <a:pt x="757" y="753"/>
                    <a:pt x="749" y="747"/>
                  </a:cubicBezTo>
                  <a:cubicBezTo>
                    <a:pt x="727" y="728"/>
                    <a:pt x="707" y="729"/>
                    <a:pt x="685" y="747"/>
                  </a:cubicBezTo>
                  <a:cubicBezTo>
                    <a:pt x="677" y="754"/>
                    <a:pt x="672" y="760"/>
                    <a:pt x="673" y="771"/>
                  </a:cubicBezTo>
                  <a:cubicBezTo>
                    <a:pt x="675" y="784"/>
                    <a:pt x="673" y="797"/>
                    <a:pt x="676" y="809"/>
                  </a:cubicBezTo>
                  <a:cubicBezTo>
                    <a:pt x="684" y="842"/>
                    <a:pt x="670" y="864"/>
                    <a:pt x="645" y="884"/>
                  </a:cubicBezTo>
                  <a:cubicBezTo>
                    <a:pt x="625" y="901"/>
                    <a:pt x="606" y="914"/>
                    <a:pt x="579" y="912"/>
                  </a:cubicBezTo>
                  <a:cubicBezTo>
                    <a:pt x="560" y="911"/>
                    <a:pt x="542" y="914"/>
                    <a:pt x="523" y="915"/>
                  </a:cubicBezTo>
                  <a:cubicBezTo>
                    <a:pt x="523" y="915"/>
                    <a:pt x="523" y="915"/>
                    <a:pt x="523" y="915"/>
                  </a:cubicBezTo>
                  <a:close/>
                  <a:moveTo>
                    <a:pt x="474" y="273"/>
                  </a:moveTo>
                  <a:cubicBezTo>
                    <a:pt x="369" y="272"/>
                    <a:pt x="287" y="358"/>
                    <a:pt x="288" y="460"/>
                  </a:cubicBezTo>
                  <a:cubicBezTo>
                    <a:pt x="290" y="565"/>
                    <a:pt x="375" y="647"/>
                    <a:pt x="476" y="646"/>
                  </a:cubicBezTo>
                  <a:cubicBezTo>
                    <a:pt x="581" y="644"/>
                    <a:pt x="662" y="558"/>
                    <a:pt x="661" y="460"/>
                  </a:cubicBezTo>
                  <a:cubicBezTo>
                    <a:pt x="660" y="354"/>
                    <a:pt x="576" y="271"/>
                    <a:pt x="474" y="2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EYInterstate Light"/>
              </a:endParaRPr>
            </a:p>
          </p:txBody>
        </p:sp>
        <p:sp>
          <p:nvSpPr>
            <p:cNvPr id="145" name="Freeform 50">
              <a:extLst>
                <a:ext uri="{FF2B5EF4-FFF2-40B4-BE49-F238E27FC236}">
                  <a16:creationId xmlns:a16="http://schemas.microsoft.com/office/drawing/2014/main" id="{52F88EB8-192B-4ACA-B85A-3009160EE9C8}"/>
                </a:ext>
              </a:extLst>
            </p:cNvPr>
            <p:cNvSpPr>
              <a:spLocks/>
            </p:cNvSpPr>
            <p:nvPr/>
          </p:nvSpPr>
          <p:spPr bwMode="auto">
            <a:xfrm>
              <a:off x="8532813" y="5930900"/>
              <a:ext cx="811213" cy="649288"/>
            </a:xfrm>
            <a:custGeom>
              <a:avLst/>
              <a:gdLst>
                <a:gd name="T0" fmla="*/ 317 w 1042"/>
                <a:gd name="T1" fmla="*/ 122 h 833"/>
                <a:gd name="T2" fmla="*/ 352 w 1042"/>
                <a:gd name="T3" fmla="*/ 35 h 833"/>
                <a:gd name="T4" fmla="*/ 418 w 1042"/>
                <a:gd name="T5" fmla="*/ 7 h 833"/>
                <a:gd name="T6" fmla="*/ 562 w 1042"/>
                <a:gd name="T7" fmla="*/ 0 h 833"/>
                <a:gd name="T8" fmla="*/ 592 w 1042"/>
                <a:gd name="T9" fmla="*/ 11 h 833"/>
                <a:gd name="T10" fmla="*/ 597 w 1042"/>
                <a:gd name="T11" fmla="*/ 17 h 833"/>
                <a:gd name="T12" fmla="*/ 646 w 1042"/>
                <a:gd name="T13" fmla="*/ 130 h 833"/>
                <a:gd name="T14" fmla="*/ 659 w 1042"/>
                <a:gd name="T15" fmla="*/ 148 h 833"/>
                <a:gd name="T16" fmla="*/ 680 w 1042"/>
                <a:gd name="T17" fmla="*/ 155 h 833"/>
                <a:gd name="T18" fmla="*/ 754 w 1042"/>
                <a:gd name="T19" fmla="*/ 146 h 833"/>
                <a:gd name="T20" fmla="*/ 873 w 1042"/>
                <a:gd name="T21" fmla="*/ 124 h 833"/>
                <a:gd name="T22" fmla="*/ 885 w 1042"/>
                <a:gd name="T23" fmla="*/ 133 h 833"/>
                <a:gd name="T24" fmla="*/ 989 w 1042"/>
                <a:gd name="T25" fmla="*/ 262 h 833"/>
                <a:gd name="T26" fmla="*/ 1001 w 1042"/>
                <a:gd name="T27" fmla="*/ 302 h 833"/>
                <a:gd name="T28" fmla="*/ 944 w 1042"/>
                <a:gd name="T29" fmla="*/ 415 h 833"/>
                <a:gd name="T30" fmla="*/ 920 w 1042"/>
                <a:gd name="T31" fmla="*/ 438 h 833"/>
                <a:gd name="T32" fmla="*/ 925 w 1042"/>
                <a:gd name="T33" fmla="*/ 491 h 833"/>
                <a:gd name="T34" fmla="*/ 935 w 1042"/>
                <a:gd name="T35" fmla="*/ 500 h 833"/>
                <a:gd name="T36" fmla="*/ 1010 w 1042"/>
                <a:gd name="T37" fmla="*/ 546 h 833"/>
                <a:gd name="T38" fmla="*/ 1015 w 1042"/>
                <a:gd name="T39" fmla="*/ 549 h 833"/>
                <a:gd name="T40" fmla="*/ 1033 w 1042"/>
                <a:gd name="T41" fmla="*/ 657 h 833"/>
                <a:gd name="T42" fmla="*/ 943 w 1042"/>
                <a:gd name="T43" fmla="*/ 801 h 833"/>
                <a:gd name="T44" fmla="*/ 836 w 1042"/>
                <a:gd name="T45" fmla="*/ 825 h 833"/>
                <a:gd name="T46" fmla="*/ 806 w 1042"/>
                <a:gd name="T47" fmla="*/ 770 h 833"/>
                <a:gd name="T48" fmla="*/ 766 w 1042"/>
                <a:gd name="T49" fmla="*/ 679 h 833"/>
                <a:gd name="T50" fmla="*/ 699 w 1042"/>
                <a:gd name="T51" fmla="*/ 594 h 833"/>
                <a:gd name="T52" fmla="*/ 695 w 1042"/>
                <a:gd name="T53" fmla="*/ 572 h 833"/>
                <a:gd name="T54" fmla="*/ 494 w 1042"/>
                <a:gd name="T55" fmla="*/ 295 h 833"/>
                <a:gd name="T56" fmla="*/ 331 w 1042"/>
                <a:gd name="T57" fmla="*/ 409 h 833"/>
                <a:gd name="T58" fmla="*/ 286 w 1042"/>
                <a:gd name="T59" fmla="*/ 438 h 833"/>
                <a:gd name="T60" fmla="*/ 186 w 1042"/>
                <a:gd name="T61" fmla="*/ 441 h 833"/>
                <a:gd name="T62" fmla="*/ 123 w 1042"/>
                <a:gd name="T63" fmla="*/ 468 h 833"/>
                <a:gd name="T64" fmla="*/ 65 w 1042"/>
                <a:gd name="T65" fmla="*/ 478 h 833"/>
                <a:gd name="T66" fmla="*/ 9 w 1042"/>
                <a:gd name="T67" fmla="*/ 415 h 833"/>
                <a:gd name="T68" fmla="*/ 15 w 1042"/>
                <a:gd name="T69" fmla="*/ 342 h 833"/>
                <a:gd name="T70" fmla="*/ 85 w 1042"/>
                <a:gd name="T71" fmla="*/ 203 h 833"/>
                <a:gd name="T72" fmla="*/ 106 w 1042"/>
                <a:gd name="T73" fmla="*/ 186 h 833"/>
                <a:gd name="T74" fmla="*/ 248 w 1042"/>
                <a:gd name="T75" fmla="*/ 202 h 833"/>
                <a:gd name="T76" fmla="*/ 275 w 1042"/>
                <a:gd name="T77" fmla="*/ 200 h 833"/>
                <a:gd name="T78" fmla="*/ 278 w 1042"/>
                <a:gd name="T79" fmla="*/ 198 h 833"/>
                <a:gd name="T80" fmla="*/ 317 w 1042"/>
                <a:gd name="T81" fmla="*/ 122 h 8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42" h="833">
                  <a:moveTo>
                    <a:pt x="317" y="122"/>
                  </a:moveTo>
                  <a:cubicBezTo>
                    <a:pt x="304" y="83"/>
                    <a:pt x="325" y="60"/>
                    <a:pt x="352" y="35"/>
                  </a:cubicBezTo>
                  <a:cubicBezTo>
                    <a:pt x="372" y="17"/>
                    <a:pt x="392" y="8"/>
                    <a:pt x="418" y="7"/>
                  </a:cubicBezTo>
                  <a:cubicBezTo>
                    <a:pt x="466" y="6"/>
                    <a:pt x="514" y="2"/>
                    <a:pt x="562" y="0"/>
                  </a:cubicBezTo>
                  <a:cubicBezTo>
                    <a:pt x="572" y="0"/>
                    <a:pt x="582" y="7"/>
                    <a:pt x="592" y="11"/>
                  </a:cubicBezTo>
                  <a:cubicBezTo>
                    <a:pt x="594" y="12"/>
                    <a:pt x="595" y="15"/>
                    <a:pt x="597" y="17"/>
                  </a:cubicBezTo>
                  <a:cubicBezTo>
                    <a:pt x="633" y="46"/>
                    <a:pt x="651" y="82"/>
                    <a:pt x="646" y="130"/>
                  </a:cubicBezTo>
                  <a:cubicBezTo>
                    <a:pt x="645" y="135"/>
                    <a:pt x="653" y="143"/>
                    <a:pt x="659" y="148"/>
                  </a:cubicBezTo>
                  <a:cubicBezTo>
                    <a:pt x="665" y="152"/>
                    <a:pt x="674" y="151"/>
                    <a:pt x="680" y="155"/>
                  </a:cubicBezTo>
                  <a:cubicBezTo>
                    <a:pt x="708" y="176"/>
                    <a:pt x="732" y="172"/>
                    <a:pt x="754" y="146"/>
                  </a:cubicBezTo>
                  <a:cubicBezTo>
                    <a:pt x="788" y="106"/>
                    <a:pt x="832" y="126"/>
                    <a:pt x="873" y="124"/>
                  </a:cubicBezTo>
                  <a:cubicBezTo>
                    <a:pt x="877" y="124"/>
                    <a:pt x="882" y="129"/>
                    <a:pt x="885" y="133"/>
                  </a:cubicBezTo>
                  <a:cubicBezTo>
                    <a:pt x="920" y="176"/>
                    <a:pt x="956" y="218"/>
                    <a:pt x="989" y="262"/>
                  </a:cubicBezTo>
                  <a:cubicBezTo>
                    <a:pt x="997" y="273"/>
                    <a:pt x="1001" y="289"/>
                    <a:pt x="1001" y="302"/>
                  </a:cubicBezTo>
                  <a:cubicBezTo>
                    <a:pt x="1000" y="373"/>
                    <a:pt x="999" y="373"/>
                    <a:pt x="944" y="415"/>
                  </a:cubicBezTo>
                  <a:cubicBezTo>
                    <a:pt x="935" y="421"/>
                    <a:pt x="921" y="429"/>
                    <a:pt x="920" y="438"/>
                  </a:cubicBezTo>
                  <a:cubicBezTo>
                    <a:pt x="918" y="455"/>
                    <a:pt x="922" y="473"/>
                    <a:pt x="925" y="491"/>
                  </a:cubicBezTo>
                  <a:cubicBezTo>
                    <a:pt x="926" y="494"/>
                    <a:pt x="932" y="497"/>
                    <a:pt x="935" y="500"/>
                  </a:cubicBezTo>
                  <a:cubicBezTo>
                    <a:pt x="960" y="515"/>
                    <a:pt x="985" y="530"/>
                    <a:pt x="1010" y="546"/>
                  </a:cubicBezTo>
                  <a:cubicBezTo>
                    <a:pt x="1012" y="547"/>
                    <a:pt x="1014" y="548"/>
                    <a:pt x="1015" y="549"/>
                  </a:cubicBezTo>
                  <a:cubicBezTo>
                    <a:pt x="1029" y="561"/>
                    <a:pt x="1042" y="641"/>
                    <a:pt x="1033" y="657"/>
                  </a:cubicBezTo>
                  <a:cubicBezTo>
                    <a:pt x="1003" y="705"/>
                    <a:pt x="973" y="753"/>
                    <a:pt x="943" y="801"/>
                  </a:cubicBezTo>
                  <a:cubicBezTo>
                    <a:pt x="933" y="817"/>
                    <a:pt x="853" y="833"/>
                    <a:pt x="836" y="825"/>
                  </a:cubicBezTo>
                  <a:cubicBezTo>
                    <a:pt x="812" y="813"/>
                    <a:pt x="799" y="797"/>
                    <a:pt x="806" y="770"/>
                  </a:cubicBezTo>
                  <a:cubicBezTo>
                    <a:pt x="817" y="729"/>
                    <a:pt x="786" y="706"/>
                    <a:pt x="766" y="679"/>
                  </a:cubicBezTo>
                  <a:cubicBezTo>
                    <a:pt x="744" y="650"/>
                    <a:pt x="720" y="623"/>
                    <a:pt x="699" y="594"/>
                  </a:cubicBezTo>
                  <a:cubicBezTo>
                    <a:pt x="695" y="589"/>
                    <a:pt x="693" y="578"/>
                    <a:pt x="695" y="572"/>
                  </a:cubicBezTo>
                  <a:cubicBezTo>
                    <a:pt x="749" y="429"/>
                    <a:pt x="646" y="285"/>
                    <a:pt x="494" y="295"/>
                  </a:cubicBezTo>
                  <a:cubicBezTo>
                    <a:pt x="419" y="300"/>
                    <a:pt x="363" y="340"/>
                    <a:pt x="331" y="409"/>
                  </a:cubicBezTo>
                  <a:cubicBezTo>
                    <a:pt x="321" y="430"/>
                    <a:pt x="310" y="439"/>
                    <a:pt x="286" y="438"/>
                  </a:cubicBezTo>
                  <a:cubicBezTo>
                    <a:pt x="253" y="437"/>
                    <a:pt x="220" y="442"/>
                    <a:pt x="186" y="441"/>
                  </a:cubicBezTo>
                  <a:cubicBezTo>
                    <a:pt x="161" y="441"/>
                    <a:pt x="141" y="449"/>
                    <a:pt x="123" y="468"/>
                  </a:cubicBezTo>
                  <a:cubicBezTo>
                    <a:pt x="98" y="494"/>
                    <a:pt x="98" y="491"/>
                    <a:pt x="65" y="478"/>
                  </a:cubicBezTo>
                  <a:cubicBezTo>
                    <a:pt x="35" y="465"/>
                    <a:pt x="17" y="448"/>
                    <a:pt x="9" y="415"/>
                  </a:cubicBezTo>
                  <a:cubicBezTo>
                    <a:pt x="2" y="389"/>
                    <a:pt x="0" y="367"/>
                    <a:pt x="15" y="342"/>
                  </a:cubicBezTo>
                  <a:cubicBezTo>
                    <a:pt x="40" y="297"/>
                    <a:pt x="61" y="249"/>
                    <a:pt x="85" y="203"/>
                  </a:cubicBezTo>
                  <a:cubicBezTo>
                    <a:pt x="89" y="195"/>
                    <a:pt x="98" y="188"/>
                    <a:pt x="106" y="186"/>
                  </a:cubicBezTo>
                  <a:cubicBezTo>
                    <a:pt x="181" y="166"/>
                    <a:pt x="181" y="167"/>
                    <a:pt x="248" y="202"/>
                  </a:cubicBezTo>
                  <a:cubicBezTo>
                    <a:pt x="258" y="207"/>
                    <a:pt x="266" y="210"/>
                    <a:pt x="275" y="200"/>
                  </a:cubicBezTo>
                  <a:cubicBezTo>
                    <a:pt x="276" y="199"/>
                    <a:pt x="277" y="199"/>
                    <a:pt x="278" y="198"/>
                  </a:cubicBezTo>
                  <a:cubicBezTo>
                    <a:pt x="314" y="184"/>
                    <a:pt x="328" y="160"/>
                    <a:pt x="317" y="1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EYInterstate Light"/>
              </a:endParaRPr>
            </a:p>
          </p:txBody>
        </p:sp>
        <p:sp>
          <p:nvSpPr>
            <p:cNvPr id="146" name="Freeform 51">
              <a:extLst>
                <a:ext uri="{FF2B5EF4-FFF2-40B4-BE49-F238E27FC236}">
                  <a16:creationId xmlns:a16="http://schemas.microsoft.com/office/drawing/2014/main" id="{542E87B8-A98F-4AB2-8097-5ECF1F541935}"/>
                </a:ext>
              </a:extLst>
            </p:cNvPr>
            <p:cNvSpPr>
              <a:spLocks noEditPoints="1"/>
            </p:cNvSpPr>
            <p:nvPr/>
          </p:nvSpPr>
          <p:spPr bwMode="auto">
            <a:xfrm>
              <a:off x="7824788" y="5516563"/>
              <a:ext cx="463550" cy="438150"/>
            </a:xfrm>
            <a:custGeom>
              <a:avLst/>
              <a:gdLst>
                <a:gd name="T0" fmla="*/ 560 w 596"/>
                <a:gd name="T1" fmla="*/ 177 h 562"/>
                <a:gd name="T2" fmla="*/ 531 w 596"/>
                <a:gd name="T3" fmla="*/ 227 h 562"/>
                <a:gd name="T4" fmla="*/ 536 w 596"/>
                <a:gd name="T5" fmla="*/ 281 h 562"/>
                <a:gd name="T6" fmla="*/ 553 w 596"/>
                <a:gd name="T7" fmla="*/ 291 h 562"/>
                <a:gd name="T8" fmla="*/ 575 w 596"/>
                <a:gd name="T9" fmla="*/ 380 h 562"/>
                <a:gd name="T10" fmla="*/ 546 w 596"/>
                <a:gd name="T11" fmla="*/ 430 h 562"/>
                <a:gd name="T12" fmla="*/ 460 w 596"/>
                <a:gd name="T13" fmla="*/ 451 h 562"/>
                <a:gd name="T14" fmla="*/ 428 w 596"/>
                <a:gd name="T15" fmla="*/ 446 h 562"/>
                <a:gd name="T16" fmla="*/ 415 w 596"/>
                <a:gd name="T17" fmla="*/ 480 h 562"/>
                <a:gd name="T18" fmla="*/ 394 w 596"/>
                <a:gd name="T19" fmla="*/ 540 h 562"/>
                <a:gd name="T20" fmla="*/ 368 w 596"/>
                <a:gd name="T21" fmla="*/ 552 h 562"/>
                <a:gd name="T22" fmla="*/ 292 w 596"/>
                <a:gd name="T23" fmla="*/ 559 h 562"/>
                <a:gd name="T24" fmla="*/ 233 w 596"/>
                <a:gd name="T25" fmla="*/ 509 h 562"/>
                <a:gd name="T26" fmla="*/ 205 w 596"/>
                <a:gd name="T27" fmla="*/ 470 h 562"/>
                <a:gd name="T28" fmla="*/ 169 w 596"/>
                <a:gd name="T29" fmla="*/ 490 h 562"/>
                <a:gd name="T30" fmla="*/ 89 w 596"/>
                <a:gd name="T31" fmla="*/ 484 h 562"/>
                <a:gd name="T32" fmla="*/ 38 w 596"/>
                <a:gd name="T33" fmla="*/ 424 h 562"/>
                <a:gd name="T34" fmla="*/ 45 w 596"/>
                <a:gd name="T35" fmla="*/ 351 h 562"/>
                <a:gd name="T36" fmla="*/ 71 w 596"/>
                <a:gd name="T37" fmla="*/ 311 h 562"/>
                <a:gd name="T38" fmla="*/ 48 w 596"/>
                <a:gd name="T39" fmla="*/ 285 h 562"/>
                <a:gd name="T40" fmla="*/ 1 w 596"/>
                <a:gd name="T41" fmla="*/ 233 h 562"/>
                <a:gd name="T42" fmla="*/ 2 w 596"/>
                <a:gd name="T43" fmla="*/ 213 h 562"/>
                <a:gd name="T44" fmla="*/ 37 w 596"/>
                <a:gd name="T45" fmla="*/ 134 h 562"/>
                <a:gd name="T46" fmla="*/ 105 w 596"/>
                <a:gd name="T47" fmla="*/ 108 h 562"/>
                <a:gd name="T48" fmla="*/ 123 w 596"/>
                <a:gd name="T49" fmla="*/ 116 h 562"/>
                <a:gd name="T50" fmla="*/ 172 w 596"/>
                <a:gd name="T51" fmla="*/ 81 h 562"/>
                <a:gd name="T52" fmla="*/ 198 w 596"/>
                <a:gd name="T53" fmla="*/ 18 h 562"/>
                <a:gd name="T54" fmla="*/ 221 w 596"/>
                <a:gd name="T55" fmla="*/ 9 h 562"/>
                <a:gd name="T56" fmla="*/ 293 w 596"/>
                <a:gd name="T57" fmla="*/ 3 h 562"/>
                <a:gd name="T58" fmla="*/ 355 w 596"/>
                <a:gd name="T59" fmla="*/ 54 h 562"/>
                <a:gd name="T60" fmla="*/ 384 w 596"/>
                <a:gd name="T61" fmla="*/ 91 h 562"/>
                <a:gd name="T62" fmla="*/ 420 w 596"/>
                <a:gd name="T63" fmla="*/ 79 h 562"/>
                <a:gd name="T64" fmla="*/ 503 w 596"/>
                <a:gd name="T65" fmla="*/ 84 h 562"/>
                <a:gd name="T66" fmla="*/ 544 w 596"/>
                <a:gd name="T67" fmla="*/ 130 h 562"/>
                <a:gd name="T68" fmla="*/ 560 w 596"/>
                <a:gd name="T69" fmla="*/ 177 h 562"/>
                <a:gd name="T70" fmla="*/ 401 w 596"/>
                <a:gd name="T71" fmla="*/ 281 h 562"/>
                <a:gd name="T72" fmla="*/ 289 w 596"/>
                <a:gd name="T73" fmla="*/ 168 h 562"/>
                <a:gd name="T74" fmla="*/ 173 w 596"/>
                <a:gd name="T75" fmla="*/ 280 h 562"/>
                <a:gd name="T76" fmla="*/ 285 w 596"/>
                <a:gd name="T77" fmla="*/ 394 h 562"/>
                <a:gd name="T78" fmla="*/ 401 w 596"/>
                <a:gd name="T79" fmla="*/ 281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96" h="562">
                  <a:moveTo>
                    <a:pt x="560" y="177"/>
                  </a:moveTo>
                  <a:cubicBezTo>
                    <a:pt x="569" y="204"/>
                    <a:pt x="546" y="214"/>
                    <a:pt x="531" y="227"/>
                  </a:cubicBezTo>
                  <a:cubicBezTo>
                    <a:pt x="510" y="246"/>
                    <a:pt x="512" y="268"/>
                    <a:pt x="536" y="281"/>
                  </a:cubicBezTo>
                  <a:cubicBezTo>
                    <a:pt x="542" y="285"/>
                    <a:pt x="548" y="288"/>
                    <a:pt x="553" y="291"/>
                  </a:cubicBezTo>
                  <a:cubicBezTo>
                    <a:pt x="588" y="312"/>
                    <a:pt x="596" y="345"/>
                    <a:pt x="575" y="380"/>
                  </a:cubicBezTo>
                  <a:cubicBezTo>
                    <a:pt x="565" y="396"/>
                    <a:pt x="555" y="413"/>
                    <a:pt x="546" y="430"/>
                  </a:cubicBezTo>
                  <a:cubicBezTo>
                    <a:pt x="527" y="462"/>
                    <a:pt x="492" y="470"/>
                    <a:pt x="460" y="451"/>
                  </a:cubicBezTo>
                  <a:cubicBezTo>
                    <a:pt x="451" y="445"/>
                    <a:pt x="442" y="437"/>
                    <a:pt x="428" y="446"/>
                  </a:cubicBezTo>
                  <a:cubicBezTo>
                    <a:pt x="414" y="455"/>
                    <a:pt x="411" y="465"/>
                    <a:pt x="415" y="480"/>
                  </a:cubicBezTo>
                  <a:cubicBezTo>
                    <a:pt x="421" y="504"/>
                    <a:pt x="416" y="526"/>
                    <a:pt x="394" y="540"/>
                  </a:cubicBezTo>
                  <a:cubicBezTo>
                    <a:pt x="386" y="545"/>
                    <a:pt x="377" y="551"/>
                    <a:pt x="368" y="552"/>
                  </a:cubicBezTo>
                  <a:cubicBezTo>
                    <a:pt x="343" y="556"/>
                    <a:pt x="317" y="557"/>
                    <a:pt x="292" y="559"/>
                  </a:cubicBezTo>
                  <a:cubicBezTo>
                    <a:pt x="264" y="562"/>
                    <a:pt x="234" y="538"/>
                    <a:pt x="233" y="509"/>
                  </a:cubicBezTo>
                  <a:cubicBezTo>
                    <a:pt x="232" y="489"/>
                    <a:pt x="227" y="476"/>
                    <a:pt x="205" y="470"/>
                  </a:cubicBezTo>
                  <a:cubicBezTo>
                    <a:pt x="186" y="466"/>
                    <a:pt x="179" y="482"/>
                    <a:pt x="169" y="490"/>
                  </a:cubicBezTo>
                  <a:cubicBezTo>
                    <a:pt x="141" y="511"/>
                    <a:pt x="113" y="511"/>
                    <a:pt x="89" y="484"/>
                  </a:cubicBezTo>
                  <a:cubicBezTo>
                    <a:pt x="72" y="465"/>
                    <a:pt x="55" y="444"/>
                    <a:pt x="38" y="424"/>
                  </a:cubicBezTo>
                  <a:cubicBezTo>
                    <a:pt x="24" y="407"/>
                    <a:pt x="29" y="367"/>
                    <a:pt x="45" y="351"/>
                  </a:cubicBezTo>
                  <a:cubicBezTo>
                    <a:pt x="57" y="340"/>
                    <a:pt x="76" y="335"/>
                    <a:pt x="71" y="311"/>
                  </a:cubicBezTo>
                  <a:cubicBezTo>
                    <a:pt x="68" y="297"/>
                    <a:pt x="62" y="289"/>
                    <a:pt x="48" y="285"/>
                  </a:cubicBezTo>
                  <a:cubicBezTo>
                    <a:pt x="23" y="277"/>
                    <a:pt x="3" y="263"/>
                    <a:pt x="1" y="233"/>
                  </a:cubicBezTo>
                  <a:cubicBezTo>
                    <a:pt x="0" y="226"/>
                    <a:pt x="0" y="219"/>
                    <a:pt x="2" y="213"/>
                  </a:cubicBezTo>
                  <a:cubicBezTo>
                    <a:pt x="13" y="186"/>
                    <a:pt x="25" y="160"/>
                    <a:pt x="37" y="134"/>
                  </a:cubicBezTo>
                  <a:cubicBezTo>
                    <a:pt x="47" y="113"/>
                    <a:pt x="82" y="99"/>
                    <a:pt x="105" y="108"/>
                  </a:cubicBezTo>
                  <a:cubicBezTo>
                    <a:pt x="111" y="110"/>
                    <a:pt x="117" y="113"/>
                    <a:pt x="123" y="116"/>
                  </a:cubicBezTo>
                  <a:cubicBezTo>
                    <a:pt x="152" y="129"/>
                    <a:pt x="178" y="113"/>
                    <a:pt x="172" y="81"/>
                  </a:cubicBezTo>
                  <a:cubicBezTo>
                    <a:pt x="166" y="52"/>
                    <a:pt x="177" y="34"/>
                    <a:pt x="198" y="18"/>
                  </a:cubicBezTo>
                  <a:cubicBezTo>
                    <a:pt x="204" y="14"/>
                    <a:pt x="213" y="10"/>
                    <a:pt x="221" y="9"/>
                  </a:cubicBezTo>
                  <a:cubicBezTo>
                    <a:pt x="245" y="6"/>
                    <a:pt x="269" y="5"/>
                    <a:pt x="293" y="3"/>
                  </a:cubicBezTo>
                  <a:cubicBezTo>
                    <a:pt x="323" y="0"/>
                    <a:pt x="353" y="22"/>
                    <a:pt x="355" y="54"/>
                  </a:cubicBezTo>
                  <a:cubicBezTo>
                    <a:pt x="356" y="75"/>
                    <a:pt x="364" y="84"/>
                    <a:pt x="384" y="91"/>
                  </a:cubicBezTo>
                  <a:cubicBezTo>
                    <a:pt x="402" y="97"/>
                    <a:pt x="411" y="87"/>
                    <a:pt x="420" y="79"/>
                  </a:cubicBezTo>
                  <a:cubicBezTo>
                    <a:pt x="447" y="57"/>
                    <a:pt x="481" y="58"/>
                    <a:pt x="503" y="84"/>
                  </a:cubicBezTo>
                  <a:cubicBezTo>
                    <a:pt x="517" y="99"/>
                    <a:pt x="529" y="116"/>
                    <a:pt x="544" y="130"/>
                  </a:cubicBezTo>
                  <a:cubicBezTo>
                    <a:pt x="557" y="144"/>
                    <a:pt x="565" y="158"/>
                    <a:pt x="560" y="177"/>
                  </a:cubicBezTo>
                  <a:close/>
                  <a:moveTo>
                    <a:pt x="401" y="281"/>
                  </a:moveTo>
                  <a:cubicBezTo>
                    <a:pt x="402" y="222"/>
                    <a:pt x="350" y="169"/>
                    <a:pt x="289" y="168"/>
                  </a:cubicBezTo>
                  <a:cubicBezTo>
                    <a:pt x="227" y="167"/>
                    <a:pt x="175" y="217"/>
                    <a:pt x="173" y="280"/>
                  </a:cubicBezTo>
                  <a:cubicBezTo>
                    <a:pt x="172" y="340"/>
                    <a:pt x="223" y="393"/>
                    <a:pt x="285" y="394"/>
                  </a:cubicBezTo>
                  <a:cubicBezTo>
                    <a:pt x="348" y="396"/>
                    <a:pt x="400" y="345"/>
                    <a:pt x="401" y="28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EYInterstate Light"/>
              </a:endParaRPr>
            </a:p>
          </p:txBody>
        </p:sp>
        <p:sp>
          <p:nvSpPr>
            <p:cNvPr id="147" name="Freeform 52">
              <a:extLst>
                <a:ext uri="{FF2B5EF4-FFF2-40B4-BE49-F238E27FC236}">
                  <a16:creationId xmlns:a16="http://schemas.microsoft.com/office/drawing/2014/main" id="{350C1231-9FEF-4396-823E-9C7D530F6E4F}"/>
                </a:ext>
              </a:extLst>
            </p:cNvPr>
            <p:cNvSpPr>
              <a:spLocks/>
            </p:cNvSpPr>
            <p:nvPr/>
          </p:nvSpPr>
          <p:spPr bwMode="auto">
            <a:xfrm>
              <a:off x="8104188" y="5373688"/>
              <a:ext cx="952500" cy="109538"/>
            </a:xfrm>
            <a:custGeom>
              <a:avLst/>
              <a:gdLst>
                <a:gd name="T0" fmla="*/ 613 w 1222"/>
                <a:gd name="T1" fmla="*/ 0 h 140"/>
                <a:gd name="T2" fmla="*/ 1139 w 1222"/>
                <a:gd name="T3" fmla="*/ 0 h 140"/>
                <a:gd name="T4" fmla="*/ 1187 w 1222"/>
                <a:gd name="T5" fmla="*/ 10 h 140"/>
                <a:gd name="T6" fmla="*/ 1215 w 1222"/>
                <a:gd name="T7" fmla="*/ 91 h 140"/>
                <a:gd name="T8" fmla="*/ 1160 w 1222"/>
                <a:gd name="T9" fmla="*/ 139 h 140"/>
                <a:gd name="T10" fmla="*/ 1140 w 1222"/>
                <a:gd name="T11" fmla="*/ 140 h 140"/>
                <a:gd name="T12" fmla="*/ 82 w 1222"/>
                <a:gd name="T13" fmla="*/ 140 h 140"/>
                <a:gd name="T14" fmla="*/ 14 w 1222"/>
                <a:gd name="T15" fmla="*/ 104 h 140"/>
                <a:gd name="T16" fmla="*/ 19 w 1222"/>
                <a:gd name="T17" fmla="*/ 25 h 140"/>
                <a:gd name="T18" fmla="*/ 73 w 1222"/>
                <a:gd name="T19" fmla="*/ 0 h 140"/>
                <a:gd name="T20" fmla="*/ 187 w 1222"/>
                <a:gd name="T21" fmla="*/ 0 h 140"/>
                <a:gd name="T22" fmla="*/ 613 w 1222"/>
                <a:gd name="T23" fmla="*/ 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22" h="140">
                  <a:moveTo>
                    <a:pt x="613" y="0"/>
                  </a:moveTo>
                  <a:cubicBezTo>
                    <a:pt x="788" y="0"/>
                    <a:pt x="964" y="0"/>
                    <a:pt x="1139" y="0"/>
                  </a:cubicBezTo>
                  <a:cubicBezTo>
                    <a:pt x="1155" y="0"/>
                    <a:pt x="1173" y="3"/>
                    <a:pt x="1187" y="10"/>
                  </a:cubicBezTo>
                  <a:cubicBezTo>
                    <a:pt x="1213" y="22"/>
                    <a:pt x="1222" y="56"/>
                    <a:pt x="1215" y="91"/>
                  </a:cubicBezTo>
                  <a:cubicBezTo>
                    <a:pt x="1209" y="117"/>
                    <a:pt x="1188" y="135"/>
                    <a:pt x="1160" y="139"/>
                  </a:cubicBezTo>
                  <a:cubicBezTo>
                    <a:pt x="1153" y="140"/>
                    <a:pt x="1147" y="140"/>
                    <a:pt x="1140" y="140"/>
                  </a:cubicBezTo>
                  <a:cubicBezTo>
                    <a:pt x="787" y="140"/>
                    <a:pt x="435" y="140"/>
                    <a:pt x="82" y="140"/>
                  </a:cubicBezTo>
                  <a:cubicBezTo>
                    <a:pt x="53" y="140"/>
                    <a:pt x="27" y="133"/>
                    <a:pt x="14" y="104"/>
                  </a:cubicBezTo>
                  <a:cubicBezTo>
                    <a:pt x="0" y="77"/>
                    <a:pt x="2" y="50"/>
                    <a:pt x="19" y="25"/>
                  </a:cubicBezTo>
                  <a:cubicBezTo>
                    <a:pt x="32" y="6"/>
                    <a:pt x="51" y="0"/>
                    <a:pt x="73" y="0"/>
                  </a:cubicBezTo>
                  <a:cubicBezTo>
                    <a:pt x="111" y="0"/>
                    <a:pt x="149" y="0"/>
                    <a:pt x="187" y="0"/>
                  </a:cubicBezTo>
                  <a:cubicBezTo>
                    <a:pt x="329" y="0"/>
                    <a:pt x="471" y="0"/>
                    <a:pt x="61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EYInterstate Light"/>
              </a:endParaRPr>
            </a:p>
          </p:txBody>
        </p:sp>
        <p:sp>
          <p:nvSpPr>
            <p:cNvPr id="148" name="Freeform 53">
              <a:extLst>
                <a:ext uri="{FF2B5EF4-FFF2-40B4-BE49-F238E27FC236}">
                  <a16:creationId xmlns:a16="http://schemas.microsoft.com/office/drawing/2014/main" id="{A2B2AA26-FED2-4D84-81D5-7922C54F7D77}"/>
                </a:ext>
              </a:extLst>
            </p:cNvPr>
            <p:cNvSpPr>
              <a:spLocks noEditPoints="1"/>
            </p:cNvSpPr>
            <p:nvPr/>
          </p:nvSpPr>
          <p:spPr bwMode="auto">
            <a:xfrm>
              <a:off x="8145463" y="5900738"/>
              <a:ext cx="347663" cy="333375"/>
            </a:xfrm>
            <a:custGeom>
              <a:avLst/>
              <a:gdLst>
                <a:gd name="T0" fmla="*/ 210 w 446"/>
                <a:gd name="T1" fmla="*/ 6 h 428"/>
                <a:gd name="T2" fmla="*/ 262 w 446"/>
                <a:gd name="T3" fmla="*/ 23 h 428"/>
                <a:gd name="T4" fmla="*/ 269 w 446"/>
                <a:gd name="T5" fmla="*/ 43 h 428"/>
                <a:gd name="T6" fmla="*/ 286 w 446"/>
                <a:gd name="T7" fmla="*/ 69 h 428"/>
                <a:gd name="T8" fmla="*/ 319 w 446"/>
                <a:gd name="T9" fmla="*/ 62 h 428"/>
                <a:gd name="T10" fmla="*/ 384 w 446"/>
                <a:gd name="T11" fmla="*/ 67 h 428"/>
                <a:gd name="T12" fmla="*/ 411 w 446"/>
                <a:gd name="T13" fmla="*/ 99 h 428"/>
                <a:gd name="T14" fmla="*/ 405 w 446"/>
                <a:gd name="T15" fmla="*/ 172 h 428"/>
                <a:gd name="T16" fmla="*/ 408 w 446"/>
                <a:gd name="T17" fmla="*/ 216 h 428"/>
                <a:gd name="T18" fmla="*/ 441 w 446"/>
                <a:gd name="T19" fmla="*/ 245 h 428"/>
                <a:gd name="T20" fmla="*/ 436 w 446"/>
                <a:gd name="T21" fmla="*/ 290 h 428"/>
                <a:gd name="T22" fmla="*/ 410 w 446"/>
                <a:gd name="T23" fmla="*/ 335 h 428"/>
                <a:gd name="T24" fmla="*/ 360 w 446"/>
                <a:gd name="T25" fmla="*/ 348 h 428"/>
                <a:gd name="T26" fmla="*/ 344 w 446"/>
                <a:gd name="T27" fmla="*/ 341 h 428"/>
                <a:gd name="T28" fmla="*/ 323 w 446"/>
                <a:gd name="T29" fmla="*/ 343 h 428"/>
                <a:gd name="T30" fmla="*/ 315 w 446"/>
                <a:gd name="T31" fmla="*/ 361 h 428"/>
                <a:gd name="T32" fmla="*/ 265 w 446"/>
                <a:gd name="T33" fmla="*/ 421 h 428"/>
                <a:gd name="T34" fmla="*/ 235 w 446"/>
                <a:gd name="T35" fmla="*/ 424 h 428"/>
                <a:gd name="T36" fmla="*/ 177 w 446"/>
                <a:gd name="T37" fmla="*/ 378 h 428"/>
                <a:gd name="T38" fmla="*/ 140 w 446"/>
                <a:gd name="T39" fmla="*/ 363 h 428"/>
                <a:gd name="T40" fmla="*/ 125 w 446"/>
                <a:gd name="T41" fmla="*/ 376 h 428"/>
                <a:gd name="T42" fmla="*/ 74 w 446"/>
                <a:gd name="T43" fmla="*/ 374 h 428"/>
                <a:gd name="T44" fmla="*/ 39 w 446"/>
                <a:gd name="T45" fmla="*/ 333 h 428"/>
                <a:gd name="T46" fmla="*/ 45 w 446"/>
                <a:gd name="T47" fmla="*/ 260 h 428"/>
                <a:gd name="T48" fmla="*/ 38 w 446"/>
                <a:gd name="T49" fmla="*/ 217 h 428"/>
                <a:gd name="T50" fmla="*/ 6 w 446"/>
                <a:gd name="T51" fmla="*/ 193 h 428"/>
                <a:gd name="T52" fmla="*/ 8 w 446"/>
                <a:gd name="T53" fmla="*/ 151 h 428"/>
                <a:gd name="T54" fmla="*/ 27 w 446"/>
                <a:gd name="T55" fmla="*/ 112 h 428"/>
                <a:gd name="T56" fmla="*/ 92 w 446"/>
                <a:gd name="T57" fmla="*/ 89 h 428"/>
                <a:gd name="T58" fmla="*/ 132 w 446"/>
                <a:gd name="T59" fmla="*/ 63 h 428"/>
                <a:gd name="T60" fmla="*/ 181 w 446"/>
                <a:gd name="T61" fmla="*/ 8 h 428"/>
                <a:gd name="T62" fmla="*/ 210 w 446"/>
                <a:gd name="T63" fmla="*/ 6 h 428"/>
                <a:gd name="T64" fmla="*/ 218 w 446"/>
                <a:gd name="T65" fmla="*/ 129 h 428"/>
                <a:gd name="T66" fmla="*/ 133 w 446"/>
                <a:gd name="T67" fmla="*/ 214 h 428"/>
                <a:gd name="T68" fmla="*/ 219 w 446"/>
                <a:gd name="T69" fmla="*/ 300 h 428"/>
                <a:gd name="T70" fmla="*/ 304 w 446"/>
                <a:gd name="T71" fmla="*/ 213 h 428"/>
                <a:gd name="T72" fmla="*/ 218 w 446"/>
                <a:gd name="T73" fmla="*/ 129 h 4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46" h="428">
                  <a:moveTo>
                    <a:pt x="210" y="6"/>
                  </a:moveTo>
                  <a:cubicBezTo>
                    <a:pt x="227" y="3"/>
                    <a:pt x="248" y="0"/>
                    <a:pt x="262" y="23"/>
                  </a:cubicBezTo>
                  <a:cubicBezTo>
                    <a:pt x="265" y="29"/>
                    <a:pt x="269" y="36"/>
                    <a:pt x="269" y="43"/>
                  </a:cubicBezTo>
                  <a:cubicBezTo>
                    <a:pt x="271" y="55"/>
                    <a:pt x="273" y="64"/>
                    <a:pt x="286" y="69"/>
                  </a:cubicBezTo>
                  <a:cubicBezTo>
                    <a:pt x="300" y="75"/>
                    <a:pt x="309" y="72"/>
                    <a:pt x="319" y="62"/>
                  </a:cubicBezTo>
                  <a:cubicBezTo>
                    <a:pt x="338" y="44"/>
                    <a:pt x="367" y="47"/>
                    <a:pt x="384" y="67"/>
                  </a:cubicBezTo>
                  <a:cubicBezTo>
                    <a:pt x="393" y="78"/>
                    <a:pt x="402" y="89"/>
                    <a:pt x="411" y="99"/>
                  </a:cubicBezTo>
                  <a:cubicBezTo>
                    <a:pt x="434" y="126"/>
                    <a:pt x="432" y="150"/>
                    <a:pt x="405" y="172"/>
                  </a:cubicBezTo>
                  <a:cubicBezTo>
                    <a:pt x="386" y="187"/>
                    <a:pt x="388" y="202"/>
                    <a:pt x="408" y="216"/>
                  </a:cubicBezTo>
                  <a:cubicBezTo>
                    <a:pt x="420" y="224"/>
                    <a:pt x="436" y="226"/>
                    <a:pt x="441" y="245"/>
                  </a:cubicBezTo>
                  <a:cubicBezTo>
                    <a:pt x="445" y="261"/>
                    <a:pt x="446" y="275"/>
                    <a:pt x="436" y="290"/>
                  </a:cubicBezTo>
                  <a:cubicBezTo>
                    <a:pt x="426" y="304"/>
                    <a:pt x="418" y="320"/>
                    <a:pt x="410" y="335"/>
                  </a:cubicBezTo>
                  <a:cubicBezTo>
                    <a:pt x="403" y="346"/>
                    <a:pt x="373" y="354"/>
                    <a:pt x="360" y="348"/>
                  </a:cubicBezTo>
                  <a:cubicBezTo>
                    <a:pt x="354" y="346"/>
                    <a:pt x="349" y="341"/>
                    <a:pt x="344" y="341"/>
                  </a:cubicBezTo>
                  <a:cubicBezTo>
                    <a:pt x="337" y="340"/>
                    <a:pt x="328" y="339"/>
                    <a:pt x="323" y="343"/>
                  </a:cubicBezTo>
                  <a:cubicBezTo>
                    <a:pt x="318" y="346"/>
                    <a:pt x="315" y="355"/>
                    <a:pt x="315" y="361"/>
                  </a:cubicBezTo>
                  <a:cubicBezTo>
                    <a:pt x="318" y="403"/>
                    <a:pt x="307" y="417"/>
                    <a:pt x="265" y="421"/>
                  </a:cubicBezTo>
                  <a:cubicBezTo>
                    <a:pt x="255" y="422"/>
                    <a:pt x="245" y="423"/>
                    <a:pt x="235" y="424"/>
                  </a:cubicBezTo>
                  <a:cubicBezTo>
                    <a:pt x="197" y="428"/>
                    <a:pt x="182" y="416"/>
                    <a:pt x="177" y="378"/>
                  </a:cubicBezTo>
                  <a:cubicBezTo>
                    <a:pt x="174" y="361"/>
                    <a:pt x="155" y="353"/>
                    <a:pt x="140" y="363"/>
                  </a:cubicBezTo>
                  <a:cubicBezTo>
                    <a:pt x="135" y="367"/>
                    <a:pt x="130" y="372"/>
                    <a:pt x="125" y="376"/>
                  </a:cubicBezTo>
                  <a:cubicBezTo>
                    <a:pt x="112" y="387"/>
                    <a:pt x="86" y="387"/>
                    <a:pt x="74" y="374"/>
                  </a:cubicBezTo>
                  <a:cubicBezTo>
                    <a:pt x="62" y="361"/>
                    <a:pt x="50" y="347"/>
                    <a:pt x="39" y="333"/>
                  </a:cubicBezTo>
                  <a:cubicBezTo>
                    <a:pt x="17" y="306"/>
                    <a:pt x="19" y="283"/>
                    <a:pt x="45" y="260"/>
                  </a:cubicBezTo>
                  <a:cubicBezTo>
                    <a:pt x="62" y="245"/>
                    <a:pt x="59" y="228"/>
                    <a:pt x="38" y="217"/>
                  </a:cubicBezTo>
                  <a:cubicBezTo>
                    <a:pt x="27" y="211"/>
                    <a:pt x="12" y="210"/>
                    <a:pt x="6" y="193"/>
                  </a:cubicBezTo>
                  <a:cubicBezTo>
                    <a:pt x="1" y="178"/>
                    <a:pt x="0" y="165"/>
                    <a:pt x="8" y="151"/>
                  </a:cubicBezTo>
                  <a:cubicBezTo>
                    <a:pt x="15" y="139"/>
                    <a:pt x="20" y="125"/>
                    <a:pt x="27" y="112"/>
                  </a:cubicBezTo>
                  <a:cubicBezTo>
                    <a:pt x="41" y="83"/>
                    <a:pt x="63" y="75"/>
                    <a:pt x="92" y="89"/>
                  </a:cubicBezTo>
                  <a:cubicBezTo>
                    <a:pt x="116" y="100"/>
                    <a:pt x="134" y="89"/>
                    <a:pt x="132" y="63"/>
                  </a:cubicBezTo>
                  <a:cubicBezTo>
                    <a:pt x="129" y="27"/>
                    <a:pt x="144" y="11"/>
                    <a:pt x="181" y="8"/>
                  </a:cubicBezTo>
                  <a:cubicBezTo>
                    <a:pt x="189" y="8"/>
                    <a:pt x="197" y="7"/>
                    <a:pt x="210" y="6"/>
                  </a:cubicBezTo>
                  <a:close/>
                  <a:moveTo>
                    <a:pt x="218" y="129"/>
                  </a:moveTo>
                  <a:cubicBezTo>
                    <a:pt x="172" y="129"/>
                    <a:pt x="133" y="169"/>
                    <a:pt x="133" y="214"/>
                  </a:cubicBezTo>
                  <a:cubicBezTo>
                    <a:pt x="133" y="262"/>
                    <a:pt x="171" y="300"/>
                    <a:pt x="219" y="300"/>
                  </a:cubicBezTo>
                  <a:cubicBezTo>
                    <a:pt x="267" y="300"/>
                    <a:pt x="305" y="261"/>
                    <a:pt x="304" y="213"/>
                  </a:cubicBezTo>
                  <a:cubicBezTo>
                    <a:pt x="303" y="166"/>
                    <a:pt x="265" y="129"/>
                    <a:pt x="218" y="1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EYInterstate Light"/>
              </a:endParaRPr>
            </a:p>
          </p:txBody>
        </p:sp>
        <p:sp>
          <p:nvSpPr>
            <p:cNvPr id="149" name="Freeform 54">
              <a:extLst>
                <a:ext uri="{FF2B5EF4-FFF2-40B4-BE49-F238E27FC236}">
                  <a16:creationId xmlns:a16="http://schemas.microsoft.com/office/drawing/2014/main" id="{7399D0AE-9D56-45E1-922B-A4696E8F1E75}"/>
                </a:ext>
              </a:extLst>
            </p:cNvPr>
            <p:cNvSpPr>
              <a:spLocks/>
            </p:cNvSpPr>
            <p:nvPr/>
          </p:nvSpPr>
          <p:spPr bwMode="auto">
            <a:xfrm>
              <a:off x="8540750" y="5632450"/>
              <a:ext cx="517525" cy="107950"/>
            </a:xfrm>
            <a:custGeom>
              <a:avLst/>
              <a:gdLst>
                <a:gd name="T0" fmla="*/ 333 w 664"/>
                <a:gd name="T1" fmla="*/ 1 h 140"/>
                <a:gd name="T2" fmla="*/ 591 w 664"/>
                <a:gd name="T3" fmla="*/ 1 h 140"/>
                <a:gd name="T4" fmla="*/ 653 w 664"/>
                <a:gd name="T5" fmla="*/ 44 h 140"/>
                <a:gd name="T6" fmla="*/ 628 w 664"/>
                <a:gd name="T7" fmla="*/ 129 h 140"/>
                <a:gd name="T8" fmla="*/ 586 w 664"/>
                <a:gd name="T9" fmla="*/ 140 h 140"/>
                <a:gd name="T10" fmla="*/ 77 w 664"/>
                <a:gd name="T11" fmla="*/ 140 h 140"/>
                <a:gd name="T12" fmla="*/ 11 w 664"/>
                <a:gd name="T13" fmla="*/ 98 h 140"/>
                <a:gd name="T14" fmla="*/ 31 w 664"/>
                <a:gd name="T15" fmla="*/ 15 h 140"/>
                <a:gd name="T16" fmla="*/ 77 w 664"/>
                <a:gd name="T17" fmla="*/ 1 h 140"/>
                <a:gd name="T18" fmla="*/ 333 w 664"/>
                <a:gd name="T19" fmla="*/ 1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64" h="140">
                  <a:moveTo>
                    <a:pt x="333" y="1"/>
                  </a:moveTo>
                  <a:cubicBezTo>
                    <a:pt x="419" y="1"/>
                    <a:pt x="505" y="1"/>
                    <a:pt x="591" y="1"/>
                  </a:cubicBezTo>
                  <a:cubicBezTo>
                    <a:pt x="623" y="1"/>
                    <a:pt x="646" y="17"/>
                    <a:pt x="653" y="44"/>
                  </a:cubicBezTo>
                  <a:cubicBezTo>
                    <a:pt x="664" y="78"/>
                    <a:pt x="655" y="113"/>
                    <a:pt x="628" y="129"/>
                  </a:cubicBezTo>
                  <a:cubicBezTo>
                    <a:pt x="616" y="136"/>
                    <a:pt x="600" y="139"/>
                    <a:pt x="586" y="140"/>
                  </a:cubicBezTo>
                  <a:cubicBezTo>
                    <a:pt x="416" y="140"/>
                    <a:pt x="247" y="140"/>
                    <a:pt x="77" y="140"/>
                  </a:cubicBezTo>
                  <a:cubicBezTo>
                    <a:pt x="42" y="140"/>
                    <a:pt x="19" y="124"/>
                    <a:pt x="11" y="98"/>
                  </a:cubicBezTo>
                  <a:cubicBezTo>
                    <a:pt x="0" y="67"/>
                    <a:pt x="6" y="32"/>
                    <a:pt x="31" y="15"/>
                  </a:cubicBezTo>
                  <a:cubicBezTo>
                    <a:pt x="43" y="6"/>
                    <a:pt x="61" y="2"/>
                    <a:pt x="77" y="1"/>
                  </a:cubicBezTo>
                  <a:cubicBezTo>
                    <a:pt x="162" y="0"/>
                    <a:pt x="248" y="1"/>
                    <a:pt x="333"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EYInterstate Light"/>
              </a:endParaRPr>
            </a:p>
          </p:txBody>
        </p:sp>
        <p:sp>
          <p:nvSpPr>
            <p:cNvPr id="150" name="Freeform 55">
              <a:extLst>
                <a:ext uri="{FF2B5EF4-FFF2-40B4-BE49-F238E27FC236}">
                  <a16:creationId xmlns:a16="http://schemas.microsoft.com/office/drawing/2014/main" id="{738599EE-AEDD-4F55-99B9-3FB7F363BCC2}"/>
                </a:ext>
              </a:extLst>
            </p:cNvPr>
            <p:cNvSpPr>
              <a:spLocks noEditPoints="1"/>
            </p:cNvSpPr>
            <p:nvPr/>
          </p:nvSpPr>
          <p:spPr bwMode="auto">
            <a:xfrm>
              <a:off x="7777163" y="6583363"/>
              <a:ext cx="123825" cy="179388"/>
            </a:xfrm>
            <a:custGeom>
              <a:avLst/>
              <a:gdLst>
                <a:gd name="T0" fmla="*/ 0 w 158"/>
                <a:gd name="T1" fmla="*/ 113 h 230"/>
                <a:gd name="T2" fmla="*/ 23 w 158"/>
                <a:gd name="T3" fmla="*/ 33 h 230"/>
                <a:gd name="T4" fmla="*/ 82 w 158"/>
                <a:gd name="T5" fmla="*/ 1 h 230"/>
                <a:gd name="T6" fmla="*/ 136 w 158"/>
                <a:gd name="T7" fmla="*/ 36 h 230"/>
                <a:gd name="T8" fmla="*/ 136 w 158"/>
                <a:gd name="T9" fmla="*/ 195 h 230"/>
                <a:gd name="T10" fmla="*/ 77 w 158"/>
                <a:gd name="T11" fmla="*/ 229 h 230"/>
                <a:gd name="T12" fmla="*/ 23 w 158"/>
                <a:gd name="T13" fmla="*/ 197 h 230"/>
                <a:gd name="T14" fmla="*/ 0 w 158"/>
                <a:gd name="T15" fmla="*/ 113 h 230"/>
                <a:gd name="T16" fmla="*/ 125 w 158"/>
                <a:gd name="T17" fmla="*/ 114 h 230"/>
                <a:gd name="T18" fmla="*/ 116 w 158"/>
                <a:gd name="T19" fmla="*/ 56 h 230"/>
                <a:gd name="T20" fmla="*/ 78 w 158"/>
                <a:gd name="T21" fmla="*/ 23 h 230"/>
                <a:gd name="T22" fmla="*/ 41 w 158"/>
                <a:gd name="T23" fmla="*/ 54 h 230"/>
                <a:gd name="T24" fmla="*/ 41 w 158"/>
                <a:gd name="T25" fmla="*/ 176 h 230"/>
                <a:gd name="T26" fmla="*/ 78 w 158"/>
                <a:gd name="T27" fmla="*/ 207 h 230"/>
                <a:gd name="T28" fmla="*/ 117 w 158"/>
                <a:gd name="T29" fmla="*/ 174 h 230"/>
                <a:gd name="T30" fmla="*/ 125 w 158"/>
                <a:gd name="T31" fmla="*/ 114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8" h="230">
                  <a:moveTo>
                    <a:pt x="0" y="113"/>
                  </a:moveTo>
                  <a:cubicBezTo>
                    <a:pt x="8" y="85"/>
                    <a:pt x="13" y="58"/>
                    <a:pt x="23" y="33"/>
                  </a:cubicBezTo>
                  <a:cubicBezTo>
                    <a:pt x="33" y="8"/>
                    <a:pt x="57" y="0"/>
                    <a:pt x="82" y="1"/>
                  </a:cubicBezTo>
                  <a:cubicBezTo>
                    <a:pt x="107" y="1"/>
                    <a:pt x="127" y="13"/>
                    <a:pt x="136" y="36"/>
                  </a:cubicBezTo>
                  <a:cubicBezTo>
                    <a:pt x="158" y="88"/>
                    <a:pt x="158" y="142"/>
                    <a:pt x="136" y="195"/>
                  </a:cubicBezTo>
                  <a:cubicBezTo>
                    <a:pt x="126" y="219"/>
                    <a:pt x="103" y="230"/>
                    <a:pt x="77" y="229"/>
                  </a:cubicBezTo>
                  <a:cubicBezTo>
                    <a:pt x="53" y="229"/>
                    <a:pt x="31" y="221"/>
                    <a:pt x="23" y="197"/>
                  </a:cubicBezTo>
                  <a:cubicBezTo>
                    <a:pt x="13" y="170"/>
                    <a:pt x="7" y="141"/>
                    <a:pt x="0" y="113"/>
                  </a:cubicBezTo>
                  <a:close/>
                  <a:moveTo>
                    <a:pt x="125" y="114"/>
                  </a:moveTo>
                  <a:cubicBezTo>
                    <a:pt x="122" y="95"/>
                    <a:pt x="121" y="75"/>
                    <a:pt x="116" y="56"/>
                  </a:cubicBezTo>
                  <a:cubicBezTo>
                    <a:pt x="112" y="36"/>
                    <a:pt x="98" y="24"/>
                    <a:pt x="78" y="23"/>
                  </a:cubicBezTo>
                  <a:cubicBezTo>
                    <a:pt x="58" y="23"/>
                    <a:pt x="46" y="36"/>
                    <a:pt x="41" y="54"/>
                  </a:cubicBezTo>
                  <a:cubicBezTo>
                    <a:pt x="30" y="94"/>
                    <a:pt x="30" y="135"/>
                    <a:pt x="41" y="176"/>
                  </a:cubicBezTo>
                  <a:cubicBezTo>
                    <a:pt x="46" y="194"/>
                    <a:pt x="59" y="206"/>
                    <a:pt x="78" y="207"/>
                  </a:cubicBezTo>
                  <a:cubicBezTo>
                    <a:pt x="94" y="207"/>
                    <a:pt x="112" y="193"/>
                    <a:pt x="117" y="174"/>
                  </a:cubicBezTo>
                  <a:cubicBezTo>
                    <a:pt x="121" y="155"/>
                    <a:pt x="122" y="135"/>
                    <a:pt x="125" y="1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EYInterstate Light"/>
              </a:endParaRPr>
            </a:p>
          </p:txBody>
        </p:sp>
        <p:sp>
          <p:nvSpPr>
            <p:cNvPr id="151" name="Freeform 56">
              <a:extLst>
                <a:ext uri="{FF2B5EF4-FFF2-40B4-BE49-F238E27FC236}">
                  <a16:creationId xmlns:a16="http://schemas.microsoft.com/office/drawing/2014/main" id="{D2C4E3A3-C981-4318-8177-3000996BD3D8}"/>
                </a:ext>
              </a:extLst>
            </p:cNvPr>
            <p:cNvSpPr>
              <a:spLocks noEditPoints="1"/>
            </p:cNvSpPr>
            <p:nvPr/>
          </p:nvSpPr>
          <p:spPr bwMode="auto">
            <a:xfrm>
              <a:off x="7773988" y="6288088"/>
              <a:ext cx="122238" cy="188913"/>
            </a:xfrm>
            <a:custGeom>
              <a:avLst/>
              <a:gdLst>
                <a:gd name="T0" fmla="*/ 157 w 157"/>
                <a:gd name="T1" fmla="*/ 104 h 241"/>
                <a:gd name="T2" fmla="*/ 130 w 157"/>
                <a:gd name="T3" fmla="*/ 209 h 241"/>
                <a:gd name="T4" fmla="*/ 26 w 157"/>
                <a:gd name="T5" fmla="*/ 197 h 241"/>
                <a:gd name="T6" fmla="*/ 28 w 157"/>
                <a:gd name="T7" fmla="*/ 31 h 241"/>
                <a:gd name="T8" fmla="*/ 84 w 157"/>
                <a:gd name="T9" fmla="*/ 0 h 241"/>
                <a:gd name="T10" fmla="*/ 140 w 157"/>
                <a:gd name="T11" fmla="*/ 35 h 241"/>
                <a:gd name="T12" fmla="*/ 157 w 157"/>
                <a:gd name="T13" fmla="*/ 104 h 241"/>
                <a:gd name="T14" fmla="*/ 129 w 157"/>
                <a:gd name="T15" fmla="*/ 113 h 241"/>
                <a:gd name="T16" fmla="*/ 119 w 157"/>
                <a:gd name="T17" fmla="*/ 52 h 241"/>
                <a:gd name="T18" fmla="*/ 82 w 157"/>
                <a:gd name="T19" fmla="*/ 23 h 241"/>
                <a:gd name="T20" fmla="*/ 47 w 157"/>
                <a:gd name="T21" fmla="*/ 49 h 241"/>
                <a:gd name="T22" fmla="*/ 46 w 157"/>
                <a:gd name="T23" fmla="*/ 178 h 241"/>
                <a:gd name="T24" fmla="*/ 83 w 157"/>
                <a:gd name="T25" fmla="*/ 206 h 241"/>
                <a:gd name="T26" fmla="*/ 120 w 157"/>
                <a:gd name="T27" fmla="*/ 176 h 241"/>
                <a:gd name="T28" fmla="*/ 129 w 157"/>
                <a:gd name="T29" fmla="*/ 113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7" h="241">
                  <a:moveTo>
                    <a:pt x="157" y="104"/>
                  </a:moveTo>
                  <a:cubicBezTo>
                    <a:pt x="153" y="149"/>
                    <a:pt x="154" y="183"/>
                    <a:pt x="130" y="209"/>
                  </a:cubicBezTo>
                  <a:cubicBezTo>
                    <a:pt x="100" y="241"/>
                    <a:pt x="45" y="236"/>
                    <a:pt x="26" y="197"/>
                  </a:cubicBezTo>
                  <a:cubicBezTo>
                    <a:pt x="0" y="142"/>
                    <a:pt x="1" y="86"/>
                    <a:pt x="28" y="31"/>
                  </a:cubicBezTo>
                  <a:cubicBezTo>
                    <a:pt x="39" y="9"/>
                    <a:pt x="60" y="0"/>
                    <a:pt x="84" y="0"/>
                  </a:cubicBezTo>
                  <a:cubicBezTo>
                    <a:pt x="109" y="0"/>
                    <a:pt x="131" y="12"/>
                    <a:pt x="140" y="35"/>
                  </a:cubicBezTo>
                  <a:cubicBezTo>
                    <a:pt x="149" y="61"/>
                    <a:pt x="153" y="89"/>
                    <a:pt x="157" y="104"/>
                  </a:cubicBezTo>
                  <a:close/>
                  <a:moveTo>
                    <a:pt x="129" y="113"/>
                  </a:moveTo>
                  <a:cubicBezTo>
                    <a:pt x="126" y="93"/>
                    <a:pt x="125" y="72"/>
                    <a:pt x="119" y="52"/>
                  </a:cubicBezTo>
                  <a:cubicBezTo>
                    <a:pt x="114" y="34"/>
                    <a:pt x="101" y="24"/>
                    <a:pt x="82" y="23"/>
                  </a:cubicBezTo>
                  <a:cubicBezTo>
                    <a:pt x="65" y="23"/>
                    <a:pt x="52" y="34"/>
                    <a:pt x="47" y="49"/>
                  </a:cubicBezTo>
                  <a:cubicBezTo>
                    <a:pt x="33" y="92"/>
                    <a:pt x="34" y="135"/>
                    <a:pt x="46" y="178"/>
                  </a:cubicBezTo>
                  <a:cubicBezTo>
                    <a:pt x="51" y="195"/>
                    <a:pt x="64" y="207"/>
                    <a:pt x="83" y="206"/>
                  </a:cubicBezTo>
                  <a:cubicBezTo>
                    <a:pt x="102" y="206"/>
                    <a:pt x="116" y="194"/>
                    <a:pt x="120" y="176"/>
                  </a:cubicBezTo>
                  <a:cubicBezTo>
                    <a:pt x="125" y="156"/>
                    <a:pt x="126" y="135"/>
                    <a:pt x="129" y="1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EYInterstate Light"/>
              </a:endParaRPr>
            </a:p>
          </p:txBody>
        </p:sp>
        <p:sp>
          <p:nvSpPr>
            <p:cNvPr id="152" name="Freeform 57">
              <a:extLst>
                <a:ext uri="{FF2B5EF4-FFF2-40B4-BE49-F238E27FC236}">
                  <a16:creationId xmlns:a16="http://schemas.microsoft.com/office/drawing/2014/main" id="{4F6932DF-6664-4361-9F66-177060C093A3}"/>
                </a:ext>
              </a:extLst>
            </p:cNvPr>
            <p:cNvSpPr>
              <a:spLocks noEditPoints="1"/>
            </p:cNvSpPr>
            <p:nvPr/>
          </p:nvSpPr>
          <p:spPr bwMode="auto">
            <a:xfrm>
              <a:off x="8169275" y="6288088"/>
              <a:ext cx="122238" cy="179388"/>
            </a:xfrm>
            <a:custGeom>
              <a:avLst/>
              <a:gdLst>
                <a:gd name="T0" fmla="*/ 0 w 156"/>
                <a:gd name="T1" fmla="*/ 115 h 231"/>
                <a:gd name="T2" fmla="*/ 21 w 156"/>
                <a:gd name="T3" fmla="*/ 37 h 231"/>
                <a:gd name="T4" fmla="*/ 82 w 156"/>
                <a:gd name="T5" fmla="*/ 1 h 231"/>
                <a:gd name="T6" fmla="*/ 138 w 156"/>
                <a:gd name="T7" fmla="*/ 42 h 231"/>
                <a:gd name="T8" fmla="*/ 138 w 156"/>
                <a:gd name="T9" fmla="*/ 189 h 231"/>
                <a:gd name="T10" fmla="*/ 80 w 156"/>
                <a:gd name="T11" fmla="*/ 230 h 231"/>
                <a:gd name="T12" fmla="*/ 21 w 156"/>
                <a:gd name="T13" fmla="*/ 197 h 231"/>
                <a:gd name="T14" fmla="*/ 0 w 156"/>
                <a:gd name="T15" fmla="*/ 115 h 231"/>
                <a:gd name="T16" fmla="*/ 123 w 156"/>
                <a:gd name="T17" fmla="*/ 114 h 231"/>
                <a:gd name="T18" fmla="*/ 117 w 156"/>
                <a:gd name="T19" fmla="*/ 60 h 231"/>
                <a:gd name="T20" fmla="*/ 79 w 156"/>
                <a:gd name="T21" fmla="*/ 24 h 231"/>
                <a:gd name="T22" fmla="*/ 40 w 156"/>
                <a:gd name="T23" fmla="*/ 57 h 231"/>
                <a:gd name="T24" fmla="*/ 39 w 156"/>
                <a:gd name="T25" fmla="*/ 172 h 231"/>
                <a:gd name="T26" fmla="*/ 80 w 156"/>
                <a:gd name="T27" fmla="*/ 208 h 231"/>
                <a:gd name="T28" fmla="*/ 118 w 156"/>
                <a:gd name="T29" fmla="*/ 167 h 231"/>
                <a:gd name="T30" fmla="*/ 123 w 156"/>
                <a:gd name="T31" fmla="*/ 114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6" h="231">
                  <a:moveTo>
                    <a:pt x="0" y="115"/>
                  </a:moveTo>
                  <a:cubicBezTo>
                    <a:pt x="7" y="87"/>
                    <a:pt x="11" y="61"/>
                    <a:pt x="21" y="37"/>
                  </a:cubicBezTo>
                  <a:cubicBezTo>
                    <a:pt x="31" y="10"/>
                    <a:pt x="55" y="0"/>
                    <a:pt x="82" y="1"/>
                  </a:cubicBezTo>
                  <a:cubicBezTo>
                    <a:pt x="109" y="2"/>
                    <a:pt x="129" y="17"/>
                    <a:pt x="138" y="42"/>
                  </a:cubicBezTo>
                  <a:cubicBezTo>
                    <a:pt x="156" y="91"/>
                    <a:pt x="156" y="141"/>
                    <a:pt x="138" y="189"/>
                  </a:cubicBezTo>
                  <a:cubicBezTo>
                    <a:pt x="129" y="216"/>
                    <a:pt x="107" y="229"/>
                    <a:pt x="80" y="230"/>
                  </a:cubicBezTo>
                  <a:cubicBezTo>
                    <a:pt x="54" y="231"/>
                    <a:pt x="31" y="223"/>
                    <a:pt x="21" y="197"/>
                  </a:cubicBezTo>
                  <a:cubicBezTo>
                    <a:pt x="12" y="171"/>
                    <a:pt x="7" y="142"/>
                    <a:pt x="0" y="115"/>
                  </a:cubicBezTo>
                  <a:close/>
                  <a:moveTo>
                    <a:pt x="123" y="114"/>
                  </a:moveTo>
                  <a:cubicBezTo>
                    <a:pt x="121" y="97"/>
                    <a:pt x="120" y="78"/>
                    <a:pt x="117" y="60"/>
                  </a:cubicBezTo>
                  <a:cubicBezTo>
                    <a:pt x="113" y="40"/>
                    <a:pt x="96" y="25"/>
                    <a:pt x="79" y="24"/>
                  </a:cubicBezTo>
                  <a:cubicBezTo>
                    <a:pt x="61" y="23"/>
                    <a:pt x="42" y="35"/>
                    <a:pt x="40" y="57"/>
                  </a:cubicBezTo>
                  <a:cubicBezTo>
                    <a:pt x="36" y="95"/>
                    <a:pt x="36" y="134"/>
                    <a:pt x="39" y="172"/>
                  </a:cubicBezTo>
                  <a:cubicBezTo>
                    <a:pt x="40" y="194"/>
                    <a:pt x="62" y="209"/>
                    <a:pt x="80" y="208"/>
                  </a:cubicBezTo>
                  <a:cubicBezTo>
                    <a:pt x="98" y="206"/>
                    <a:pt x="115" y="189"/>
                    <a:pt x="118" y="167"/>
                  </a:cubicBezTo>
                  <a:cubicBezTo>
                    <a:pt x="120" y="150"/>
                    <a:pt x="121" y="133"/>
                    <a:pt x="123" y="1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EYInterstate Light"/>
              </a:endParaRPr>
            </a:p>
          </p:txBody>
        </p:sp>
        <p:sp>
          <p:nvSpPr>
            <p:cNvPr id="153" name="Freeform 58">
              <a:extLst>
                <a:ext uri="{FF2B5EF4-FFF2-40B4-BE49-F238E27FC236}">
                  <a16:creationId xmlns:a16="http://schemas.microsoft.com/office/drawing/2014/main" id="{A0B8BCE3-D85D-4A03-B672-42A3D9D4AD5B}"/>
                </a:ext>
              </a:extLst>
            </p:cNvPr>
            <p:cNvSpPr>
              <a:spLocks noEditPoints="1"/>
            </p:cNvSpPr>
            <p:nvPr/>
          </p:nvSpPr>
          <p:spPr bwMode="auto">
            <a:xfrm>
              <a:off x="8051800" y="6583363"/>
              <a:ext cx="120650" cy="177800"/>
            </a:xfrm>
            <a:custGeom>
              <a:avLst/>
              <a:gdLst>
                <a:gd name="T0" fmla="*/ 0 w 156"/>
                <a:gd name="T1" fmla="*/ 116 h 229"/>
                <a:gd name="T2" fmla="*/ 21 w 156"/>
                <a:gd name="T3" fmla="*/ 36 h 229"/>
                <a:gd name="T4" fmla="*/ 82 w 156"/>
                <a:gd name="T5" fmla="*/ 1 h 229"/>
                <a:gd name="T6" fmla="*/ 139 w 156"/>
                <a:gd name="T7" fmla="*/ 41 h 229"/>
                <a:gd name="T8" fmla="*/ 137 w 156"/>
                <a:gd name="T9" fmla="*/ 190 h 229"/>
                <a:gd name="T10" fmla="*/ 78 w 156"/>
                <a:gd name="T11" fmla="*/ 229 h 229"/>
                <a:gd name="T12" fmla="*/ 21 w 156"/>
                <a:gd name="T13" fmla="*/ 194 h 229"/>
                <a:gd name="T14" fmla="*/ 0 w 156"/>
                <a:gd name="T15" fmla="*/ 116 h 229"/>
                <a:gd name="T16" fmla="*/ 125 w 156"/>
                <a:gd name="T17" fmla="*/ 115 h 229"/>
                <a:gd name="T18" fmla="*/ 113 w 156"/>
                <a:gd name="T19" fmla="*/ 50 h 229"/>
                <a:gd name="T20" fmla="*/ 79 w 156"/>
                <a:gd name="T21" fmla="*/ 24 h 229"/>
                <a:gd name="T22" fmla="*/ 45 w 156"/>
                <a:gd name="T23" fmla="*/ 45 h 229"/>
                <a:gd name="T24" fmla="*/ 43 w 156"/>
                <a:gd name="T25" fmla="*/ 182 h 229"/>
                <a:gd name="T26" fmla="*/ 80 w 156"/>
                <a:gd name="T27" fmla="*/ 207 h 229"/>
                <a:gd name="T28" fmla="*/ 115 w 156"/>
                <a:gd name="T29" fmla="*/ 176 h 229"/>
                <a:gd name="T30" fmla="*/ 125 w 156"/>
                <a:gd name="T31" fmla="*/ 115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6" h="229">
                  <a:moveTo>
                    <a:pt x="0" y="116"/>
                  </a:moveTo>
                  <a:cubicBezTo>
                    <a:pt x="7" y="88"/>
                    <a:pt x="11" y="61"/>
                    <a:pt x="21" y="36"/>
                  </a:cubicBezTo>
                  <a:cubicBezTo>
                    <a:pt x="31" y="9"/>
                    <a:pt x="55" y="0"/>
                    <a:pt x="82" y="1"/>
                  </a:cubicBezTo>
                  <a:cubicBezTo>
                    <a:pt x="109" y="2"/>
                    <a:pt x="129" y="16"/>
                    <a:pt x="139" y="41"/>
                  </a:cubicBezTo>
                  <a:cubicBezTo>
                    <a:pt x="156" y="91"/>
                    <a:pt x="156" y="141"/>
                    <a:pt x="137" y="190"/>
                  </a:cubicBezTo>
                  <a:cubicBezTo>
                    <a:pt x="128" y="216"/>
                    <a:pt x="106" y="229"/>
                    <a:pt x="78" y="229"/>
                  </a:cubicBezTo>
                  <a:cubicBezTo>
                    <a:pt x="52" y="229"/>
                    <a:pt x="30" y="220"/>
                    <a:pt x="21" y="194"/>
                  </a:cubicBezTo>
                  <a:cubicBezTo>
                    <a:pt x="12" y="169"/>
                    <a:pt x="7" y="142"/>
                    <a:pt x="0" y="116"/>
                  </a:cubicBezTo>
                  <a:close/>
                  <a:moveTo>
                    <a:pt x="125" y="115"/>
                  </a:moveTo>
                  <a:cubicBezTo>
                    <a:pt x="121" y="94"/>
                    <a:pt x="121" y="71"/>
                    <a:pt x="113" y="50"/>
                  </a:cubicBezTo>
                  <a:cubicBezTo>
                    <a:pt x="108" y="39"/>
                    <a:pt x="92" y="28"/>
                    <a:pt x="79" y="24"/>
                  </a:cubicBezTo>
                  <a:cubicBezTo>
                    <a:pt x="64" y="19"/>
                    <a:pt x="50" y="30"/>
                    <a:pt x="45" y="45"/>
                  </a:cubicBezTo>
                  <a:cubicBezTo>
                    <a:pt x="27" y="90"/>
                    <a:pt x="28" y="136"/>
                    <a:pt x="43" y="182"/>
                  </a:cubicBezTo>
                  <a:cubicBezTo>
                    <a:pt x="48" y="197"/>
                    <a:pt x="62" y="208"/>
                    <a:pt x="80" y="207"/>
                  </a:cubicBezTo>
                  <a:cubicBezTo>
                    <a:pt x="98" y="205"/>
                    <a:pt x="111" y="194"/>
                    <a:pt x="115" y="176"/>
                  </a:cubicBezTo>
                  <a:cubicBezTo>
                    <a:pt x="119" y="157"/>
                    <a:pt x="121" y="137"/>
                    <a:pt x="125" y="1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EYInterstate Light"/>
              </a:endParaRPr>
            </a:p>
          </p:txBody>
        </p:sp>
        <p:sp>
          <p:nvSpPr>
            <p:cNvPr id="154" name="Freeform 59">
              <a:extLst>
                <a:ext uri="{FF2B5EF4-FFF2-40B4-BE49-F238E27FC236}">
                  <a16:creationId xmlns:a16="http://schemas.microsoft.com/office/drawing/2014/main" id="{F79D5892-3294-4C15-98F0-7D50A9207058}"/>
                </a:ext>
              </a:extLst>
            </p:cNvPr>
            <p:cNvSpPr>
              <a:spLocks noEditPoints="1"/>
            </p:cNvSpPr>
            <p:nvPr/>
          </p:nvSpPr>
          <p:spPr bwMode="auto">
            <a:xfrm>
              <a:off x="7913688" y="6583363"/>
              <a:ext cx="120650" cy="179388"/>
            </a:xfrm>
            <a:custGeom>
              <a:avLst/>
              <a:gdLst>
                <a:gd name="T0" fmla="*/ 155 w 155"/>
                <a:gd name="T1" fmla="*/ 119 h 231"/>
                <a:gd name="T2" fmla="*/ 139 w 155"/>
                <a:gd name="T3" fmla="*/ 190 h 231"/>
                <a:gd name="T4" fmla="*/ 81 w 155"/>
                <a:gd name="T5" fmla="*/ 230 h 231"/>
                <a:gd name="T6" fmla="*/ 21 w 155"/>
                <a:gd name="T7" fmla="*/ 195 h 231"/>
                <a:gd name="T8" fmla="*/ 20 w 155"/>
                <a:gd name="T9" fmla="*/ 41 h 231"/>
                <a:gd name="T10" fmla="*/ 85 w 155"/>
                <a:gd name="T11" fmla="*/ 2 h 231"/>
                <a:gd name="T12" fmla="*/ 143 w 155"/>
                <a:gd name="T13" fmla="*/ 49 h 231"/>
                <a:gd name="T14" fmla="*/ 155 w 155"/>
                <a:gd name="T15" fmla="*/ 119 h 231"/>
                <a:gd name="T16" fmla="*/ 126 w 155"/>
                <a:gd name="T17" fmla="*/ 116 h 231"/>
                <a:gd name="T18" fmla="*/ 117 w 155"/>
                <a:gd name="T19" fmla="*/ 54 h 231"/>
                <a:gd name="T20" fmla="*/ 81 w 155"/>
                <a:gd name="T21" fmla="*/ 24 h 231"/>
                <a:gd name="T22" fmla="*/ 44 w 155"/>
                <a:gd name="T23" fmla="*/ 50 h 231"/>
                <a:gd name="T24" fmla="*/ 44 w 155"/>
                <a:gd name="T25" fmla="*/ 181 h 231"/>
                <a:gd name="T26" fmla="*/ 82 w 155"/>
                <a:gd name="T27" fmla="*/ 207 h 231"/>
                <a:gd name="T28" fmla="*/ 117 w 155"/>
                <a:gd name="T29" fmla="*/ 177 h 231"/>
                <a:gd name="T30" fmla="*/ 126 w 155"/>
                <a:gd name="T31" fmla="*/ 116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5" h="231">
                  <a:moveTo>
                    <a:pt x="155" y="119"/>
                  </a:moveTo>
                  <a:cubicBezTo>
                    <a:pt x="150" y="142"/>
                    <a:pt x="147" y="167"/>
                    <a:pt x="139" y="190"/>
                  </a:cubicBezTo>
                  <a:cubicBezTo>
                    <a:pt x="130" y="216"/>
                    <a:pt x="109" y="230"/>
                    <a:pt x="81" y="230"/>
                  </a:cubicBezTo>
                  <a:cubicBezTo>
                    <a:pt x="54" y="231"/>
                    <a:pt x="32" y="220"/>
                    <a:pt x="21" y="195"/>
                  </a:cubicBezTo>
                  <a:cubicBezTo>
                    <a:pt x="0" y="144"/>
                    <a:pt x="0" y="92"/>
                    <a:pt x="20" y="41"/>
                  </a:cubicBezTo>
                  <a:cubicBezTo>
                    <a:pt x="31" y="12"/>
                    <a:pt x="55" y="0"/>
                    <a:pt x="85" y="2"/>
                  </a:cubicBezTo>
                  <a:cubicBezTo>
                    <a:pt x="112" y="3"/>
                    <a:pt x="135" y="20"/>
                    <a:pt x="143" y="49"/>
                  </a:cubicBezTo>
                  <a:cubicBezTo>
                    <a:pt x="149" y="71"/>
                    <a:pt x="151" y="95"/>
                    <a:pt x="155" y="119"/>
                  </a:cubicBezTo>
                  <a:close/>
                  <a:moveTo>
                    <a:pt x="126" y="116"/>
                  </a:moveTo>
                  <a:cubicBezTo>
                    <a:pt x="123" y="96"/>
                    <a:pt x="122" y="75"/>
                    <a:pt x="117" y="54"/>
                  </a:cubicBezTo>
                  <a:cubicBezTo>
                    <a:pt x="113" y="37"/>
                    <a:pt x="99" y="26"/>
                    <a:pt x="81" y="24"/>
                  </a:cubicBezTo>
                  <a:cubicBezTo>
                    <a:pt x="63" y="23"/>
                    <a:pt x="50" y="34"/>
                    <a:pt x="44" y="50"/>
                  </a:cubicBezTo>
                  <a:cubicBezTo>
                    <a:pt x="30" y="93"/>
                    <a:pt x="30" y="138"/>
                    <a:pt x="44" y="181"/>
                  </a:cubicBezTo>
                  <a:cubicBezTo>
                    <a:pt x="49" y="198"/>
                    <a:pt x="63" y="209"/>
                    <a:pt x="82" y="207"/>
                  </a:cubicBezTo>
                  <a:cubicBezTo>
                    <a:pt x="101" y="206"/>
                    <a:pt x="113" y="194"/>
                    <a:pt x="117" y="177"/>
                  </a:cubicBezTo>
                  <a:cubicBezTo>
                    <a:pt x="122" y="157"/>
                    <a:pt x="123" y="137"/>
                    <a:pt x="126" y="1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EYInterstate Light"/>
              </a:endParaRPr>
            </a:p>
          </p:txBody>
        </p:sp>
        <p:sp>
          <p:nvSpPr>
            <p:cNvPr id="155" name="Freeform 60">
              <a:extLst>
                <a:ext uri="{FF2B5EF4-FFF2-40B4-BE49-F238E27FC236}">
                  <a16:creationId xmlns:a16="http://schemas.microsoft.com/office/drawing/2014/main" id="{31C35214-59F8-47DB-B407-ED770AD3E68C}"/>
                </a:ext>
              </a:extLst>
            </p:cNvPr>
            <p:cNvSpPr>
              <a:spLocks noEditPoints="1"/>
            </p:cNvSpPr>
            <p:nvPr/>
          </p:nvSpPr>
          <p:spPr bwMode="auto">
            <a:xfrm>
              <a:off x="7772400" y="6026150"/>
              <a:ext cx="120650" cy="179388"/>
            </a:xfrm>
            <a:custGeom>
              <a:avLst/>
              <a:gdLst>
                <a:gd name="T0" fmla="*/ 155 w 155"/>
                <a:gd name="T1" fmla="*/ 119 h 230"/>
                <a:gd name="T2" fmla="*/ 139 w 155"/>
                <a:gd name="T3" fmla="*/ 190 h 230"/>
                <a:gd name="T4" fmla="*/ 79 w 155"/>
                <a:gd name="T5" fmla="*/ 230 h 230"/>
                <a:gd name="T6" fmla="*/ 19 w 155"/>
                <a:gd name="T7" fmla="*/ 191 h 230"/>
                <a:gd name="T8" fmla="*/ 20 w 155"/>
                <a:gd name="T9" fmla="*/ 39 h 230"/>
                <a:gd name="T10" fmla="*/ 86 w 155"/>
                <a:gd name="T11" fmla="*/ 2 h 230"/>
                <a:gd name="T12" fmla="*/ 142 w 155"/>
                <a:gd name="T13" fmla="*/ 48 h 230"/>
                <a:gd name="T14" fmla="*/ 155 w 155"/>
                <a:gd name="T15" fmla="*/ 119 h 230"/>
                <a:gd name="T16" fmla="*/ 124 w 155"/>
                <a:gd name="T17" fmla="*/ 119 h 230"/>
                <a:gd name="T18" fmla="*/ 121 w 155"/>
                <a:gd name="T19" fmla="*/ 77 h 230"/>
                <a:gd name="T20" fmla="*/ 119 w 155"/>
                <a:gd name="T21" fmla="*/ 59 h 230"/>
                <a:gd name="T22" fmla="*/ 80 w 155"/>
                <a:gd name="T23" fmla="*/ 24 h 230"/>
                <a:gd name="T24" fmla="*/ 42 w 155"/>
                <a:gd name="T25" fmla="*/ 54 h 230"/>
                <a:gd name="T26" fmla="*/ 41 w 155"/>
                <a:gd name="T27" fmla="*/ 176 h 230"/>
                <a:gd name="T28" fmla="*/ 80 w 155"/>
                <a:gd name="T29" fmla="*/ 207 h 230"/>
                <a:gd name="T30" fmla="*/ 119 w 155"/>
                <a:gd name="T31" fmla="*/ 170 h 230"/>
                <a:gd name="T32" fmla="*/ 124 w 155"/>
                <a:gd name="T33" fmla="*/ 119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5" h="230">
                  <a:moveTo>
                    <a:pt x="155" y="119"/>
                  </a:moveTo>
                  <a:cubicBezTo>
                    <a:pt x="150" y="142"/>
                    <a:pt x="147" y="167"/>
                    <a:pt x="139" y="190"/>
                  </a:cubicBezTo>
                  <a:cubicBezTo>
                    <a:pt x="130" y="217"/>
                    <a:pt x="108" y="230"/>
                    <a:pt x="79" y="230"/>
                  </a:cubicBezTo>
                  <a:cubicBezTo>
                    <a:pt x="50" y="230"/>
                    <a:pt x="29" y="218"/>
                    <a:pt x="19" y="191"/>
                  </a:cubicBezTo>
                  <a:cubicBezTo>
                    <a:pt x="1" y="141"/>
                    <a:pt x="0" y="90"/>
                    <a:pt x="20" y="39"/>
                  </a:cubicBezTo>
                  <a:cubicBezTo>
                    <a:pt x="32" y="11"/>
                    <a:pt x="56" y="0"/>
                    <a:pt x="86" y="2"/>
                  </a:cubicBezTo>
                  <a:cubicBezTo>
                    <a:pt x="113" y="4"/>
                    <a:pt x="135" y="20"/>
                    <a:pt x="142" y="48"/>
                  </a:cubicBezTo>
                  <a:cubicBezTo>
                    <a:pt x="149" y="71"/>
                    <a:pt x="150" y="94"/>
                    <a:pt x="155" y="119"/>
                  </a:cubicBezTo>
                  <a:close/>
                  <a:moveTo>
                    <a:pt x="124" y="119"/>
                  </a:moveTo>
                  <a:cubicBezTo>
                    <a:pt x="123" y="102"/>
                    <a:pt x="123" y="89"/>
                    <a:pt x="121" y="77"/>
                  </a:cubicBezTo>
                  <a:cubicBezTo>
                    <a:pt x="121" y="71"/>
                    <a:pt x="120" y="65"/>
                    <a:pt x="119" y="59"/>
                  </a:cubicBezTo>
                  <a:cubicBezTo>
                    <a:pt x="114" y="39"/>
                    <a:pt x="98" y="25"/>
                    <a:pt x="80" y="24"/>
                  </a:cubicBezTo>
                  <a:cubicBezTo>
                    <a:pt x="60" y="24"/>
                    <a:pt x="47" y="36"/>
                    <a:pt x="42" y="54"/>
                  </a:cubicBezTo>
                  <a:cubicBezTo>
                    <a:pt x="31" y="94"/>
                    <a:pt x="31" y="135"/>
                    <a:pt x="41" y="176"/>
                  </a:cubicBezTo>
                  <a:cubicBezTo>
                    <a:pt x="45" y="194"/>
                    <a:pt x="65" y="208"/>
                    <a:pt x="80" y="207"/>
                  </a:cubicBezTo>
                  <a:cubicBezTo>
                    <a:pt x="98" y="206"/>
                    <a:pt x="115" y="190"/>
                    <a:pt x="119" y="170"/>
                  </a:cubicBezTo>
                  <a:cubicBezTo>
                    <a:pt x="122" y="151"/>
                    <a:pt x="123" y="133"/>
                    <a:pt x="124" y="1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EYInterstate Light"/>
              </a:endParaRPr>
            </a:p>
          </p:txBody>
        </p:sp>
        <p:sp>
          <p:nvSpPr>
            <p:cNvPr id="156" name="Freeform 61">
              <a:extLst>
                <a:ext uri="{FF2B5EF4-FFF2-40B4-BE49-F238E27FC236}">
                  <a16:creationId xmlns:a16="http://schemas.microsoft.com/office/drawing/2014/main" id="{EB73888A-34F9-433D-832D-66EAD079EA66}"/>
                </a:ext>
              </a:extLst>
            </p:cNvPr>
            <p:cNvSpPr>
              <a:spLocks/>
            </p:cNvSpPr>
            <p:nvPr/>
          </p:nvSpPr>
          <p:spPr bwMode="auto">
            <a:xfrm>
              <a:off x="7931150" y="6288088"/>
              <a:ext cx="68263" cy="177800"/>
            </a:xfrm>
            <a:custGeom>
              <a:avLst/>
              <a:gdLst>
                <a:gd name="T0" fmla="*/ 84 w 87"/>
                <a:gd name="T1" fmla="*/ 223 h 228"/>
                <a:gd name="T2" fmla="*/ 59 w 87"/>
                <a:gd name="T3" fmla="*/ 203 h 228"/>
                <a:gd name="T4" fmla="*/ 59 w 87"/>
                <a:gd name="T5" fmla="*/ 76 h 228"/>
                <a:gd name="T6" fmla="*/ 59 w 87"/>
                <a:gd name="T7" fmla="*/ 53 h 228"/>
                <a:gd name="T8" fmla="*/ 6 w 87"/>
                <a:gd name="T9" fmla="*/ 82 h 228"/>
                <a:gd name="T10" fmla="*/ 19 w 87"/>
                <a:gd name="T11" fmla="*/ 47 h 228"/>
                <a:gd name="T12" fmla="*/ 65 w 87"/>
                <a:gd name="T13" fmla="*/ 7 h 228"/>
                <a:gd name="T14" fmla="*/ 80 w 87"/>
                <a:gd name="T15" fmla="*/ 0 h 228"/>
                <a:gd name="T16" fmla="*/ 86 w 87"/>
                <a:gd name="T17" fmla="*/ 12 h 228"/>
                <a:gd name="T18" fmla="*/ 86 w 87"/>
                <a:gd name="T19" fmla="*/ 218 h 228"/>
                <a:gd name="T20" fmla="*/ 84 w 87"/>
                <a:gd name="T21" fmla="*/ 223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7" h="228">
                  <a:moveTo>
                    <a:pt x="84" y="223"/>
                  </a:moveTo>
                  <a:cubicBezTo>
                    <a:pt x="60" y="228"/>
                    <a:pt x="59" y="227"/>
                    <a:pt x="59" y="203"/>
                  </a:cubicBezTo>
                  <a:cubicBezTo>
                    <a:pt x="59" y="161"/>
                    <a:pt x="59" y="118"/>
                    <a:pt x="59" y="76"/>
                  </a:cubicBezTo>
                  <a:cubicBezTo>
                    <a:pt x="59" y="69"/>
                    <a:pt x="59" y="63"/>
                    <a:pt x="59" y="53"/>
                  </a:cubicBezTo>
                  <a:cubicBezTo>
                    <a:pt x="40" y="64"/>
                    <a:pt x="23" y="73"/>
                    <a:pt x="6" y="82"/>
                  </a:cubicBezTo>
                  <a:cubicBezTo>
                    <a:pt x="0" y="65"/>
                    <a:pt x="5" y="56"/>
                    <a:pt x="19" y="47"/>
                  </a:cubicBezTo>
                  <a:cubicBezTo>
                    <a:pt x="36" y="36"/>
                    <a:pt x="49" y="20"/>
                    <a:pt x="65" y="7"/>
                  </a:cubicBezTo>
                  <a:cubicBezTo>
                    <a:pt x="69" y="3"/>
                    <a:pt x="75" y="0"/>
                    <a:pt x="80" y="0"/>
                  </a:cubicBezTo>
                  <a:cubicBezTo>
                    <a:pt x="82" y="0"/>
                    <a:pt x="86" y="8"/>
                    <a:pt x="86" y="12"/>
                  </a:cubicBezTo>
                  <a:cubicBezTo>
                    <a:pt x="87" y="81"/>
                    <a:pt x="86" y="149"/>
                    <a:pt x="86" y="218"/>
                  </a:cubicBezTo>
                  <a:cubicBezTo>
                    <a:pt x="86" y="220"/>
                    <a:pt x="85" y="221"/>
                    <a:pt x="84" y="2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EYInterstate Light"/>
              </a:endParaRPr>
            </a:p>
          </p:txBody>
        </p:sp>
        <p:sp>
          <p:nvSpPr>
            <p:cNvPr id="157" name="Freeform 62">
              <a:extLst>
                <a:ext uri="{FF2B5EF4-FFF2-40B4-BE49-F238E27FC236}">
                  <a16:creationId xmlns:a16="http://schemas.microsoft.com/office/drawing/2014/main" id="{0D272D9B-D822-45B6-8293-A206BB3F04F2}"/>
                </a:ext>
              </a:extLst>
            </p:cNvPr>
            <p:cNvSpPr>
              <a:spLocks/>
            </p:cNvSpPr>
            <p:nvPr/>
          </p:nvSpPr>
          <p:spPr bwMode="auto">
            <a:xfrm>
              <a:off x="8050213" y="6288088"/>
              <a:ext cx="66675" cy="177800"/>
            </a:xfrm>
            <a:custGeom>
              <a:avLst/>
              <a:gdLst>
                <a:gd name="T0" fmla="*/ 84 w 86"/>
                <a:gd name="T1" fmla="*/ 224 h 229"/>
                <a:gd name="T2" fmla="*/ 59 w 86"/>
                <a:gd name="T3" fmla="*/ 206 h 229"/>
                <a:gd name="T4" fmla="*/ 59 w 86"/>
                <a:gd name="T5" fmla="*/ 76 h 229"/>
                <a:gd name="T6" fmla="*/ 58 w 86"/>
                <a:gd name="T7" fmla="*/ 55 h 229"/>
                <a:gd name="T8" fmla="*/ 6 w 86"/>
                <a:gd name="T9" fmla="*/ 83 h 229"/>
                <a:gd name="T10" fmla="*/ 20 w 86"/>
                <a:gd name="T11" fmla="*/ 47 h 229"/>
                <a:gd name="T12" fmla="*/ 65 w 86"/>
                <a:gd name="T13" fmla="*/ 8 h 229"/>
                <a:gd name="T14" fmla="*/ 80 w 86"/>
                <a:gd name="T15" fmla="*/ 0 h 229"/>
                <a:gd name="T16" fmla="*/ 86 w 86"/>
                <a:gd name="T17" fmla="*/ 15 h 229"/>
                <a:gd name="T18" fmla="*/ 86 w 86"/>
                <a:gd name="T19" fmla="*/ 215 h 229"/>
                <a:gd name="T20" fmla="*/ 84 w 86"/>
                <a:gd name="T21" fmla="*/ 224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229">
                  <a:moveTo>
                    <a:pt x="84" y="224"/>
                  </a:moveTo>
                  <a:cubicBezTo>
                    <a:pt x="60" y="229"/>
                    <a:pt x="59" y="228"/>
                    <a:pt x="59" y="206"/>
                  </a:cubicBezTo>
                  <a:cubicBezTo>
                    <a:pt x="59" y="162"/>
                    <a:pt x="59" y="119"/>
                    <a:pt x="59" y="76"/>
                  </a:cubicBezTo>
                  <a:cubicBezTo>
                    <a:pt x="59" y="69"/>
                    <a:pt x="58" y="63"/>
                    <a:pt x="58" y="55"/>
                  </a:cubicBezTo>
                  <a:cubicBezTo>
                    <a:pt x="39" y="65"/>
                    <a:pt x="22" y="74"/>
                    <a:pt x="6" y="83"/>
                  </a:cubicBezTo>
                  <a:cubicBezTo>
                    <a:pt x="0" y="65"/>
                    <a:pt x="6" y="56"/>
                    <a:pt x="20" y="47"/>
                  </a:cubicBezTo>
                  <a:cubicBezTo>
                    <a:pt x="36" y="36"/>
                    <a:pt x="50" y="21"/>
                    <a:pt x="65" y="8"/>
                  </a:cubicBezTo>
                  <a:cubicBezTo>
                    <a:pt x="69" y="4"/>
                    <a:pt x="75" y="3"/>
                    <a:pt x="80" y="0"/>
                  </a:cubicBezTo>
                  <a:cubicBezTo>
                    <a:pt x="82" y="5"/>
                    <a:pt x="86" y="10"/>
                    <a:pt x="86" y="15"/>
                  </a:cubicBezTo>
                  <a:cubicBezTo>
                    <a:pt x="86" y="82"/>
                    <a:pt x="86" y="148"/>
                    <a:pt x="86" y="215"/>
                  </a:cubicBezTo>
                  <a:cubicBezTo>
                    <a:pt x="86" y="218"/>
                    <a:pt x="85" y="221"/>
                    <a:pt x="84" y="2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EYInterstate Light"/>
              </a:endParaRPr>
            </a:p>
          </p:txBody>
        </p:sp>
        <p:sp>
          <p:nvSpPr>
            <p:cNvPr id="158" name="Freeform 63">
              <a:extLst>
                <a:ext uri="{FF2B5EF4-FFF2-40B4-BE49-F238E27FC236}">
                  <a16:creationId xmlns:a16="http://schemas.microsoft.com/office/drawing/2014/main" id="{D1E984B8-4D97-45E9-9F9D-9A3782BB196D}"/>
                </a:ext>
              </a:extLst>
            </p:cNvPr>
            <p:cNvSpPr>
              <a:spLocks/>
            </p:cNvSpPr>
            <p:nvPr/>
          </p:nvSpPr>
          <p:spPr bwMode="auto">
            <a:xfrm>
              <a:off x="7931150" y="6875463"/>
              <a:ext cx="66675" cy="180975"/>
            </a:xfrm>
            <a:custGeom>
              <a:avLst/>
              <a:gdLst>
                <a:gd name="T0" fmla="*/ 58 w 85"/>
                <a:gd name="T1" fmla="*/ 57 h 232"/>
                <a:gd name="T2" fmla="*/ 6 w 85"/>
                <a:gd name="T3" fmla="*/ 86 h 232"/>
                <a:gd name="T4" fmla="*/ 19 w 85"/>
                <a:gd name="T5" fmla="*/ 51 h 232"/>
                <a:gd name="T6" fmla="*/ 64 w 85"/>
                <a:gd name="T7" fmla="*/ 12 h 232"/>
                <a:gd name="T8" fmla="*/ 85 w 85"/>
                <a:gd name="T9" fmla="*/ 0 h 232"/>
                <a:gd name="T10" fmla="*/ 85 w 85"/>
                <a:gd name="T11" fmla="*/ 228 h 232"/>
                <a:gd name="T12" fmla="*/ 59 w 85"/>
                <a:gd name="T13" fmla="*/ 208 h 232"/>
                <a:gd name="T14" fmla="*/ 59 w 85"/>
                <a:gd name="T15" fmla="*/ 80 h 232"/>
                <a:gd name="T16" fmla="*/ 58 w 85"/>
                <a:gd name="T17" fmla="*/ 57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232">
                  <a:moveTo>
                    <a:pt x="58" y="57"/>
                  </a:moveTo>
                  <a:cubicBezTo>
                    <a:pt x="39" y="68"/>
                    <a:pt x="23" y="77"/>
                    <a:pt x="6" y="86"/>
                  </a:cubicBezTo>
                  <a:cubicBezTo>
                    <a:pt x="0" y="68"/>
                    <a:pt x="5" y="60"/>
                    <a:pt x="19" y="51"/>
                  </a:cubicBezTo>
                  <a:cubicBezTo>
                    <a:pt x="35" y="41"/>
                    <a:pt x="49" y="25"/>
                    <a:pt x="64" y="12"/>
                  </a:cubicBezTo>
                  <a:cubicBezTo>
                    <a:pt x="69" y="8"/>
                    <a:pt x="76" y="5"/>
                    <a:pt x="85" y="0"/>
                  </a:cubicBezTo>
                  <a:cubicBezTo>
                    <a:pt x="85" y="80"/>
                    <a:pt x="85" y="154"/>
                    <a:pt x="85" y="228"/>
                  </a:cubicBezTo>
                  <a:cubicBezTo>
                    <a:pt x="60" y="232"/>
                    <a:pt x="59" y="232"/>
                    <a:pt x="59" y="208"/>
                  </a:cubicBezTo>
                  <a:cubicBezTo>
                    <a:pt x="59" y="165"/>
                    <a:pt x="59" y="123"/>
                    <a:pt x="59" y="80"/>
                  </a:cubicBezTo>
                  <a:cubicBezTo>
                    <a:pt x="59" y="73"/>
                    <a:pt x="58" y="66"/>
                    <a:pt x="58" y="5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EYInterstate Light"/>
              </a:endParaRPr>
            </a:p>
          </p:txBody>
        </p:sp>
        <p:sp>
          <p:nvSpPr>
            <p:cNvPr id="159" name="Freeform 64">
              <a:extLst>
                <a:ext uri="{FF2B5EF4-FFF2-40B4-BE49-F238E27FC236}">
                  <a16:creationId xmlns:a16="http://schemas.microsoft.com/office/drawing/2014/main" id="{38FDBEFE-AB36-4649-AF92-232C476B76AB}"/>
                </a:ext>
              </a:extLst>
            </p:cNvPr>
            <p:cNvSpPr>
              <a:spLocks/>
            </p:cNvSpPr>
            <p:nvPr/>
          </p:nvSpPr>
          <p:spPr bwMode="auto">
            <a:xfrm>
              <a:off x="8051800" y="6878638"/>
              <a:ext cx="65088" cy="179388"/>
            </a:xfrm>
            <a:custGeom>
              <a:avLst/>
              <a:gdLst>
                <a:gd name="T0" fmla="*/ 82 w 84"/>
                <a:gd name="T1" fmla="*/ 223 h 229"/>
                <a:gd name="T2" fmla="*/ 57 w 84"/>
                <a:gd name="T3" fmla="*/ 203 h 229"/>
                <a:gd name="T4" fmla="*/ 57 w 84"/>
                <a:gd name="T5" fmla="*/ 75 h 229"/>
                <a:gd name="T6" fmla="*/ 56 w 84"/>
                <a:gd name="T7" fmla="*/ 52 h 229"/>
                <a:gd name="T8" fmla="*/ 4 w 84"/>
                <a:gd name="T9" fmla="*/ 82 h 229"/>
                <a:gd name="T10" fmla="*/ 16 w 84"/>
                <a:gd name="T11" fmla="*/ 47 h 229"/>
                <a:gd name="T12" fmla="*/ 62 w 84"/>
                <a:gd name="T13" fmla="*/ 7 h 229"/>
                <a:gd name="T14" fmla="*/ 79 w 84"/>
                <a:gd name="T15" fmla="*/ 0 h 229"/>
                <a:gd name="T16" fmla="*/ 84 w 84"/>
                <a:gd name="T17" fmla="*/ 11 h 229"/>
                <a:gd name="T18" fmla="*/ 84 w 84"/>
                <a:gd name="T19" fmla="*/ 219 h 229"/>
                <a:gd name="T20" fmla="*/ 82 w 84"/>
                <a:gd name="T21" fmla="*/ 223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4" h="229">
                  <a:moveTo>
                    <a:pt x="82" y="223"/>
                  </a:moveTo>
                  <a:cubicBezTo>
                    <a:pt x="62" y="229"/>
                    <a:pt x="56" y="222"/>
                    <a:pt x="57" y="203"/>
                  </a:cubicBezTo>
                  <a:cubicBezTo>
                    <a:pt x="58" y="161"/>
                    <a:pt x="57" y="118"/>
                    <a:pt x="57" y="75"/>
                  </a:cubicBezTo>
                  <a:cubicBezTo>
                    <a:pt x="57" y="68"/>
                    <a:pt x="56" y="61"/>
                    <a:pt x="56" y="52"/>
                  </a:cubicBezTo>
                  <a:cubicBezTo>
                    <a:pt x="37" y="63"/>
                    <a:pt x="21" y="71"/>
                    <a:pt x="4" y="82"/>
                  </a:cubicBezTo>
                  <a:cubicBezTo>
                    <a:pt x="0" y="65"/>
                    <a:pt x="1" y="56"/>
                    <a:pt x="16" y="47"/>
                  </a:cubicBezTo>
                  <a:cubicBezTo>
                    <a:pt x="33" y="37"/>
                    <a:pt x="47" y="20"/>
                    <a:pt x="62" y="7"/>
                  </a:cubicBezTo>
                  <a:cubicBezTo>
                    <a:pt x="67" y="3"/>
                    <a:pt x="73" y="1"/>
                    <a:pt x="79" y="0"/>
                  </a:cubicBezTo>
                  <a:cubicBezTo>
                    <a:pt x="80" y="0"/>
                    <a:pt x="84" y="7"/>
                    <a:pt x="84" y="11"/>
                  </a:cubicBezTo>
                  <a:cubicBezTo>
                    <a:pt x="84" y="80"/>
                    <a:pt x="84" y="150"/>
                    <a:pt x="84" y="219"/>
                  </a:cubicBezTo>
                  <a:cubicBezTo>
                    <a:pt x="84" y="220"/>
                    <a:pt x="83" y="221"/>
                    <a:pt x="82" y="2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EYInterstate Light"/>
              </a:endParaRPr>
            </a:p>
          </p:txBody>
        </p:sp>
        <p:sp>
          <p:nvSpPr>
            <p:cNvPr id="160" name="Freeform 65">
              <a:extLst>
                <a:ext uri="{FF2B5EF4-FFF2-40B4-BE49-F238E27FC236}">
                  <a16:creationId xmlns:a16="http://schemas.microsoft.com/office/drawing/2014/main" id="{90CF61D8-0592-484C-A585-9E2E68C19CD0}"/>
                </a:ext>
              </a:extLst>
            </p:cNvPr>
            <p:cNvSpPr>
              <a:spLocks/>
            </p:cNvSpPr>
            <p:nvPr/>
          </p:nvSpPr>
          <p:spPr bwMode="auto">
            <a:xfrm>
              <a:off x="8355013" y="6865938"/>
              <a:ext cx="65088" cy="177800"/>
            </a:xfrm>
            <a:custGeom>
              <a:avLst/>
              <a:gdLst>
                <a:gd name="T0" fmla="*/ 6 w 83"/>
                <a:gd name="T1" fmla="*/ 86 h 229"/>
                <a:gd name="T2" fmla="*/ 20 w 83"/>
                <a:gd name="T3" fmla="*/ 51 h 229"/>
                <a:gd name="T4" fmla="*/ 60 w 83"/>
                <a:gd name="T5" fmla="*/ 16 h 229"/>
                <a:gd name="T6" fmla="*/ 83 w 83"/>
                <a:gd name="T7" fmla="*/ 0 h 229"/>
                <a:gd name="T8" fmla="*/ 83 w 83"/>
                <a:gd name="T9" fmla="*/ 229 h 229"/>
                <a:gd name="T10" fmla="*/ 57 w 83"/>
                <a:gd name="T11" fmla="*/ 229 h 229"/>
                <a:gd name="T12" fmla="*/ 57 w 83"/>
                <a:gd name="T13" fmla="*/ 58 h 229"/>
                <a:gd name="T14" fmla="*/ 6 w 83"/>
                <a:gd name="T15" fmla="*/ 86 h 2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3" h="229">
                  <a:moveTo>
                    <a:pt x="6" y="86"/>
                  </a:moveTo>
                  <a:cubicBezTo>
                    <a:pt x="0" y="68"/>
                    <a:pt x="6" y="59"/>
                    <a:pt x="20" y="51"/>
                  </a:cubicBezTo>
                  <a:cubicBezTo>
                    <a:pt x="35" y="41"/>
                    <a:pt x="47" y="27"/>
                    <a:pt x="60" y="16"/>
                  </a:cubicBezTo>
                  <a:cubicBezTo>
                    <a:pt x="66" y="11"/>
                    <a:pt x="73" y="7"/>
                    <a:pt x="83" y="0"/>
                  </a:cubicBezTo>
                  <a:cubicBezTo>
                    <a:pt x="83" y="80"/>
                    <a:pt x="83" y="154"/>
                    <a:pt x="83" y="229"/>
                  </a:cubicBezTo>
                  <a:cubicBezTo>
                    <a:pt x="75" y="229"/>
                    <a:pt x="67" y="229"/>
                    <a:pt x="57" y="229"/>
                  </a:cubicBezTo>
                  <a:cubicBezTo>
                    <a:pt x="57" y="172"/>
                    <a:pt x="57" y="116"/>
                    <a:pt x="57" y="58"/>
                  </a:cubicBezTo>
                  <a:cubicBezTo>
                    <a:pt x="38" y="69"/>
                    <a:pt x="23" y="77"/>
                    <a:pt x="6" y="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EYInterstate Light"/>
              </a:endParaRPr>
            </a:p>
          </p:txBody>
        </p:sp>
        <p:sp>
          <p:nvSpPr>
            <p:cNvPr id="161" name="Freeform 66">
              <a:extLst>
                <a:ext uri="{FF2B5EF4-FFF2-40B4-BE49-F238E27FC236}">
                  <a16:creationId xmlns:a16="http://schemas.microsoft.com/office/drawing/2014/main" id="{0BE7E7C3-1110-4995-B5D4-DB0B14DC51D6}"/>
                </a:ext>
              </a:extLst>
            </p:cNvPr>
            <p:cNvSpPr>
              <a:spLocks/>
            </p:cNvSpPr>
            <p:nvPr/>
          </p:nvSpPr>
          <p:spPr bwMode="auto">
            <a:xfrm>
              <a:off x="7929563" y="6024563"/>
              <a:ext cx="65088" cy="177800"/>
            </a:xfrm>
            <a:custGeom>
              <a:avLst/>
              <a:gdLst>
                <a:gd name="T0" fmla="*/ 83 w 83"/>
                <a:gd name="T1" fmla="*/ 5 h 227"/>
                <a:gd name="T2" fmla="*/ 83 w 83"/>
                <a:gd name="T3" fmla="*/ 212 h 227"/>
                <a:gd name="T4" fmla="*/ 82 w 83"/>
                <a:gd name="T5" fmla="*/ 227 h 227"/>
                <a:gd name="T6" fmla="*/ 56 w 83"/>
                <a:gd name="T7" fmla="*/ 227 h 227"/>
                <a:gd name="T8" fmla="*/ 56 w 83"/>
                <a:gd name="T9" fmla="*/ 54 h 227"/>
                <a:gd name="T10" fmla="*/ 4 w 83"/>
                <a:gd name="T11" fmla="*/ 84 h 227"/>
                <a:gd name="T12" fmla="*/ 16 w 83"/>
                <a:gd name="T13" fmla="*/ 49 h 227"/>
                <a:gd name="T14" fmla="*/ 58 w 83"/>
                <a:gd name="T15" fmla="*/ 13 h 227"/>
                <a:gd name="T16" fmla="*/ 77 w 83"/>
                <a:gd name="T17" fmla="*/ 0 h 227"/>
                <a:gd name="T18" fmla="*/ 83 w 83"/>
                <a:gd name="T19" fmla="*/ 5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3" h="227">
                  <a:moveTo>
                    <a:pt x="83" y="5"/>
                  </a:moveTo>
                  <a:cubicBezTo>
                    <a:pt x="83" y="74"/>
                    <a:pt x="83" y="143"/>
                    <a:pt x="83" y="212"/>
                  </a:cubicBezTo>
                  <a:cubicBezTo>
                    <a:pt x="83" y="217"/>
                    <a:pt x="82" y="221"/>
                    <a:pt x="82" y="227"/>
                  </a:cubicBezTo>
                  <a:cubicBezTo>
                    <a:pt x="74" y="227"/>
                    <a:pt x="67" y="227"/>
                    <a:pt x="56" y="227"/>
                  </a:cubicBezTo>
                  <a:cubicBezTo>
                    <a:pt x="56" y="170"/>
                    <a:pt x="56" y="113"/>
                    <a:pt x="56" y="54"/>
                  </a:cubicBezTo>
                  <a:cubicBezTo>
                    <a:pt x="37" y="65"/>
                    <a:pt x="21" y="74"/>
                    <a:pt x="4" y="84"/>
                  </a:cubicBezTo>
                  <a:cubicBezTo>
                    <a:pt x="0" y="67"/>
                    <a:pt x="2" y="57"/>
                    <a:pt x="16" y="49"/>
                  </a:cubicBezTo>
                  <a:cubicBezTo>
                    <a:pt x="32" y="39"/>
                    <a:pt x="44" y="25"/>
                    <a:pt x="58" y="13"/>
                  </a:cubicBezTo>
                  <a:cubicBezTo>
                    <a:pt x="64" y="8"/>
                    <a:pt x="71" y="4"/>
                    <a:pt x="77" y="0"/>
                  </a:cubicBezTo>
                  <a:cubicBezTo>
                    <a:pt x="79" y="2"/>
                    <a:pt x="81" y="3"/>
                    <a:pt x="8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EYInterstate Light"/>
              </a:endParaRPr>
            </a:p>
          </p:txBody>
        </p:sp>
        <p:sp>
          <p:nvSpPr>
            <p:cNvPr id="162" name="Freeform 67">
              <a:extLst>
                <a:ext uri="{FF2B5EF4-FFF2-40B4-BE49-F238E27FC236}">
                  <a16:creationId xmlns:a16="http://schemas.microsoft.com/office/drawing/2014/main" id="{749E1C8E-56B2-4B7B-8D4C-638BD73E2F47}"/>
                </a:ext>
              </a:extLst>
            </p:cNvPr>
            <p:cNvSpPr>
              <a:spLocks/>
            </p:cNvSpPr>
            <p:nvPr/>
          </p:nvSpPr>
          <p:spPr bwMode="auto">
            <a:xfrm>
              <a:off x="8207375" y="6584950"/>
              <a:ext cx="65088" cy="177800"/>
            </a:xfrm>
            <a:custGeom>
              <a:avLst/>
              <a:gdLst>
                <a:gd name="T0" fmla="*/ 57 w 84"/>
                <a:gd name="T1" fmla="*/ 51 h 229"/>
                <a:gd name="T2" fmla="*/ 4 w 84"/>
                <a:gd name="T3" fmla="*/ 82 h 229"/>
                <a:gd name="T4" fmla="*/ 14 w 84"/>
                <a:gd name="T5" fmla="*/ 47 h 229"/>
                <a:gd name="T6" fmla="*/ 61 w 84"/>
                <a:gd name="T7" fmla="*/ 8 h 229"/>
                <a:gd name="T8" fmla="*/ 77 w 84"/>
                <a:gd name="T9" fmla="*/ 0 h 229"/>
                <a:gd name="T10" fmla="*/ 83 w 84"/>
                <a:gd name="T11" fmla="*/ 15 h 229"/>
                <a:gd name="T12" fmla="*/ 84 w 84"/>
                <a:gd name="T13" fmla="*/ 208 h 229"/>
                <a:gd name="T14" fmla="*/ 57 w 84"/>
                <a:gd name="T15" fmla="*/ 223 h 229"/>
                <a:gd name="T16" fmla="*/ 57 w 84"/>
                <a:gd name="T17" fmla="*/ 51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 h="229">
                  <a:moveTo>
                    <a:pt x="57" y="51"/>
                  </a:moveTo>
                  <a:cubicBezTo>
                    <a:pt x="37" y="63"/>
                    <a:pt x="21" y="72"/>
                    <a:pt x="4" y="82"/>
                  </a:cubicBezTo>
                  <a:cubicBezTo>
                    <a:pt x="0" y="65"/>
                    <a:pt x="1" y="56"/>
                    <a:pt x="14" y="47"/>
                  </a:cubicBezTo>
                  <a:cubicBezTo>
                    <a:pt x="32" y="37"/>
                    <a:pt x="45" y="21"/>
                    <a:pt x="61" y="8"/>
                  </a:cubicBezTo>
                  <a:cubicBezTo>
                    <a:pt x="66" y="4"/>
                    <a:pt x="72" y="2"/>
                    <a:pt x="77" y="0"/>
                  </a:cubicBezTo>
                  <a:cubicBezTo>
                    <a:pt x="79" y="5"/>
                    <a:pt x="83" y="10"/>
                    <a:pt x="83" y="15"/>
                  </a:cubicBezTo>
                  <a:cubicBezTo>
                    <a:pt x="83" y="79"/>
                    <a:pt x="83" y="144"/>
                    <a:pt x="84" y="208"/>
                  </a:cubicBezTo>
                  <a:cubicBezTo>
                    <a:pt x="84" y="229"/>
                    <a:pt x="71" y="224"/>
                    <a:pt x="57" y="223"/>
                  </a:cubicBezTo>
                  <a:cubicBezTo>
                    <a:pt x="57" y="166"/>
                    <a:pt x="57" y="110"/>
                    <a:pt x="57" y="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EYInterstate Light"/>
              </a:endParaRPr>
            </a:p>
          </p:txBody>
        </p:sp>
      </p:grpSp>
      <p:sp>
        <p:nvSpPr>
          <p:cNvPr id="184" name="Rectangle 183">
            <a:extLst>
              <a:ext uri="{FF2B5EF4-FFF2-40B4-BE49-F238E27FC236}">
                <a16:creationId xmlns:a16="http://schemas.microsoft.com/office/drawing/2014/main" id="{523647BC-401E-4422-B6C8-EE171D92A477}"/>
              </a:ext>
            </a:extLst>
          </p:cNvPr>
          <p:cNvSpPr/>
          <p:nvPr/>
        </p:nvSpPr>
        <p:spPr>
          <a:xfrm>
            <a:off x="5036637" y="5417385"/>
            <a:ext cx="1088358" cy="1093157"/>
          </a:xfrm>
          <a:prstGeom prst="rect">
            <a:avLst/>
          </a:prstGeom>
          <a:noFill/>
          <a:ln w="9525" cap="flat" cmpd="sng" algn="ctr">
            <a:noFill/>
            <a:prstDash val="solid"/>
          </a:ln>
          <a:effectLst/>
        </p:spPr>
        <p:txBody>
          <a:bodyPr rtlCol="0" anchor="t" anchorCtr="0">
            <a:prstTxWarp prst="textArchDown">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EYInterstate Light"/>
                <a:ea typeface="+mn-ea"/>
                <a:cs typeface="+mn-cs"/>
              </a:rPr>
              <a:t>Past Transaction Information</a:t>
            </a:r>
          </a:p>
        </p:txBody>
      </p:sp>
      <p:sp>
        <p:nvSpPr>
          <p:cNvPr id="185" name="Rectangle 184">
            <a:extLst>
              <a:ext uri="{FF2B5EF4-FFF2-40B4-BE49-F238E27FC236}">
                <a16:creationId xmlns:a16="http://schemas.microsoft.com/office/drawing/2014/main" id="{4BEDA919-E212-4182-A13E-DE01CBE5D65C}"/>
              </a:ext>
            </a:extLst>
          </p:cNvPr>
          <p:cNvSpPr/>
          <p:nvPr/>
        </p:nvSpPr>
        <p:spPr>
          <a:xfrm>
            <a:off x="6852656" y="5442272"/>
            <a:ext cx="1065061" cy="1062342"/>
          </a:xfrm>
          <a:prstGeom prst="rect">
            <a:avLst/>
          </a:prstGeom>
          <a:noFill/>
          <a:ln w="9525" cap="flat" cmpd="sng" algn="ctr">
            <a:noFill/>
            <a:prstDash val="solid"/>
          </a:ln>
          <a:effectLst/>
        </p:spPr>
        <p:txBody>
          <a:bodyPr rtlCol="0" anchor="t" anchorCtr="0">
            <a:prstTxWarp prst="textArchDown">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CDCDCD"/>
                </a:solidFill>
                <a:effectLst/>
                <a:uLnTx/>
                <a:uFillTx/>
                <a:latin typeface="EYInterstate Light"/>
                <a:ea typeface="+mn-ea"/>
                <a:cs typeface="+mn-cs"/>
              </a:rPr>
              <a:t>External Information</a:t>
            </a:r>
          </a:p>
        </p:txBody>
      </p:sp>
      <p:sp>
        <p:nvSpPr>
          <p:cNvPr id="192" name="Rectangle: Rounded Corners 191">
            <a:extLst>
              <a:ext uri="{FF2B5EF4-FFF2-40B4-BE49-F238E27FC236}">
                <a16:creationId xmlns:a16="http://schemas.microsoft.com/office/drawing/2014/main" id="{9416B146-5ACA-446F-B4EF-8D6900E166D8}"/>
              </a:ext>
            </a:extLst>
          </p:cNvPr>
          <p:cNvSpPr/>
          <p:nvPr/>
        </p:nvSpPr>
        <p:spPr>
          <a:xfrm>
            <a:off x="1154545" y="1736252"/>
            <a:ext cx="3723948" cy="1612449"/>
          </a:xfrm>
          <a:prstGeom prst="roundRect">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numCol="2" rtlCol="0" anchor="t" anchorCtr="0"/>
          <a:lstStyle/>
          <a:p>
            <a:pPr marL="171450" indent="-171450">
              <a:lnSpc>
                <a:spcPts val="1126"/>
              </a:lnSpc>
              <a:buClr>
                <a:schemeClr val="accent5"/>
              </a:buClr>
              <a:buFont typeface="Wingdings" panose="05000000000000000000" pitchFamily="2" charset="2"/>
              <a:buChar char="ü"/>
            </a:pPr>
            <a:r>
              <a:rPr lang="en-GB" sz="1000">
                <a:solidFill>
                  <a:schemeClr val="tx1"/>
                </a:solidFill>
                <a:latin typeface="+mj-lt"/>
              </a:rPr>
              <a:t>Tenure</a:t>
            </a:r>
          </a:p>
          <a:p>
            <a:pPr marL="171450" indent="-171450">
              <a:lnSpc>
                <a:spcPts val="1126"/>
              </a:lnSpc>
              <a:buClr>
                <a:schemeClr val="accent5"/>
              </a:buClr>
              <a:buFont typeface="Wingdings" panose="05000000000000000000" pitchFamily="2" charset="2"/>
              <a:buChar char="ü"/>
            </a:pPr>
            <a:r>
              <a:rPr lang="en-GB" sz="1000">
                <a:solidFill>
                  <a:schemeClr val="tx1"/>
                </a:solidFill>
                <a:latin typeface="+mj-lt"/>
              </a:rPr>
              <a:t>Age/</a:t>
            </a:r>
            <a:r>
              <a:rPr lang="en-GB" sz="1000" err="1">
                <a:solidFill>
                  <a:schemeClr val="tx1"/>
                </a:solidFill>
                <a:latin typeface="+mj-lt"/>
              </a:rPr>
              <a:t>DoB</a:t>
            </a:r>
            <a:endParaRPr lang="en-GB" sz="1000">
              <a:solidFill>
                <a:schemeClr val="tx1"/>
              </a:solidFill>
              <a:latin typeface="+mj-lt"/>
            </a:endParaRPr>
          </a:p>
          <a:p>
            <a:pPr marL="171450" indent="-171450">
              <a:lnSpc>
                <a:spcPts val="1126"/>
              </a:lnSpc>
              <a:buClr>
                <a:schemeClr val="accent5"/>
              </a:buClr>
              <a:buFont typeface="Wingdings" panose="05000000000000000000" pitchFamily="2" charset="2"/>
              <a:buChar char="ü"/>
            </a:pPr>
            <a:r>
              <a:rPr lang="en-GB" sz="1000">
                <a:solidFill>
                  <a:schemeClr val="tx1"/>
                </a:solidFill>
                <a:latin typeface="+mj-lt"/>
              </a:rPr>
              <a:t>Marital status</a:t>
            </a:r>
          </a:p>
          <a:p>
            <a:pPr marL="171450" indent="-171450">
              <a:lnSpc>
                <a:spcPts val="1126"/>
              </a:lnSpc>
              <a:buClr>
                <a:schemeClr val="accent5"/>
              </a:buClr>
              <a:buFont typeface="Wingdings" panose="05000000000000000000" pitchFamily="2" charset="2"/>
              <a:buChar char="ü"/>
            </a:pPr>
            <a:r>
              <a:rPr lang="en-GB" sz="1000">
                <a:solidFill>
                  <a:schemeClr val="tx1"/>
                </a:solidFill>
                <a:latin typeface="+mj-lt"/>
              </a:rPr>
              <a:t>No. of children</a:t>
            </a:r>
          </a:p>
          <a:p>
            <a:pPr marL="171450" indent="-171450">
              <a:lnSpc>
                <a:spcPts val="1126"/>
              </a:lnSpc>
              <a:buClr>
                <a:schemeClr val="accent5"/>
              </a:buClr>
              <a:buFont typeface="Wingdings" panose="05000000000000000000" pitchFamily="2" charset="2"/>
              <a:buChar char="ü"/>
            </a:pPr>
            <a:r>
              <a:rPr lang="en-GB" sz="1000">
                <a:solidFill>
                  <a:schemeClr val="tx1"/>
                </a:solidFill>
                <a:latin typeface="+mj-lt"/>
              </a:rPr>
              <a:t>Occupation</a:t>
            </a:r>
          </a:p>
          <a:p>
            <a:pPr marL="171450" indent="-171450">
              <a:lnSpc>
                <a:spcPts val="1126"/>
              </a:lnSpc>
              <a:buClr>
                <a:schemeClr val="accent5"/>
              </a:buClr>
              <a:buFont typeface="Wingdings" panose="05000000000000000000" pitchFamily="2" charset="2"/>
              <a:buChar char="ü"/>
            </a:pPr>
            <a:r>
              <a:rPr lang="en-GB" sz="1000">
                <a:solidFill>
                  <a:schemeClr val="tx1"/>
                </a:solidFill>
                <a:latin typeface="+mj-lt"/>
              </a:rPr>
              <a:t>Income</a:t>
            </a:r>
          </a:p>
          <a:p>
            <a:pPr marL="171450" indent="-171450">
              <a:lnSpc>
                <a:spcPts val="1126"/>
              </a:lnSpc>
              <a:buClr>
                <a:schemeClr val="accent5"/>
              </a:buClr>
              <a:buFont typeface="Wingdings" panose="05000000000000000000" pitchFamily="2" charset="2"/>
              <a:buChar char="ü"/>
            </a:pPr>
            <a:r>
              <a:rPr lang="en-GB" sz="1000">
                <a:solidFill>
                  <a:schemeClr val="tx1"/>
                </a:solidFill>
                <a:latin typeface="+mj-lt"/>
              </a:rPr>
              <a:t>Area of residence</a:t>
            </a:r>
          </a:p>
          <a:p>
            <a:pPr marL="171450" indent="-171450">
              <a:lnSpc>
                <a:spcPts val="1126"/>
              </a:lnSpc>
              <a:buClr>
                <a:schemeClr val="accent5"/>
              </a:buClr>
              <a:buFont typeface="Wingdings" panose="05000000000000000000" pitchFamily="2" charset="2"/>
              <a:buChar char="ü"/>
            </a:pPr>
            <a:r>
              <a:rPr lang="en-GB" sz="1000">
                <a:solidFill>
                  <a:schemeClr val="tx1"/>
                </a:solidFill>
                <a:latin typeface="+mj-lt"/>
              </a:rPr>
              <a:t>Health history</a:t>
            </a:r>
          </a:p>
          <a:p>
            <a:pPr marL="171450" indent="-171450">
              <a:lnSpc>
                <a:spcPts val="1126"/>
              </a:lnSpc>
              <a:buClr>
                <a:schemeClr val="accent5"/>
              </a:buClr>
              <a:buFont typeface="Wingdings" panose="05000000000000000000" pitchFamily="2" charset="2"/>
              <a:buChar char="ü"/>
            </a:pPr>
            <a:r>
              <a:rPr lang="en-GB" sz="1000">
                <a:solidFill>
                  <a:schemeClr val="tx1"/>
                </a:solidFill>
                <a:latin typeface="+mj-lt"/>
              </a:rPr>
              <a:t>No. of dependents</a:t>
            </a:r>
          </a:p>
          <a:p>
            <a:pPr marL="171450" indent="-171450">
              <a:lnSpc>
                <a:spcPts val="1126"/>
              </a:lnSpc>
              <a:buClr>
                <a:schemeClr val="accent5"/>
              </a:buClr>
              <a:buFont typeface="Wingdings" panose="05000000000000000000" pitchFamily="2" charset="2"/>
              <a:buChar char="ü"/>
            </a:pPr>
            <a:r>
              <a:rPr lang="en-GB" sz="1000">
                <a:solidFill>
                  <a:schemeClr val="tx1"/>
                </a:solidFill>
                <a:latin typeface="+mj-lt"/>
              </a:rPr>
              <a:t>Disability</a:t>
            </a:r>
          </a:p>
          <a:p>
            <a:pPr marL="171450" indent="-171450">
              <a:lnSpc>
                <a:spcPts val="1126"/>
              </a:lnSpc>
              <a:buClr>
                <a:schemeClr val="accent5"/>
              </a:buClr>
              <a:buFont typeface="Wingdings" panose="05000000000000000000" pitchFamily="2" charset="2"/>
              <a:buChar char="ü"/>
            </a:pPr>
            <a:r>
              <a:rPr lang="en-GB" sz="1000">
                <a:solidFill>
                  <a:schemeClr val="tx1"/>
                </a:solidFill>
                <a:latin typeface="+mj-lt"/>
              </a:rPr>
              <a:t>High level banking information</a:t>
            </a:r>
          </a:p>
          <a:p>
            <a:pPr marL="171450" indent="-171450">
              <a:lnSpc>
                <a:spcPts val="1126"/>
              </a:lnSpc>
              <a:buClr>
                <a:schemeClr val="accent5"/>
              </a:buClr>
              <a:buFont typeface="Wingdings" panose="05000000000000000000" pitchFamily="2" charset="2"/>
              <a:buChar char="ü"/>
            </a:pPr>
            <a:r>
              <a:rPr lang="en-GB" sz="1000">
                <a:solidFill>
                  <a:schemeClr val="tx1"/>
                </a:solidFill>
                <a:latin typeface="+mj-lt"/>
              </a:rPr>
              <a:t>Other information</a:t>
            </a:r>
          </a:p>
        </p:txBody>
      </p:sp>
      <p:sp>
        <p:nvSpPr>
          <p:cNvPr id="193" name="Rectangle: Rounded Corners 192">
            <a:extLst>
              <a:ext uri="{FF2B5EF4-FFF2-40B4-BE49-F238E27FC236}">
                <a16:creationId xmlns:a16="http://schemas.microsoft.com/office/drawing/2014/main" id="{E179DBA4-8FAB-406A-9BD5-06D190F878DC}"/>
              </a:ext>
            </a:extLst>
          </p:cNvPr>
          <p:cNvSpPr/>
          <p:nvPr/>
        </p:nvSpPr>
        <p:spPr>
          <a:xfrm>
            <a:off x="799750" y="3581125"/>
            <a:ext cx="3199449" cy="1595461"/>
          </a:xfrm>
          <a:prstGeom prst="roundRect">
            <a:avLst/>
          </a:prstGeom>
          <a:noFill/>
          <a:ln w="19050">
            <a:solidFill>
              <a:srgbClr val="F04C3E"/>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numCol="2" rtlCol="0" anchor="t" anchorCtr="0"/>
          <a:lstStyle/>
          <a:p>
            <a:pPr marL="171450" indent="-171450">
              <a:lnSpc>
                <a:spcPts val="1126"/>
              </a:lnSpc>
              <a:buClr>
                <a:srgbClr val="F04C3E"/>
              </a:buClr>
              <a:buFont typeface="Wingdings" panose="05000000000000000000" pitchFamily="2" charset="2"/>
              <a:buChar char="ü"/>
            </a:pPr>
            <a:r>
              <a:rPr lang="en-GB" sz="1000">
                <a:solidFill>
                  <a:schemeClr val="tx1"/>
                </a:solidFill>
                <a:latin typeface="+mj-lt"/>
              </a:rPr>
              <a:t>Policy types &amp; features</a:t>
            </a:r>
          </a:p>
          <a:p>
            <a:pPr marL="171450" indent="-171450">
              <a:lnSpc>
                <a:spcPts val="1126"/>
              </a:lnSpc>
              <a:buClr>
                <a:srgbClr val="F04C3E"/>
              </a:buClr>
              <a:buFont typeface="Wingdings" panose="05000000000000000000" pitchFamily="2" charset="2"/>
              <a:buChar char="ü"/>
            </a:pPr>
            <a:r>
              <a:rPr lang="en-GB" sz="1000">
                <a:solidFill>
                  <a:schemeClr val="tx1"/>
                </a:solidFill>
                <a:latin typeface="+mj-lt"/>
              </a:rPr>
              <a:t>Sum assured</a:t>
            </a:r>
          </a:p>
          <a:p>
            <a:pPr marL="171450" indent="-171450">
              <a:lnSpc>
                <a:spcPts val="1126"/>
              </a:lnSpc>
              <a:buClr>
                <a:srgbClr val="F04C3E"/>
              </a:buClr>
              <a:buFont typeface="Wingdings" panose="05000000000000000000" pitchFamily="2" charset="2"/>
              <a:buChar char="ü"/>
            </a:pPr>
            <a:r>
              <a:rPr lang="en-GB" sz="1000">
                <a:solidFill>
                  <a:schemeClr val="tx1"/>
                </a:solidFill>
                <a:latin typeface="+mj-lt"/>
              </a:rPr>
              <a:t>Policy tenure</a:t>
            </a:r>
          </a:p>
          <a:p>
            <a:pPr marL="171450" indent="-171450">
              <a:lnSpc>
                <a:spcPts val="1126"/>
              </a:lnSpc>
              <a:buClr>
                <a:srgbClr val="F04C3E"/>
              </a:buClr>
              <a:buFont typeface="Wingdings" panose="05000000000000000000" pitchFamily="2" charset="2"/>
              <a:buChar char="ü"/>
            </a:pPr>
            <a:r>
              <a:rPr lang="en-GB" sz="1000">
                <a:solidFill>
                  <a:schemeClr val="tx1"/>
                </a:solidFill>
                <a:latin typeface="+mj-lt"/>
              </a:rPr>
              <a:t>Premium paid</a:t>
            </a:r>
          </a:p>
          <a:p>
            <a:pPr marL="171450" indent="-171450">
              <a:lnSpc>
                <a:spcPts val="1126"/>
              </a:lnSpc>
              <a:buClr>
                <a:srgbClr val="F04C3E"/>
              </a:buClr>
              <a:buFont typeface="Wingdings" panose="05000000000000000000" pitchFamily="2" charset="2"/>
              <a:buChar char="ü"/>
            </a:pPr>
            <a:r>
              <a:rPr lang="en-GB" sz="1000">
                <a:solidFill>
                  <a:schemeClr val="tx1"/>
                </a:solidFill>
                <a:latin typeface="+mj-lt"/>
              </a:rPr>
              <a:t>Coverage term Left</a:t>
            </a:r>
          </a:p>
          <a:p>
            <a:pPr marL="171450" indent="-171450">
              <a:lnSpc>
                <a:spcPts val="1126"/>
              </a:lnSpc>
              <a:buClr>
                <a:srgbClr val="F04C3E"/>
              </a:buClr>
              <a:buFont typeface="Wingdings" panose="05000000000000000000" pitchFamily="2" charset="2"/>
              <a:buChar char="ü"/>
            </a:pPr>
            <a:r>
              <a:rPr lang="en-GB" sz="1000">
                <a:solidFill>
                  <a:schemeClr val="tx1"/>
                </a:solidFill>
                <a:latin typeface="+mj-lt"/>
              </a:rPr>
              <a:t>Payment frequency</a:t>
            </a:r>
          </a:p>
          <a:p>
            <a:pPr marL="171450" indent="-171450">
              <a:lnSpc>
                <a:spcPts val="1126"/>
              </a:lnSpc>
              <a:buClr>
                <a:srgbClr val="F04C3E"/>
              </a:buClr>
              <a:buFont typeface="Wingdings" panose="05000000000000000000" pitchFamily="2" charset="2"/>
              <a:buChar char="ü"/>
            </a:pPr>
            <a:r>
              <a:rPr lang="en-GB" sz="1000">
                <a:solidFill>
                  <a:schemeClr val="tx1"/>
                </a:solidFill>
                <a:latin typeface="+mj-lt"/>
              </a:rPr>
              <a:t>Claims information</a:t>
            </a:r>
          </a:p>
          <a:p>
            <a:pPr marL="171450" indent="-171450">
              <a:lnSpc>
                <a:spcPts val="1126"/>
              </a:lnSpc>
              <a:buClr>
                <a:srgbClr val="F04C3E"/>
              </a:buClr>
              <a:buFont typeface="Wingdings" panose="05000000000000000000" pitchFamily="2" charset="2"/>
              <a:buChar char="ü"/>
            </a:pPr>
            <a:r>
              <a:rPr lang="en-GB" sz="1000">
                <a:solidFill>
                  <a:schemeClr val="tx1"/>
                </a:solidFill>
                <a:latin typeface="+mj-lt"/>
              </a:rPr>
              <a:t>Premium loading</a:t>
            </a:r>
          </a:p>
          <a:p>
            <a:pPr marL="171450" indent="-171450">
              <a:lnSpc>
                <a:spcPts val="1126"/>
              </a:lnSpc>
              <a:buClr>
                <a:srgbClr val="F04C3E"/>
              </a:buClr>
              <a:buFont typeface="Wingdings" panose="05000000000000000000" pitchFamily="2" charset="2"/>
              <a:buChar char="ü"/>
            </a:pPr>
            <a:r>
              <a:rPr lang="en-GB" sz="1000">
                <a:solidFill>
                  <a:schemeClr val="tx1"/>
                </a:solidFill>
                <a:latin typeface="+mj-lt"/>
              </a:rPr>
              <a:t>Joint / Sole policy</a:t>
            </a:r>
          </a:p>
          <a:p>
            <a:pPr marL="171450" indent="-171450">
              <a:lnSpc>
                <a:spcPts val="1126"/>
              </a:lnSpc>
              <a:buClr>
                <a:srgbClr val="F04C3E"/>
              </a:buClr>
              <a:buFont typeface="Wingdings" panose="05000000000000000000" pitchFamily="2" charset="2"/>
              <a:buChar char="ü"/>
            </a:pPr>
            <a:r>
              <a:rPr lang="en-GB" sz="1000">
                <a:solidFill>
                  <a:schemeClr val="tx1"/>
                </a:solidFill>
                <a:latin typeface="+mj-lt"/>
              </a:rPr>
              <a:t>Value of underlying assets</a:t>
            </a:r>
          </a:p>
          <a:p>
            <a:pPr marL="171450" indent="-171450">
              <a:lnSpc>
                <a:spcPts val="1126"/>
              </a:lnSpc>
              <a:buClr>
                <a:srgbClr val="F04C3E"/>
              </a:buClr>
              <a:buFont typeface="Wingdings" panose="05000000000000000000" pitchFamily="2" charset="2"/>
              <a:buChar char="ü"/>
            </a:pPr>
            <a:r>
              <a:rPr lang="en-GB" sz="1000">
                <a:solidFill>
                  <a:schemeClr val="tx1"/>
                </a:solidFill>
                <a:latin typeface="+mj-lt"/>
              </a:rPr>
              <a:t>Other information</a:t>
            </a:r>
          </a:p>
        </p:txBody>
      </p:sp>
      <p:sp>
        <p:nvSpPr>
          <p:cNvPr id="194" name="Rectangle: Rounded Corners 193">
            <a:extLst>
              <a:ext uri="{FF2B5EF4-FFF2-40B4-BE49-F238E27FC236}">
                <a16:creationId xmlns:a16="http://schemas.microsoft.com/office/drawing/2014/main" id="{DCF64D12-0498-40B3-89EB-EA53CC89FCD7}"/>
              </a:ext>
            </a:extLst>
          </p:cNvPr>
          <p:cNvSpPr/>
          <p:nvPr/>
        </p:nvSpPr>
        <p:spPr>
          <a:xfrm>
            <a:off x="943200" y="5394307"/>
            <a:ext cx="3918252" cy="1595461"/>
          </a:xfrm>
          <a:prstGeom prst="roundRect">
            <a:avLst/>
          </a:prstGeom>
          <a:noFill/>
          <a:ln w="19050">
            <a:solidFill>
              <a:srgbClr val="40404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numCol="2" rtlCol="0" anchor="t" anchorCtr="0"/>
          <a:lstStyle/>
          <a:p>
            <a:pPr marL="171450" indent="-171450">
              <a:lnSpc>
                <a:spcPts val="1126"/>
              </a:lnSpc>
              <a:buClrTx/>
              <a:buFont typeface="Wingdings" panose="05000000000000000000" pitchFamily="2" charset="2"/>
              <a:buChar char="ü"/>
            </a:pPr>
            <a:r>
              <a:rPr lang="en-GB" sz="1000">
                <a:solidFill>
                  <a:schemeClr val="tx1"/>
                </a:solidFill>
                <a:latin typeface="+mj-lt"/>
              </a:rPr>
              <a:t>Annualised premiums</a:t>
            </a:r>
          </a:p>
          <a:p>
            <a:pPr marL="171450" indent="-171450">
              <a:lnSpc>
                <a:spcPts val="1126"/>
              </a:lnSpc>
              <a:buClrTx/>
              <a:buFont typeface="Wingdings" panose="05000000000000000000" pitchFamily="2" charset="2"/>
              <a:buChar char="ü"/>
            </a:pPr>
            <a:r>
              <a:rPr lang="en-GB" sz="1000">
                <a:solidFill>
                  <a:schemeClr val="tx1"/>
                </a:solidFill>
                <a:latin typeface="+mj-lt"/>
              </a:rPr>
              <a:t>Chanel preference for payments</a:t>
            </a:r>
          </a:p>
          <a:p>
            <a:pPr marL="171450" indent="-171450">
              <a:lnSpc>
                <a:spcPts val="1126"/>
              </a:lnSpc>
              <a:buClrTx/>
              <a:buFont typeface="Wingdings" panose="05000000000000000000" pitchFamily="2" charset="2"/>
              <a:buChar char="ü"/>
            </a:pPr>
            <a:r>
              <a:rPr lang="en-GB" sz="1000">
                <a:solidFill>
                  <a:schemeClr val="tx1"/>
                </a:solidFill>
                <a:latin typeface="+mj-lt"/>
              </a:rPr>
              <a:t>Timeliness of payments </a:t>
            </a:r>
          </a:p>
          <a:p>
            <a:pPr marL="171450" indent="-171450">
              <a:lnSpc>
                <a:spcPts val="1126"/>
              </a:lnSpc>
              <a:buClrTx/>
              <a:buFont typeface="Wingdings" panose="05000000000000000000" pitchFamily="2" charset="2"/>
              <a:buChar char="ü"/>
            </a:pPr>
            <a:r>
              <a:rPr lang="en-GB" sz="1000">
                <a:solidFill>
                  <a:schemeClr val="tx1"/>
                </a:solidFill>
                <a:latin typeface="+mj-lt"/>
              </a:rPr>
              <a:t>Failed payments</a:t>
            </a:r>
          </a:p>
          <a:p>
            <a:pPr marL="171450" indent="-171450">
              <a:lnSpc>
                <a:spcPts val="1126"/>
              </a:lnSpc>
              <a:buClrTx/>
              <a:buFont typeface="Wingdings" panose="05000000000000000000" pitchFamily="2" charset="2"/>
              <a:buChar char="ü"/>
            </a:pPr>
            <a:r>
              <a:rPr lang="en-GB" sz="1000">
                <a:solidFill>
                  <a:schemeClr val="tx1"/>
                </a:solidFill>
                <a:latin typeface="+mj-lt"/>
              </a:rPr>
              <a:t>Contact history</a:t>
            </a:r>
          </a:p>
          <a:p>
            <a:pPr marL="171450" indent="-171450">
              <a:lnSpc>
                <a:spcPts val="1126"/>
              </a:lnSpc>
              <a:buClrTx/>
              <a:buFont typeface="Wingdings" panose="05000000000000000000" pitchFamily="2" charset="2"/>
              <a:buChar char="ü"/>
            </a:pPr>
            <a:r>
              <a:rPr lang="en-GB" sz="1000">
                <a:solidFill>
                  <a:schemeClr val="tx1"/>
                </a:solidFill>
                <a:latin typeface="+mj-lt"/>
              </a:rPr>
              <a:t>Past application rejected</a:t>
            </a:r>
          </a:p>
          <a:p>
            <a:pPr marL="171450" indent="-171450">
              <a:lnSpc>
                <a:spcPts val="1126"/>
              </a:lnSpc>
              <a:buClrTx/>
              <a:buFont typeface="Wingdings" panose="05000000000000000000" pitchFamily="2" charset="2"/>
              <a:buChar char="ü"/>
            </a:pPr>
            <a:r>
              <a:rPr lang="en-GB" sz="1000">
                <a:solidFill>
                  <a:schemeClr val="tx1"/>
                </a:solidFill>
                <a:latin typeface="+mj-lt"/>
              </a:rPr>
              <a:t>Rejection reasons</a:t>
            </a:r>
          </a:p>
          <a:p>
            <a:pPr marL="171450" indent="-171450">
              <a:lnSpc>
                <a:spcPts val="1126"/>
              </a:lnSpc>
              <a:buClrTx/>
              <a:buFont typeface="Wingdings" panose="05000000000000000000" pitchFamily="2" charset="2"/>
              <a:buChar char="ü"/>
            </a:pPr>
            <a:r>
              <a:rPr lang="en-GB" sz="1000">
                <a:solidFill>
                  <a:schemeClr val="tx1"/>
                </a:solidFill>
                <a:latin typeface="+mj-lt"/>
              </a:rPr>
              <a:t>Policy top-ups</a:t>
            </a:r>
          </a:p>
          <a:p>
            <a:pPr marL="171450" indent="-171450">
              <a:lnSpc>
                <a:spcPts val="1126"/>
              </a:lnSpc>
              <a:buClrTx/>
              <a:buFont typeface="Wingdings" panose="05000000000000000000" pitchFamily="2" charset="2"/>
              <a:buChar char="ü"/>
            </a:pPr>
            <a:r>
              <a:rPr lang="en-GB" sz="1000">
                <a:solidFill>
                  <a:schemeClr val="tx1"/>
                </a:solidFill>
                <a:latin typeface="+mj-lt"/>
              </a:rPr>
              <a:t>Switching of underlying assets</a:t>
            </a:r>
          </a:p>
          <a:p>
            <a:pPr marL="171450" indent="-171450">
              <a:lnSpc>
                <a:spcPts val="1126"/>
              </a:lnSpc>
              <a:buClrTx/>
              <a:buFont typeface="Wingdings" panose="05000000000000000000" pitchFamily="2" charset="2"/>
              <a:buChar char="ü"/>
            </a:pPr>
            <a:r>
              <a:rPr lang="en-GB" sz="1000">
                <a:solidFill>
                  <a:schemeClr val="tx1"/>
                </a:solidFill>
                <a:latin typeface="+mj-lt"/>
              </a:rPr>
              <a:t>Underwriting decisions</a:t>
            </a:r>
          </a:p>
          <a:p>
            <a:pPr marL="171450" indent="-171450">
              <a:lnSpc>
                <a:spcPts val="1126"/>
              </a:lnSpc>
              <a:buClrTx/>
              <a:buFont typeface="Wingdings" panose="05000000000000000000" pitchFamily="2" charset="2"/>
              <a:buChar char="ü"/>
            </a:pPr>
            <a:r>
              <a:rPr lang="en-GB" sz="1000">
                <a:solidFill>
                  <a:schemeClr val="tx1"/>
                </a:solidFill>
                <a:latin typeface="+mj-lt"/>
              </a:rPr>
              <a:t>Other information</a:t>
            </a:r>
          </a:p>
        </p:txBody>
      </p:sp>
      <p:sp>
        <p:nvSpPr>
          <p:cNvPr id="195" name="Rectangle: Rounded Corners 194">
            <a:extLst>
              <a:ext uri="{FF2B5EF4-FFF2-40B4-BE49-F238E27FC236}">
                <a16:creationId xmlns:a16="http://schemas.microsoft.com/office/drawing/2014/main" id="{763A1641-1A27-4D2E-9C12-3F0B60483512}"/>
              </a:ext>
            </a:extLst>
          </p:cNvPr>
          <p:cNvSpPr/>
          <p:nvPr/>
        </p:nvSpPr>
        <p:spPr>
          <a:xfrm>
            <a:off x="8109335" y="2050284"/>
            <a:ext cx="3824047" cy="1139209"/>
          </a:xfrm>
          <a:prstGeom prst="roundRect">
            <a:avLst/>
          </a:prstGeom>
          <a:noFill/>
          <a:ln w="19050">
            <a:solidFill>
              <a:srgbClr val="F5DBF4"/>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numCol="2" rtlCol="0" anchor="t" anchorCtr="0"/>
          <a:lstStyle/>
          <a:p>
            <a:pPr marL="171450" indent="-171450">
              <a:lnSpc>
                <a:spcPts val="1126"/>
              </a:lnSpc>
              <a:buClr>
                <a:srgbClr val="F5DBF4"/>
              </a:buClr>
              <a:buFont typeface="Wingdings" panose="05000000000000000000" pitchFamily="2" charset="2"/>
              <a:buChar char="ü"/>
            </a:pPr>
            <a:r>
              <a:rPr lang="en-GB" sz="1000">
                <a:solidFill>
                  <a:srgbClr val="CDCDCD"/>
                </a:solidFill>
                <a:latin typeface="+mj-lt"/>
              </a:rPr>
              <a:t>GE Website Page history</a:t>
            </a:r>
          </a:p>
          <a:p>
            <a:pPr marL="171450" indent="-171450">
              <a:lnSpc>
                <a:spcPts val="1126"/>
              </a:lnSpc>
              <a:buClr>
                <a:srgbClr val="F5DBF4"/>
              </a:buClr>
              <a:buFont typeface="Wingdings" panose="05000000000000000000" pitchFamily="2" charset="2"/>
              <a:buChar char="ü"/>
            </a:pPr>
            <a:r>
              <a:rPr lang="en-GB" sz="1000">
                <a:solidFill>
                  <a:srgbClr val="CDCDCD"/>
                </a:solidFill>
                <a:latin typeface="+mj-lt"/>
              </a:rPr>
              <a:t>Time spent on GE product page</a:t>
            </a:r>
          </a:p>
          <a:p>
            <a:pPr marL="171450" indent="-171450">
              <a:lnSpc>
                <a:spcPts val="1126"/>
              </a:lnSpc>
              <a:buClr>
                <a:srgbClr val="F5DBF4"/>
              </a:buClr>
              <a:buFont typeface="Wingdings" panose="05000000000000000000" pitchFamily="2" charset="2"/>
              <a:buChar char="ü"/>
            </a:pPr>
            <a:r>
              <a:rPr lang="en-GB" sz="1000">
                <a:solidFill>
                  <a:srgbClr val="CDCDCD"/>
                </a:solidFill>
                <a:latin typeface="+mj-lt"/>
              </a:rPr>
              <a:t>Online Application Initiation / Drop off</a:t>
            </a:r>
          </a:p>
          <a:p>
            <a:pPr marL="171450" indent="-171450">
              <a:lnSpc>
                <a:spcPts val="1126"/>
              </a:lnSpc>
              <a:buClr>
                <a:srgbClr val="F5DBF4"/>
              </a:buClr>
              <a:buFont typeface="Wingdings" panose="05000000000000000000" pitchFamily="2" charset="2"/>
              <a:buChar char="ü"/>
            </a:pPr>
            <a:r>
              <a:rPr lang="en-GB" sz="1000">
                <a:solidFill>
                  <a:srgbClr val="CDCDCD"/>
                </a:solidFill>
                <a:latin typeface="+mj-lt"/>
              </a:rPr>
              <a:t>Redirects from Affiliates</a:t>
            </a:r>
          </a:p>
          <a:p>
            <a:pPr marL="171450" indent="-171450">
              <a:lnSpc>
                <a:spcPts val="1126"/>
              </a:lnSpc>
              <a:buClr>
                <a:srgbClr val="F5DBF4"/>
              </a:buClr>
              <a:buFont typeface="Wingdings" panose="05000000000000000000" pitchFamily="2" charset="2"/>
              <a:buChar char="ü"/>
            </a:pPr>
            <a:r>
              <a:rPr lang="en-GB" sz="1000">
                <a:solidFill>
                  <a:srgbClr val="CDCDCD"/>
                </a:solidFill>
                <a:latin typeface="+mj-lt"/>
              </a:rPr>
              <a:t>Online Complaints / feedback history</a:t>
            </a:r>
          </a:p>
          <a:p>
            <a:pPr marL="171450" indent="-171450">
              <a:lnSpc>
                <a:spcPts val="1126"/>
              </a:lnSpc>
              <a:buClr>
                <a:srgbClr val="F5DBF4"/>
              </a:buClr>
              <a:buFont typeface="Wingdings" panose="05000000000000000000" pitchFamily="2" charset="2"/>
              <a:buChar char="ü"/>
            </a:pPr>
            <a:r>
              <a:rPr lang="en-GB" sz="1000">
                <a:solidFill>
                  <a:srgbClr val="CDCDCD"/>
                </a:solidFill>
                <a:latin typeface="+mj-lt"/>
              </a:rPr>
              <a:t>Product Search history</a:t>
            </a:r>
          </a:p>
          <a:p>
            <a:pPr marL="171450" indent="-171450">
              <a:lnSpc>
                <a:spcPts val="1126"/>
              </a:lnSpc>
              <a:buClr>
                <a:srgbClr val="F5DBF4"/>
              </a:buClr>
              <a:buFont typeface="Wingdings" panose="05000000000000000000" pitchFamily="2" charset="2"/>
              <a:buChar char="ü"/>
            </a:pPr>
            <a:r>
              <a:rPr lang="en-GB" sz="1000">
                <a:solidFill>
                  <a:srgbClr val="CDCDCD"/>
                </a:solidFill>
                <a:latin typeface="+mj-lt"/>
              </a:rPr>
              <a:t>Mobile Device Used</a:t>
            </a:r>
          </a:p>
        </p:txBody>
      </p:sp>
      <p:sp>
        <p:nvSpPr>
          <p:cNvPr id="196" name="Rectangle: Rounded Corners 195">
            <a:extLst>
              <a:ext uri="{FF2B5EF4-FFF2-40B4-BE49-F238E27FC236}">
                <a16:creationId xmlns:a16="http://schemas.microsoft.com/office/drawing/2014/main" id="{0FC2B666-25DA-4132-BC52-0E06053BDC19}"/>
              </a:ext>
            </a:extLst>
          </p:cNvPr>
          <p:cNvSpPr/>
          <p:nvPr/>
        </p:nvSpPr>
        <p:spPr>
          <a:xfrm>
            <a:off x="8976587" y="3599597"/>
            <a:ext cx="3999895" cy="1505477"/>
          </a:xfrm>
          <a:prstGeom prst="roundRect">
            <a:avLst/>
          </a:prstGeom>
          <a:noFill/>
          <a:ln w="19050">
            <a:solidFill>
              <a:srgbClr val="C7EFCE"/>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numCol="2" rtlCol="0" anchor="t" anchorCtr="0"/>
          <a:lstStyle/>
          <a:p>
            <a:pPr marL="171450" indent="-171450">
              <a:lnSpc>
                <a:spcPts val="1126"/>
              </a:lnSpc>
              <a:buClr>
                <a:srgbClr val="C7EFCE"/>
              </a:buClr>
              <a:buFont typeface="Wingdings" panose="05000000000000000000" pitchFamily="2" charset="2"/>
              <a:buChar char="ü"/>
            </a:pPr>
            <a:r>
              <a:rPr lang="en-GB" sz="1000">
                <a:solidFill>
                  <a:srgbClr val="CDCDCD"/>
                </a:solidFill>
                <a:latin typeface="+mj-lt"/>
              </a:rPr>
              <a:t>Spend on Medical Services</a:t>
            </a:r>
          </a:p>
          <a:p>
            <a:pPr marL="171450" indent="-171450">
              <a:lnSpc>
                <a:spcPts val="1126"/>
              </a:lnSpc>
              <a:buClr>
                <a:srgbClr val="C7EFCE"/>
              </a:buClr>
              <a:buFont typeface="Wingdings" panose="05000000000000000000" pitchFamily="2" charset="2"/>
              <a:buChar char="ü"/>
            </a:pPr>
            <a:r>
              <a:rPr lang="en-GB" sz="1000">
                <a:solidFill>
                  <a:srgbClr val="CDCDCD"/>
                </a:solidFill>
                <a:latin typeface="+mj-lt"/>
              </a:rPr>
              <a:t>Lifestyle spends</a:t>
            </a:r>
          </a:p>
          <a:p>
            <a:pPr marL="171450" indent="-171450">
              <a:lnSpc>
                <a:spcPts val="1126"/>
              </a:lnSpc>
              <a:buClr>
                <a:srgbClr val="C7EFCE"/>
              </a:buClr>
              <a:buFont typeface="Wingdings" panose="05000000000000000000" pitchFamily="2" charset="2"/>
              <a:buChar char="ü"/>
            </a:pPr>
            <a:r>
              <a:rPr lang="en-GB" sz="1000">
                <a:solidFill>
                  <a:srgbClr val="CDCDCD"/>
                </a:solidFill>
                <a:latin typeface="+mj-lt"/>
              </a:rPr>
              <a:t>Casino / Bar spends</a:t>
            </a:r>
          </a:p>
          <a:p>
            <a:pPr marL="171450" indent="-171450">
              <a:lnSpc>
                <a:spcPts val="1126"/>
              </a:lnSpc>
              <a:buClr>
                <a:srgbClr val="C7EFCE"/>
              </a:buClr>
              <a:buFont typeface="Wingdings" panose="05000000000000000000" pitchFamily="2" charset="2"/>
              <a:buChar char="ü"/>
            </a:pPr>
            <a:r>
              <a:rPr lang="en-GB" sz="1000">
                <a:solidFill>
                  <a:srgbClr val="CDCDCD"/>
                </a:solidFill>
                <a:latin typeface="+mj-lt"/>
              </a:rPr>
              <a:t>Auto / Petrol Spends</a:t>
            </a:r>
          </a:p>
          <a:p>
            <a:pPr marL="171450" indent="-171450">
              <a:lnSpc>
                <a:spcPts val="1126"/>
              </a:lnSpc>
              <a:buClr>
                <a:srgbClr val="C7EFCE"/>
              </a:buClr>
              <a:buFont typeface="Wingdings" panose="05000000000000000000" pitchFamily="2" charset="2"/>
              <a:buChar char="ü"/>
            </a:pPr>
            <a:r>
              <a:rPr lang="en-GB" sz="1000">
                <a:solidFill>
                  <a:srgbClr val="CDCDCD"/>
                </a:solidFill>
                <a:latin typeface="+mj-lt"/>
              </a:rPr>
              <a:t>Overseas Spends &amp; FX</a:t>
            </a:r>
          </a:p>
          <a:p>
            <a:pPr marL="171450" indent="-171450">
              <a:lnSpc>
                <a:spcPts val="1126"/>
              </a:lnSpc>
              <a:buClr>
                <a:srgbClr val="C7EFCE"/>
              </a:buClr>
              <a:buFont typeface="Wingdings" panose="05000000000000000000" pitchFamily="2" charset="2"/>
              <a:buChar char="ü"/>
            </a:pPr>
            <a:r>
              <a:rPr lang="en-GB" sz="1000">
                <a:solidFill>
                  <a:srgbClr val="CDCDCD"/>
                </a:solidFill>
                <a:latin typeface="+mj-lt"/>
              </a:rPr>
              <a:t>Credit Payment History </a:t>
            </a:r>
          </a:p>
          <a:p>
            <a:pPr marL="171450" indent="-171450">
              <a:lnSpc>
                <a:spcPts val="1126"/>
              </a:lnSpc>
              <a:buClr>
                <a:srgbClr val="C7EFCE"/>
              </a:buClr>
              <a:buFont typeface="Wingdings" panose="05000000000000000000" pitchFamily="2" charset="2"/>
              <a:buChar char="ü"/>
            </a:pPr>
            <a:r>
              <a:rPr lang="en-GB" sz="1000">
                <a:solidFill>
                  <a:srgbClr val="CDCDCD"/>
                </a:solidFill>
                <a:latin typeface="+mj-lt"/>
              </a:rPr>
              <a:t>Investments Holding details</a:t>
            </a:r>
          </a:p>
          <a:p>
            <a:pPr marL="171450" indent="-171450">
              <a:lnSpc>
                <a:spcPts val="1126"/>
              </a:lnSpc>
              <a:buClr>
                <a:srgbClr val="C7EFCE"/>
              </a:buClr>
              <a:buFont typeface="Wingdings" panose="05000000000000000000" pitchFamily="2" charset="2"/>
              <a:buChar char="ü"/>
            </a:pPr>
            <a:r>
              <a:rPr lang="en-GB" sz="1000">
                <a:solidFill>
                  <a:srgbClr val="CDCDCD"/>
                </a:solidFill>
                <a:latin typeface="+mj-lt"/>
              </a:rPr>
              <a:t>Demographic update</a:t>
            </a:r>
          </a:p>
          <a:p>
            <a:pPr marL="171450" indent="-171450">
              <a:lnSpc>
                <a:spcPts val="1126"/>
              </a:lnSpc>
              <a:buClr>
                <a:srgbClr val="C7EFCE"/>
              </a:buClr>
              <a:buFont typeface="Wingdings" panose="05000000000000000000" pitchFamily="2" charset="2"/>
              <a:buChar char="ü"/>
            </a:pPr>
            <a:r>
              <a:rPr lang="en-GB" sz="1000">
                <a:solidFill>
                  <a:srgbClr val="CDCDCD"/>
                </a:solidFill>
                <a:latin typeface="+mj-lt"/>
              </a:rPr>
              <a:t>Fitness spends</a:t>
            </a:r>
          </a:p>
          <a:p>
            <a:pPr marL="171450" indent="-171450">
              <a:lnSpc>
                <a:spcPts val="1126"/>
              </a:lnSpc>
              <a:buClr>
                <a:srgbClr val="C7EFCE"/>
              </a:buClr>
              <a:buFont typeface="Wingdings" panose="05000000000000000000" pitchFamily="2" charset="2"/>
              <a:buChar char="ü"/>
            </a:pPr>
            <a:r>
              <a:rPr lang="en-GB" sz="1000">
                <a:solidFill>
                  <a:srgbClr val="CDCDCD"/>
                </a:solidFill>
                <a:latin typeface="+mj-lt"/>
              </a:rPr>
              <a:t>Baby product / jewellery spends</a:t>
            </a:r>
          </a:p>
          <a:p>
            <a:pPr marL="171450" indent="-171450">
              <a:lnSpc>
                <a:spcPts val="1126"/>
              </a:lnSpc>
              <a:buClr>
                <a:srgbClr val="C7EFCE"/>
              </a:buClr>
              <a:buFont typeface="Wingdings" panose="05000000000000000000" pitchFamily="2" charset="2"/>
              <a:buChar char="ü"/>
            </a:pPr>
            <a:r>
              <a:rPr lang="en-GB" sz="1000">
                <a:solidFill>
                  <a:srgbClr val="CDCDCD"/>
                </a:solidFill>
                <a:latin typeface="+mj-lt"/>
              </a:rPr>
              <a:t>Banking Product Holding</a:t>
            </a:r>
          </a:p>
          <a:p>
            <a:pPr marL="171450" indent="-171450">
              <a:lnSpc>
                <a:spcPts val="1126"/>
              </a:lnSpc>
              <a:buClr>
                <a:srgbClr val="C7EFCE"/>
              </a:buClr>
              <a:buFont typeface="Wingdings" panose="05000000000000000000" pitchFamily="2" charset="2"/>
              <a:buChar char="ü"/>
            </a:pPr>
            <a:endParaRPr lang="en-GB" sz="1000">
              <a:solidFill>
                <a:schemeClr val="tx1"/>
              </a:solidFill>
              <a:latin typeface="+mj-lt"/>
            </a:endParaRPr>
          </a:p>
        </p:txBody>
      </p:sp>
      <p:sp>
        <p:nvSpPr>
          <p:cNvPr id="197" name="Rectangle: Rounded Corners 196">
            <a:extLst>
              <a:ext uri="{FF2B5EF4-FFF2-40B4-BE49-F238E27FC236}">
                <a16:creationId xmlns:a16="http://schemas.microsoft.com/office/drawing/2014/main" id="{58897C1A-C2D0-4D0F-A7FD-E334D703246C}"/>
              </a:ext>
            </a:extLst>
          </p:cNvPr>
          <p:cNvSpPr/>
          <p:nvPr/>
        </p:nvSpPr>
        <p:spPr>
          <a:xfrm>
            <a:off x="8072733" y="5449162"/>
            <a:ext cx="4285521" cy="1475996"/>
          </a:xfrm>
          <a:prstGeom prst="roundRect">
            <a:avLst/>
          </a:prstGeom>
          <a:noFill/>
          <a:ln w="19050">
            <a:solidFill>
              <a:srgbClr val="FFF3B9"/>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numCol="2" rtlCol="0" anchor="t" anchorCtr="0"/>
          <a:lstStyle/>
          <a:p>
            <a:pPr marL="171450" indent="-171450">
              <a:lnSpc>
                <a:spcPts val="1126"/>
              </a:lnSpc>
              <a:buClr>
                <a:srgbClr val="FFF3B9"/>
              </a:buClr>
              <a:buFont typeface="Wingdings" panose="05000000000000000000" pitchFamily="2" charset="2"/>
              <a:buChar char="ü"/>
            </a:pPr>
            <a:r>
              <a:rPr lang="en-GB" sz="1000">
                <a:solidFill>
                  <a:srgbClr val="CDCDCD"/>
                </a:solidFill>
                <a:latin typeface="+mj-lt"/>
              </a:rPr>
              <a:t>Search History</a:t>
            </a:r>
          </a:p>
          <a:p>
            <a:pPr marL="171450" indent="-171450">
              <a:lnSpc>
                <a:spcPts val="1126"/>
              </a:lnSpc>
              <a:buClr>
                <a:srgbClr val="FFF3B9"/>
              </a:buClr>
              <a:buFont typeface="Wingdings" panose="05000000000000000000" pitchFamily="2" charset="2"/>
              <a:buChar char="ü"/>
            </a:pPr>
            <a:r>
              <a:rPr lang="en-GB" sz="1000">
                <a:solidFill>
                  <a:srgbClr val="CDCDCD"/>
                </a:solidFill>
                <a:latin typeface="+mj-lt"/>
              </a:rPr>
              <a:t>Social Media Sentiments</a:t>
            </a:r>
          </a:p>
          <a:p>
            <a:pPr marL="171450" indent="-171450">
              <a:lnSpc>
                <a:spcPts val="1126"/>
              </a:lnSpc>
              <a:buClr>
                <a:srgbClr val="FFF3B9"/>
              </a:buClr>
              <a:buFont typeface="Wingdings" panose="05000000000000000000" pitchFamily="2" charset="2"/>
              <a:buChar char="ü"/>
            </a:pPr>
            <a:r>
              <a:rPr lang="en-GB" sz="1000">
                <a:solidFill>
                  <a:srgbClr val="CDCDCD"/>
                </a:solidFill>
                <a:latin typeface="+mj-lt"/>
              </a:rPr>
              <a:t>Total Wealth (Assets &amp; Liabilities)</a:t>
            </a:r>
          </a:p>
          <a:p>
            <a:pPr marL="171450" indent="-171450">
              <a:lnSpc>
                <a:spcPts val="1126"/>
              </a:lnSpc>
              <a:buClr>
                <a:srgbClr val="FFF3B9"/>
              </a:buClr>
              <a:buFont typeface="Wingdings" panose="05000000000000000000" pitchFamily="2" charset="2"/>
              <a:buChar char="ü"/>
            </a:pPr>
            <a:r>
              <a:rPr lang="en-GB" sz="1000">
                <a:solidFill>
                  <a:srgbClr val="CDCDCD"/>
                </a:solidFill>
                <a:latin typeface="+mj-lt"/>
              </a:rPr>
              <a:t>Competitor Usage / Exposure</a:t>
            </a:r>
          </a:p>
          <a:p>
            <a:pPr marL="171450" indent="-171450">
              <a:lnSpc>
                <a:spcPts val="1126"/>
              </a:lnSpc>
              <a:buClr>
                <a:srgbClr val="FFF3B9"/>
              </a:buClr>
              <a:buFont typeface="Wingdings" panose="05000000000000000000" pitchFamily="2" charset="2"/>
              <a:buChar char="ü"/>
            </a:pPr>
            <a:r>
              <a:rPr lang="en-GB" sz="1000">
                <a:solidFill>
                  <a:srgbClr val="CDCDCD"/>
                </a:solidFill>
                <a:latin typeface="+mj-lt"/>
              </a:rPr>
              <a:t>Location History for Travel Patterns</a:t>
            </a:r>
          </a:p>
          <a:p>
            <a:pPr marL="171450" indent="-171450">
              <a:lnSpc>
                <a:spcPts val="1126"/>
              </a:lnSpc>
              <a:buClr>
                <a:srgbClr val="FFF3B9"/>
              </a:buClr>
              <a:buFont typeface="Wingdings" panose="05000000000000000000" pitchFamily="2" charset="2"/>
              <a:buChar char="ü"/>
            </a:pPr>
            <a:r>
              <a:rPr lang="en-GB" sz="1000">
                <a:solidFill>
                  <a:srgbClr val="CDCDCD"/>
                </a:solidFill>
                <a:latin typeface="+mj-lt"/>
              </a:rPr>
              <a:t>Credit Bureau Scores / Ratings</a:t>
            </a:r>
          </a:p>
          <a:p>
            <a:pPr marL="171450" indent="-171450">
              <a:lnSpc>
                <a:spcPts val="1126"/>
              </a:lnSpc>
              <a:buClr>
                <a:srgbClr val="FFF3B9"/>
              </a:buClr>
              <a:buFont typeface="Wingdings" panose="05000000000000000000" pitchFamily="2" charset="2"/>
              <a:buChar char="ü"/>
            </a:pPr>
            <a:r>
              <a:rPr lang="en-GB" sz="1000">
                <a:solidFill>
                  <a:srgbClr val="CDCDCD"/>
                </a:solidFill>
                <a:latin typeface="+mj-lt"/>
              </a:rPr>
              <a:t>Tax Filings or Business Performance</a:t>
            </a:r>
          </a:p>
          <a:p>
            <a:pPr marL="171450" indent="-171450">
              <a:lnSpc>
                <a:spcPts val="1126"/>
              </a:lnSpc>
              <a:buClr>
                <a:srgbClr val="FFF3B9"/>
              </a:buClr>
              <a:buFont typeface="Wingdings" panose="05000000000000000000" pitchFamily="2" charset="2"/>
              <a:buChar char="ü"/>
            </a:pPr>
            <a:r>
              <a:rPr lang="en-GB" sz="1000">
                <a:solidFill>
                  <a:srgbClr val="CDCDCD"/>
                </a:solidFill>
                <a:latin typeface="+mj-lt"/>
              </a:rPr>
              <a:t>Primary Bank Proposition</a:t>
            </a:r>
          </a:p>
          <a:p>
            <a:pPr marL="171450" indent="-171450">
              <a:lnSpc>
                <a:spcPts val="1126"/>
              </a:lnSpc>
              <a:buClr>
                <a:srgbClr val="FFF3B9"/>
              </a:buClr>
              <a:buFont typeface="Wingdings" panose="05000000000000000000" pitchFamily="2" charset="2"/>
              <a:buChar char="ü"/>
            </a:pPr>
            <a:endParaRPr lang="en-GB" sz="1000">
              <a:solidFill>
                <a:schemeClr val="tx1"/>
              </a:solidFill>
              <a:latin typeface="+mj-lt"/>
            </a:endParaRPr>
          </a:p>
        </p:txBody>
      </p:sp>
      <p:pic>
        <p:nvPicPr>
          <p:cNvPr id="198" name="Picture 8" descr="efficiency Icon 2511601">
            <a:extLst>
              <a:ext uri="{FF2B5EF4-FFF2-40B4-BE49-F238E27FC236}">
                <a16:creationId xmlns:a16="http://schemas.microsoft.com/office/drawing/2014/main" id="{25B3157A-876B-4D36-9D54-59FFE7724682}"/>
              </a:ext>
            </a:extLst>
          </p:cNvPr>
          <p:cNvPicPr>
            <a:picLocks noChangeAspect="1" noChangeArrowheads="1"/>
          </p:cNvPicPr>
          <p:nvPr/>
        </p:nvPicPr>
        <p:blipFill>
          <a:blip r:embed="rId2" cstate="print">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116212" y="3520202"/>
            <a:ext cx="690511" cy="690511"/>
          </a:xfrm>
          <a:prstGeom prst="rect">
            <a:avLst/>
          </a:prstGeom>
          <a:noFill/>
          <a:extLst>
            <a:ext uri="{909E8E84-426E-40DD-AFC4-6F175D3DCCD1}">
              <a14:hiddenFill xmlns:a14="http://schemas.microsoft.com/office/drawing/2010/main">
                <a:solidFill>
                  <a:srgbClr val="FFFFFF"/>
                </a:solidFill>
              </a14:hiddenFill>
            </a:ext>
          </a:extLst>
        </p:spPr>
      </p:pic>
      <p:sp>
        <p:nvSpPr>
          <p:cNvPr id="199" name="Rectangle: Rounded Corners 198">
            <a:extLst>
              <a:ext uri="{FF2B5EF4-FFF2-40B4-BE49-F238E27FC236}">
                <a16:creationId xmlns:a16="http://schemas.microsoft.com/office/drawing/2014/main" id="{315BFCC2-7D7B-4702-B9A2-0D2480790FBD}"/>
              </a:ext>
            </a:extLst>
          </p:cNvPr>
          <p:cNvSpPr/>
          <p:nvPr/>
        </p:nvSpPr>
        <p:spPr>
          <a:xfrm>
            <a:off x="5688170" y="4229568"/>
            <a:ext cx="1632420" cy="1004816"/>
          </a:xfrm>
          <a:prstGeom prst="round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US" sz="1200">
                <a:solidFill>
                  <a:schemeClr val="tx1">
                    <a:lumMod val="50000"/>
                    <a:lumOff val="50000"/>
                  </a:schemeClr>
                </a:solidFill>
                <a:latin typeface="EYInterstate Light" panose="02000506000000020004" pitchFamily="2" charset="0"/>
              </a:rPr>
              <a:t>EY Accelerator for </a:t>
            </a:r>
            <a:r>
              <a:rPr lang="en-US" sz="1200" b="1">
                <a:solidFill>
                  <a:schemeClr val="tx1">
                    <a:lumMod val="50000"/>
                    <a:lumOff val="50000"/>
                  </a:schemeClr>
                </a:solidFill>
                <a:latin typeface="EYInterstate Light" panose="02000506000000020004" pitchFamily="2" charset="0"/>
              </a:rPr>
              <a:t>Enhanced Feature Synthesis </a:t>
            </a:r>
            <a:r>
              <a:rPr lang="en-US" sz="1200">
                <a:solidFill>
                  <a:schemeClr val="tx1">
                    <a:lumMod val="50000"/>
                    <a:lumOff val="50000"/>
                  </a:schemeClr>
                </a:solidFill>
                <a:latin typeface="EYInterstate Light" panose="02000506000000020004" pitchFamily="2" charset="0"/>
              </a:rPr>
              <a:t>will generate dynamic features</a:t>
            </a:r>
          </a:p>
        </p:txBody>
      </p:sp>
      <p:grpSp>
        <p:nvGrpSpPr>
          <p:cNvPr id="200" name="Group 199">
            <a:extLst>
              <a:ext uri="{FF2B5EF4-FFF2-40B4-BE49-F238E27FC236}">
                <a16:creationId xmlns:a16="http://schemas.microsoft.com/office/drawing/2014/main" id="{E6B31AE0-2C83-407C-AD3C-9CFE5E7D42B3}"/>
              </a:ext>
            </a:extLst>
          </p:cNvPr>
          <p:cNvGrpSpPr/>
          <p:nvPr/>
        </p:nvGrpSpPr>
        <p:grpSpPr>
          <a:xfrm>
            <a:off x="7064365" y="5622086"/>
            <a:ext cx="655664" cy="663915"/>
            <a:chOff x="315913" y="879476"/>
            <a:chExt cx="1892300" cy="1916112"/>
          </a:xfrm>
          <a:solidFill>
            <a:srgbClr val="FFF3B9"/>
          </a:solidFill>
        </p:grpSpPr>
        <p:sp>
          <p:nvSpPr>
            <p:cNvPr id="201" name="Freeform 6">
              <a:extLst>
                <a:ext uri="{FF2B5EF4-FFF2-40B4-BE49-F238E27FC236}">
                  <a16:creationId xmlns:a16="http://schemas.microsoft.com/office/drawing/2014/main" id="{608BA327-DFFD-4AF1-8840-A64401431726}"/>
                </a:ext>
              </a:extLst>
            </p:cNvPr>
            <p:cNvSpPr>
              <a:spLocks noEditPoints="1"/>
            </p:cNvSpPr>
            <p:nvPr/>
          </p:nvSpPr>
          <p:spPr bwMode="auto">
            <a:xfrm>
              <a:off x="315913" y="879476"/>
              <a:ext cx="1527175" cy="1293813"/>
            </a:xfrm>
            <a:custGeom>
              <a:avLst/>
              <a:gdLst>
                <a:gd name="T0" fmla="*/ 1384 w 1681"/>
                <a:gd name="T1" fmla="*/ 541 h 1425"/>
                <a:gd name="T2" fmla="*/ 1055 w 1681"/>
                <a:gd name="T3" fmla="*/ 977 h 1425"/>
                <a:gd name="T4" fmla="*/ 877 w 1681"/>
                <a:gd name="T5" fmla="*/ 1056 h 1425"/>
                <a:gd name="T6" fmla="*/ 566 w 1681"/>
                <a:gd name="T7" fmla="*/ 1056 h 1425"/>
                <a:gd name="T8" fmla="*/ 580 w 1681"/>
                <a:gd name="T9" fmla="*/ 1198 h 1425"/>
                <a:gd name="T10" fmla="*/ 493 w 1681"/>
                <a:gd name="T11" fmla="*/ 1254 h 1425"/>
                <a:gd name="T12" fmla="*/ 185 w 1681"/>
                <a:gd name="T13" fmla="*/ 1058 h 1425"/>
                <a:gd name="T14" fmla="*/ 286 w 1681"/>
                <a:gd name="T15" fmla="*/ 1425 h 1425"/>
                <a:gd name="T16" fmla="*/ 142 w 1681"/>
                <a:gd name="T17" fmla="*/ 1334 h 1425"/>
                <a:gd name="T18" fmla="*/ 46 w 1681"/>
                <a:gd name="T19" fmla="*/ 1181 h 1425"/>
                <a:gd name="T20" fmla="*/ 850 w 1681"/>
                <a:gd name="T21" fmla="*/ 40 h 1425"/>
                <a:gd name="T22" fmla="*/ 1525 w 1681"/>
                <a:gd name="T23" fmla="*/ 168 h 1425"/>
                <a:gd name="T24" fmla="*/ 1673 w 1681"/>
                <a:gd name="T25" fmla="*/ 485 h 1425"/>
                <a:gd name="T26" fmla="*/ 1610 w 1681"/>
                <a:gd name="T27" fmla="*/ 470 h 1425"/>
                <a:gd name="T28" fmla="*/ 1495 w 1681"/>
                <a:gd name="T29" fmla="*/ 594 h 1425"/>
                <a:gd name="T30" fmla="*/ 1540 w 1681"/>
                <a:gd name="T31" fmla="*/ 805 h 1425"/>
                <a:gd name="T32" fmla="*/ 969 w 1681"/>
                <a:gd name="T33" fmla="*/ 568 h 1425"/>
                <a:gd name="T34" fmla="*/ 672 w 1681"/>
                <a:gd name="T35" fmla="*/ 534 h 1425"/>
                <a:gd name="T36" fmla="*/ 570 w 1681"/>
                <a:gd name="T37" fmla="*/ 878 h 1425"/>
                <a:gd name="T38" fmla="*/ 969 w 1681"/>
                <a:gd name="T39" fmla="*/ 972 h 1425"/>
                <a:gd name="T40" fmla="*/ 396 w 1681"/>
                <a:gd name="T41" fmla="*/ 455 h 1425"/>
                <a:gd name="T42" fmla="*/ 471 w 1681"/>
                <a:gd name="T43" fmla="*/ 971 h 1425"/>
                <a:gd name="T44" fmla="*/ 396 w 1681"/>
                <a:gd name="T45" fmla="*/ 455 h 1425"/>
                <a:gd name="T46" fmla="*/ 1055 w 1681"/>
                <a:gd name="T47" fmla="*/ 487 h 1425"/>
                <a:gd name="T48" fmla="*/ 1332 w 1681"/>
                <a:gd name="T49" fmla="*/ 435 h 1425"/>
                <a:gd name="T50" fmla="*/ 1055 w 1681"/>
                <a:gd name="T51" fmla="*/ 177 h 1425"/>
                <a:gd name="T52" fmla="*/ 927 w 1681"/>
                <a:gd name="T53" fmla="*/ 180 h 1425"/>
                <a:gd name="T54" fmla="*/ 697 w 1681"/>
                <a:gd name="T55" fmla="*/ 433 h 1425"/>
                <a:gd name="T56" fmla="*/ 969 w 1681"/>
                <a:gd name="T57" fmla="*/ 488 h 1425"/>
                <a:gd name="T58" fmla="*/ 1273 w 1681"/>
                <a:gd name="T59" fmla="*/ 217 h 1425"/>
                <a:gd name="T60" fmla="*/ 1437 w 1681"/>
                <a:gd name="T61" fmla="*/ 433 h 1425"/>
                <a:gd name="T62" fmla="*/ 1582 w 1681"/>
                <a:gd name="T63" fmla="*/ 393 h 1425"/>
                <a:gd name="T64" fmla="*/ 461 w 1681"/>
                <a:gd name="T65" fmla="*/ 390 h 1425"/>
                <a:gd name="T66" fmla="*/ 592 w 1681"/>
                <a:gd name="T67" fmla="*/ 432 h 1425"/>
                <a:gd name="T68" fmla="*/ 679 w 1681"/>
                <a:gd name="T69" fmla="*/ 313 h 1425"/>
                <a:gd name="T70" fmla="*/ 461 w 1681"/>
                <a:gd name="T71" fmla="*/ 390 h 1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81" h="1425">
                  <a:moveTo>
                    <a:pt x="1468" y="887"/>
                  </a:moveTo>
                  <a:cubicBezTo>
                    <a:pt x="1455" y="762"/>
                    <a:pt x="1430" y="647"/>
                    <a:pt x="1384" y="541"/>
                  </a:cubicBezTo>
                  <a:cubicBezTo>
                    <a:pt x="1274" y="551"/>
                    <a:pt x="1165" y="562"/>
                    <a:pt x="1055" y="572"/>
                  </a:cubicBezTo>
                  <a:cubicBezTo>
                    <a:pt x="1055" y="704"/>
                    <a:pt x="1055" y="840"/>
                    <a:pt x="1055" y="977"/>
                  </a:cubicBezTo>
                  <a:cubicBezTo>
                    <a:pt x="1004" y="1002"/>
                    <a:pt x="952" y="1028"/>
                    <a:pt x="900" y="1053"/>
                  </a:cubicBezTo>
                  <a:cubicBezTo>
                    <a:pt x="893" y="1056"/>
                    <a:pt x="884" y="1056"/>
                    <a:pt x="877" y="1056"/>
                  </a:cubicBezTo>
                  <a:cubicBezTo>
                    <a:pt x="783" y="1056"/>
                    <a:pt x="689" y="1056"/>
                    <a:pt x="595" y="1056"/>
                  </a:cubicBezTo>
                  <a:cubicBezTo>
                    <a:pt x="586" y="1056"/>
                    <a:pt x="578" y="1056"/>
                    <a:pt x="566" y="1056"/>
                  </a:cubicBezTo>
                  <a:cubicBezTo>
                    <a:pt x="568" y="1082"/>
                    <a:pt x="569" y="1106"/>
                    <a:pt x="571" y="1130"/>
                  </a:cubicBezTo>
                  <a:cubicBezTo>
                    <a:pt x="574" y="1153"/>
                    <a:pt x="578" y="1175"/>
                    <a:pt x="580" y="1198"/>
                  </a:cubicBezTo>
                  <a:cubicBezTo>
                    <a:pt x="581" y="1203"/>
                    <a:pt x="577" y="1211"/>
                    <a:pt x="573" y="1213"/>
                  </a:cubicBezTo>
                  <a:cubicBezTo>
                    <a:pt x="548" y="1227"/>
                    <a:pt x="522" y="1239"/>
                    <a:pt x="493" y="1254"/>
                  </a:cubicBezTo>
                  <a:cubicBezTo>
                    <a:pt x="484" y="1187"/>
                    <a:pt x="476" y="1123"/>
                    <a:pt x="468" y="1058"/>
                  </a:cubicBezTo>
                  <a:cubicBezTo>
                    <a:pt x="376" y="1058"/>
                    <a:pt x="282" y="1058"/>
                    <a:pt x="185" y="1058"/>
                  </a:cubicBezTo>
                  <a:cubicBezTo>
                    <a:pt x="187" y="1123"/>
                    <a:pt x="197" y="1187"/>
                    <a:pt x="218" y="1248"/>
                  </a:cubicBezTo>
                  <a:cubicBezTo>
                    <a:pt x="238" y="1308"/>
                    <a:pt x="263" y="1367"/>
                    <a:pt x="286" y="1425"/>
                  </a:cubicBezTo>
                  <a:cubicBezTo>
                    <a:pt x="286" y="1425"/>
                    <a:pt x="281" y="1424"/>
                    <a:pt x="277" y="1423"/>
                  </a:cubicBezTo>
                  <a:cubicBezTo>
                    <a:pt x="226" y="1401"/>
                    <a:pt x="181" y="1372"/>
                    <a:pt x="142" y="1334"/>
                  </a:cubicBezTo>
                  <a:cubicBezTo>
                    <a:pt x="130" y="1322"/>
                    <a:pt x="120" y="1309"/>
                    <a:pt x="107" y="1299"/>
                  </a:cubicBezTo>
                  <a:cubicBezTo>
                    <a:pt x="66" y="1270"/>
                    <a:pt x="53" y="1227"/>
                    <a:pt x="46" y="1181"/>
                  </a:cubicBezTo>
                  <a:cubicBezTo>
                    <a:pt x="0" y="868"/>
                    <a:pt x="76" y="591"/>
                    <a:pt x="285" y="353"/>
                  </a:cubicBezTo>
                  <a:cubicBezTo>
                    <a:pt x="436" y="183"/>
                    <a:pt x="626" y="79"/>
                    <a:pt x="850" y="40"/>
                  </a:cubicBezTo>
                  <a:cubicBezTo>
                    <a:pt x="1078" y="0"/>
                    <a:pt x="1294" y="37"/>
                    <a:pt x="1497" y="148"/>
                  </a:cubicBezTo>
                  <a:cubicBezTo>
                    <a:pt x="1507" y="153"/>
                    <a:pt x="1517" y="160"/>
                    <a:pt x="1525" y="168"/>
                  </a:cubicBezTo>
                  <a:cubicBezTo>
                    <a:pt x="1587" y="229"/>
                    <a:pt x="1641" y="296"/>
                    <a:pt x="1667" y="381"/>
                  </a:cubicBezTo>
                  <a:cubicBezTo>
                    <a:pt x="1679" y="419"/>
                    <a:pt x="1681" y="460"/>
                    <a:pt x="1673" y="485"/>
                  </a:cubicBezTo>
                  <a:cubicBezTo>
                    <a:pt x="1672" y="485"/>
                    <a:pt x="1670" y="485"/>
                    <a:pt x="1670" y="484"/>
                  </a:cubicBezTo>
                  <a:cubicBezTo>
                    <a:pt x="1644" y="457"/>
                    <a:pt x="1645" y="458"/>
                    <a:pt x="1610" y="470"/>
                  </a:cubicBezTo>
                  <a:cubicBezTo>
                    <a:pt x="1563" y="487"/>
                    <a:pt x="1515" y="502"/>
                    <a:pt x="1466" y="519"/>
                  </a:cubicBezTo>
                  <a:cubicBezTo>
                    <a:pt x="1476" y="543"/>
                    <a:pt x="1487" y="568"/>
                    <a:pt x="1495" y="594"/>
                  </a:cubicBezTo>
                  <a:cubicBezTo>
                    <a:pt x="1513" y="655"/>
                    <a:pt x="1530" y="717"/>
                    <a:pt x="1546" y="778"/>
                  </a:cubicBezTo>
                  <a:cubicBezTo>
                    <a:pt x="1548" y="786"/>
                    <a:pt x="1545" y="799"/>
                    <a:pt x="1540" y="805"/>
                  </a:cubicBezTo>
                  <a:cubicBezTo>
                    <a:pt x="1518" y="832"/>
                    <a:pt x="1494" y="857"/>
                    <a:pt x="1468" y="887"/>
                  </a:cubicBezTo>
                  <a:close/>
                  <a:moveTo>
                    <a:pt x="969" y="568"/>
                  </a:moveTo>
                  <a:cubicBezTo>
                    <a:pt x="963" y="567"/>
                    <a:pt x="959" y="567"/>
                    <a:pt x="955" y="566"/>
                  </a:cubicBezTo>
                  <a:cubicBezTo>
                    <a:pt x="861" y="556"/>
                    <a:pt x="766" y="546"/>
                    <a:pt x="672" y="534"/>
                  </a:cubicBezTo>
                  <a:cubicBezTo>
                    <a:pt x="654" y="532"/>
                    <a:pt x="648" y="536"/>
                    <a:pt x="642" y="552"/>
                  </a:cubicBezTo>
                  <a:cubicBezTo>
                    <a:pt x="602" y="657"/>
                    <a:pt x="580" y="766"/>
                    <a:pt x="570" y="878"/>
                  </a:cubicBezTo>
                  <a:cubicBezTo>
                    <a:pt x="567" y="909"/>
                    <a:pt x="567" y="940"/>
                    <a:pt x="565" y="972"/>
                  </a:cubicBezTo>
                  <a:cubicBezTo>
                    <a:pt x="701" y="972"/>
                    <a:pt x="835" y="972"/>
                    <a:pt x="969" y="972"/>
                  </a:cubicBezTo>
                  <a:cubicBezTo>
                    <a:pt x="969" y="837"/>
                    <a:pt x="969" y="703"/>
                    <a:pt x="969" y="568"/>
                  </a:cubicBezTo>
                  <a:close/>
                  <a:moveTo>
                    <a:pt x="396" y="455"/>
                  </a:moveTo>
                  <a:cubicBezTo>
                    <a:pt x="267" y="601"/>
                    <a:pt x="195" y="773"/>
                    <a:pt x="184" y="971"/>
                  </a:cubicBezTo>
                  <a:cubicBezTo>
                    <a:pt x="281" y="971"/>
                    <a:pt x="375" y="971"/>
                    <a:pt x="471" y="971"/>
                  </a:cubicBezTo>
                  <a:cubicBezTo>
                    <a:pt x="476" y="813"/>
                    <a:pt x="508" y="660"/>
                    <a:pt x="569" y="516"/>
                  </a:cubicBezTo>
                  <a:cubicBezTo>
                    <a:pt x="511" y="495"/>
                    <a:pt x="455" y="475"/>
                    <a:pt x="396" y="455"/>
                  </a:cubicBezTo>
                  <a:close/>
                  <a:moveTo>
                    <a:pt x="1055" y="177"/>
                  </a:moveTo>
                  <a:cubicBezTo>
                    <a:pt x="1055" y="280"/>
                    <a:pt x="1055" y="381"/>
                    <a:pt x="1055" y="487"/>
                  </a:cubicBezTo>
                  <a:cubicBezTo>
                    <a:pt x="1151" y="476"/>
                    <a:pt x="1245" y="466"/>
                    <a:pt x="1342" y="455"/>
                  </a:cubicBezTo>
                  <a:cubicBezTo>
                    <a:pt x="1337" y="445"/>
                    <a:pt x="1335" y="440"/>
                    <a:pt x="1332" y="435"/>
                  </a:cubicBezTo>
                  <a:cubicBezTo>
                    <a:pt x="1284" y="350"/>
                    <a:pt x="1222" y="276"/>
                    <a:pt x="1150" y="208"/>
                  </a:cubicBezTo>
                  <a:cubicBezTo>
                    <a:pt x="1122" y="182"/>
                    <a:pt x="1092" y="175"/>
                    <a:pt x="1055" y="177"/>
                  </a:cubicBezTo>
                  <a:close/>
                  <a:moveTo>
                    <a:pt x="969" y="177"/>
                  </a:moveTo>
                  <a:cubicBezTo>
                    <a:pt x="954" y="178"/>
                    <a:pt x="941" y="179"/>
                    <a:pt x="927" y="180"/>
                  </a:cubicBezTo>
                  <a:cubicBezTo>
                    <a:pt x="906" y="181"/>
                    <a:pt x="889" y="189"/>
                    <a:pt x="873" y="204"/>
                  </a:cubicBezTo>
                  <a:cubicBezTo>
                    <a:pt x="803" y="272"/>
                    <a:pt x="744" y="347"/>
                    <a:pt x="697" y="433"/>
                  </a:cubicBezTo>
                  <a:cubicBezTo>
                    <a:pt x="694" y="438"/>
                    <a:pt x="692" y="444"/>
                    <a:pt x="687" y="454"/>
                  </a:cubicBezTo>
                  <a:cubicBezTo>
                    <a:pt x="783" y="466"/>
                    <a:pt x="875" y="477"/>
                    <a:pt x="969" y="488"/>
                  </a:cubicBezTo>
                  <a:cubicBezTo>
                    <a:pt x="969" y="381"/>
                    <a:pt x="969" y="280"/>
                    <a:pt x="969" y="177"/>
                  </a:cubicBezTo>
                  <a:close/>
                  <a:moveTo>
                    <a:pt x="1273" y="217"/>
                  </a:moveTo>
                  <a:cubicBezTo>
                    <a:pt x="1330" y="282"/>
                    <a:pt x="1378" y="353"/>
                    <a:pt x="1421" y="428"/>
                  </a:cubicBezTo>
                  <a:cubicBezTo>
                    <a:pt x="1423" y="432"/>
                    <a:pt x="1432" y="434"/>
                    <a:pt x="1437" y="433"/>
                  </a:cubicBezTo>
                  <a:cubicBezTo>
                    <a:pt x="1475" y="424"/>
                    <a:pt x="1513" y="414"/>
                    <a:pt x="1551" y="404"/>
                  </a:cubicBezTo>
                  <a:cubicBezTo>
                    <a:pt x="1560" y="401"/>
                    <a:pt x="1570" y="397"/>
                    <a:pt x="1582" y="393"/>
                  </a:cubicBezTo>
                  <a:cubicBezTo>
                    <a:pt x="1490" y="310"/>
                    <a:pt x="1388" y="251"/>
                    <a:pt x="1273" y="217"/>
                  </a:cubicBezTo>
                  <a:close/>
                  <a:moveTo>
                    <a:pt x="461" y="390"/>
                  </a:moveTo>
                  <a:cubicBezTo>
                    <a:pt x="461" y="392"/>
                    <a:pt x="461" y="394"/>
                    <a:pt x="462" y="397"/>
                  </a:cubicBezTo>
                  <a:cubicBezTo>
                    <a:pt x="505" y="408"/>
                    <a:pt x="549" y="420"/>
                    <a:pt x="592" y="432"/>
                  </a:cubicBezTo>
                  <a:cubicBezTo>
                    <a:pt x="603" y="435"/>
                    <a:pt x="609" y="430"/>
                    <a:pt x="614" y="421"/>
                  </a:cubicBezTo>
                  <a:cubicBezTo>
                    <a:pt x="635" y="385"/>
                    <a:pt x="656" y="348"/>
                    <a:pt x="679" y="313"/>
                  </a:cubicBezTo>
                  <a:cubicBezTo>
                    <a:pt x="700" y="283"/>
                    <a:pt x="723" y="255"/>
                    <a:pt x="747" y="221"/>
                  </a:cubicBezTo>
                  <a:cubicBezTo>
                    <a:pt x="637" y="259"/>
                    <a:pt x="544" y="316"/>
                    <a:pt x="461" y="390"/>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EYInterstate Light"/>
              </a:endParaRPr>
            </a:p>
          </p:txBody>
        </p:sp>
        <p:sp>
          <p:nvSpPr>
            <p:cNvPr id="202" name="Freeform 7">
              <a:extLst>
                <a:ext uri="{FF2B5EF4-FFF2-40B4-BE49-F238E27FC236}">
                  <a16:creationId xmlns:a16="http://schemas.microsoft.com/office/drawing/2014/main" id="{CC28A720-CFE4-4448-8B5C-F4D4A52EF40E}"/>
                </a:ext>
              </a:extLst>
            </p:cNvPr>
            <p:cNvSpPr>
              <a:spLocks noEditPoints="1"/>
            </p:cNvSpPr>
            <p:nvPr/>
          </p:nvSpPr>
          <p:spPr bwMode="auto">
            <a:xfrm>
              <a:off x="642938" y="1506538"/>
              <a:ext cx="1565275" cy="1289050"/>
            </a:xfrm>
            <a:custGeom>
              <a:avLst/>
              <a:gdLst>
                <a:gd name="T0" fmla="*/ 1111 w 1723"/>
                <a:gd name="T1" fmla="*/ 283 h 1420"/>
                <a:gd name="T2" fmla="*/ 1111 w 1723"/>
                <a:gd name="T3" fmla="*/ 249 h 1420"/>
                <a:gd name="T4" fmla="*/ 1205 w 1723"/>
                <a:gd name="T5" fmla="*/ 242 h 1420"/>
                <a:gd name="T6" fmla="*/ 1210 w 1723"/>
                <a:gd name="T7" fmla="*/ 282 h 1420"/>
                <a:gd name="T8" fmla="*/ 1497 w 1723"/>
                <a:gd name="T9" fmla="*/ 282 h 1420"/>
                <a:gd name="T10" fmla="*/ 1484 w 1723"/>
                <a:gd name="T11" fmla="*/ 180 h 1420"/>
                <a:gd name="T12" fmla="*/ 1517 w 1723"/>
                <a:gd name="T13" fmla="*/ 77 h 1420"/>
                <a:gd name="T14" fmla="*/ 1592 w 1723"/>
                <a:gd name="T15" fmla="*/ 0 h 1420"/>
                <a:gd name="T16" fmla="*/ 1207 w 1723"/>
                <a:gd name="T17" fmla="*/ 1144 h 1420"/>
                <a:gd name="T18" fmla="*/ 0 w 1723"/>
                <a:gd name="T19" fmla="*/ 1054 h 1420"/>
                <a:gd name="T20" fmla="*/ 255 w 1723"/>
                <a:gd name="T21" fmla="*/ 1061 h 1420"/>
                <a:gd name="T22" fmla="*/ 277 w 1723"/>
                <a:gd name="T23" fmla="*/ 1066 h 1420"/>
                <a:gd name="T24" fmla="*/ 380 w 1723"/>
                <a:gd name="T25" fmla="*/ 1113 h 1420"/>
                <a:gd name="T26" fmla="*/ 384 w 1723"/>
                <a:gd name="T27" fmla="*/ 1108 h 1420"/>
                <a:gd name="T28" fmla="*/ 337 w 1723"/>
                <a:gd name="T29" fmla="*/ 1040 h 1420"/>
                <a:gd name="T30" fmla="*/ 420 w 1723"/>
                <a:gd name="T31" fmla="*/ 1009 h 1420"/>
                <a:gd name="T32" fmla="*/ 486 w 1723"/>
                <a:gd name="T33" fmla="*/ 1094 h 1420"/>
                <a:gd name="T34" fmla="*/ 499 w 1723"/>
                <a:gd name="T35" fmla="*/ 1109 h 1420"/>
                <a:gd name="T36" fmla="*/ 609 w 1723"/>
                <a:gd name="T37" fmla="*/ 1154 h 1420"/>
                <a:gd name="T38" fmla="*/ 609 w 1723"/>
                <a:gd name="T39" fmla="*/ 1097 h 1420"/>
                <a:gd name="T40" fmla="*/ 625 w 1723"/>
                <a:gd name="T41" fmla="*/ 1101 h 1420"/>
                <a:gd name="T42" fmla="*/ 678 w 1723"/>
                <a:gd name="T43" fmla="*/ 894 h 1420"/>
                <a:gd name="T44" fmla="*/ 701 w 1723"/>
                <a:gd name="T45" fmla="*/ 803 h 1420"/>
                <a:gd name="T46" fmla="*/ 724 w 1723"/>
                <a:gd name="T47" fmla="*/ 786 h 1420"/>
                <a:gd name="T48" fmla="*/ 981 w 1723"/>
                <a:gd name="T49" fmla="*/ 817 h 1420"/>
                <a:gd name="T50" fmla="*/ 1014 w 1723"/>
                <a:gd name="T51" fmla="*/ 800 h 1420"/>
                <a:gd name="T52" fmla="*/ 1111 w 1723"/>
                <a:gd name="T53" fmla="*/ 388 h 1420"/>
                <a:gd name="T54" fmla="*/ 1111 w 1723"/>
                <a:gd name="T55" fmla="*/ 367 h 1420"/>
                <a:gd name="T56" fmla="*/ 812 w 1723"/>
                <a:gd name="T57" fmla="*/ 367 h 1420"/>
                <a:gd name="T58" fmla="*/ 833 w 1723"/>
                <a:gd name="T59" fmla="*/ 288 h 1420"/>
                <a:gd name="T60" fmla="*/ 852 w 1723"/>
                <a:gd name="T61" fmla="*/ 283 h 1420"/>
                <a:gd name="T62" fmla="*/ 1088 w 1723"/>
                <a:gd name="T63" fmla="*/ 283 h 1420"/>
                <a:gd name="T64" fmla="*/ 1111 w 1723"/>
                <a:gd name="T65" fmla="*/ 283 h 1420"/>
                <a:gd name="T66" fmla="*/ 1096 w 1723"/>
                <a:gd name="T67" fmla="*/ 842 h 1420"/>
                <a:gd name="T68" fmla="*/ 1244 w 1723"/>
                <a:gd name="T69" fmla="*/ 896 h 1420"/>
                <a:gd name="T70" fmla="*/ 1276 w 1723"/>
                <a:gd name="T71" fmla="*/ 888 h 1420"/>
                <a:gd name="T72" fmla="*/ 1485 w 1723"/>
                <a:gd name="T73" fmla="*/ 462 h 1420"/>
                <a:gd name="T74" fmla="*/ 1496 w 1723"/>
                <a:gd name="T75" fmla="*/ 367 h 1420"/>
                <a:gd name="T76" fmla="*/ 1209 w 1723"/>
                <a:gd name="T77" fmla="*/ 367 h 1420"/>
                <a:gd name="T78" fmla="*/ 1096 w 1723"/>
                <a:gd name="T79" fmla="*/ 842 h 1420"/>
                <a:gd name="T80" fmla="*/ 695 w 1723"/>
                <a:gd name="T81" fmla="*/ 866 h 1420"/>
                <a:gd name="T82" fmla="*/ 695 w 1723"/>
                <a:gd name="T83" fmla="*/ 1159 h 1420"/>
                <a:gd name="T84" fmla="*/ 766 w 1723"/>
                <a:gd name="T85" fmla="*/ 1151 h 1420"/>
                <a:gd name="T86" fmla="*/ 799 w 1723"/>
                <a:gd name="T87" fmla="*/ 1134 h 1420"/>
                <a:gd name="T88" fmla="*/ 957 w 1723"/>
                <a:gd name="T89" fmla="*/ 914 h 1420"/>
                <a:gd name="T90" fmla="*/ 963 w 1723"/>
                <a:gd name="T91" fmla="*/ 899 h 1420"/>
                <a:gd name="T92" fmla="*/ 695 w 1723"/>
                <a:gd name="T93" fmla="*/ 866 h 1420"/>
                <a:gd name="T94" fmla="*/ 1192 w 1723"/>
                <a:gd name="T95" fmla="*/ 967 h 1420"/>
                <a:gd name="T96" fmla="*/ 1193 w 1723"/>
                <a:gd name="T97" fmla="*/ 960 h 1420"/>
                <a:gd name="T98" fmla="*/ 1075 w 1723"/>
                <a:gd name="T99" fmla="*/ 925 h 1420"/>
                <a:gd name="T100" fmla="*/ 1048 w 1723"/>
                <a:gd name="T101" fmla="*/ 936 h 1420"/>
                <a:gd name="T102" fmla="*/ 946 w 1723"/>
                <a:gd name="T103" fmla="*/ 1096 h 1420"/>
                <a:gd name="T104" fmla="*/ 937 w 1723"/>
                <a:gd name="T105" fmla="*/ 1111 h 1420"/>
                <a:gd name="T106" fmla="*/ 1192 w 1723"/>
                <a:gd name="T107" fmla="*/ 967 h 14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723" h="1420">
                  <a:moveTo>
                    <a:pt x="1111" y="283"/>
                  </a:moveTo>
                  <a:cubicBezTo>
                    <a:pt x="1111" y="271"/>
                    <a:pt x="1111" y="261"/>
                    <a:pt x="1111" y="249"/>
                  </a:cubicBezTo>
                  <a:cubicBezTo>
                    <a:pt x="1142" y="247"/>
                    <a:pt x="1173" y="244"/>
                    <a:pt x="1205" y="242"/>
                  </a:cubicBezTo>
                  <a:cubicBezTo>
                    <a:pt x="1207" y="256"/>
                    <a:pt x="1208" y="268"/>
                    <a:pt x="1210" y="282"/>
                  </a:cubicBezTo>
                  <a:cubicBezTo>
                    <a:pt x="1304" y="282"/>
                    <a:pt x="1398" y="282"/>
                    <a:pt x="1497" y="282"/>
                  </a:cubicBezTo>
                  <a:cubicBezTo>
                    <a:pt x="1493" y="247"/>
                    <a:pt x="1493" y="212"/>
                    <a:pt x="1484" y="180"/>
                  </a:cubicBezTo>
                  <a:cubicBezTo>
                    <a:pt x="1470" y="135"/>
                    <a:pt x="1479" y="105"/>
                    <a:pt x="1517" y="77"/>
                  </a:cubicBezTo>
                  <a:cubicBezTo>
                    <a:pt x="1545" y="56"/>
                    <a:pt x="1567" y="26"/>
                    <a:pt x="1592" y="0"/>
                  </a:cubicBezTo>
                  <a:cubicBezTo>
                    <a:pt x="1723" y="352"/>
                    <a:pt x="1634" y="859"/>
                    <a:pt x="1207" y="1144"/>
                  </a:cubicBezTo>
                  <a:cubicBezTo>
                    <a:pt x="793" y="1420"/>
                    <a:pt x="285" y="1325"/>
                    <a:pt x="0" y="1054"/>
                  </a:cubicBezTo>
                  <a:cubicBezTo>
                    <a:pt x="86" y="1080"/>
                    <a:pt x="171" y="1077"/>
                    <a:pt x="255" y="1061"/>
                  </a:cubicBezTo>
                  <a:cubicBezTo>
                    <a:pt x="262" y="1059"/>
                    <a:pt x="270" y="1063"/>
                    <a:pt x="277" y="1066"/>
                  </a:cubicBezTo>
                  <a:cubicBezTo>
                    <a:pt x="312" y="1081"/>
                    <a:pt x="346" y="1097"/>
                    <a:pt x="380" y="1113"/>
                  </a:cubicBezTo>
                  <a:cubicBezTo>
                    <a:pt x="381" y="1111"/>
                    <a:pt x="382" y="1109"/>
                    <a:pt x="384" y="1108"/>
                  </a:cubicBezTo>
                  <a:cubicBezTo>
                    <a:pt x="368" y="1086"/>
                    <a:pt x="353" y="1064"/>
                    <a:pt x="337" y="1040"/>
                  </a:cubicBezTo>
                  <a:cubicBezTo>
                    <a:pt x="365" y="1029"/>
                    <a:pt x="392" y="1019"/>
                    <a:pt x="420" y="1009"/>
                  </a:cubicBezTo>
                  <a:cubicBezTo>
                    <a:pt x="442" y="1037"/>
                    <a:pt x="464" y="1065"/>
                    <a:pt x="486" y="1094"/>
                  </a:cubicBezTo>
                  <a:cubicBezTo>
                    <a:pt x="490" y="1099"/>
                    <a:pt x="495" y="1103"/>
                    <a:pt x="499" y="1109"/>
                  </a:cubicBezTo>
                  <a:cubicBezTo>
                    <a:pt x="525" y="1149"/>
                    <a:pt x="562" y="1161"/>
                    <a:pt x="609" y="1154"/>
                  </a:cubicBezTo>
                  <a:cubicBezTo>
                    <a:pt x="609" y="1137"/>
                    <a:pt x="609" y="1118"/>
                    <a:pt x="609" y="1097"/>
                  </a:cubicBezTo>
                  <a:cubicBezTo>
                    <a:pt x="616" y="1099"/>
                    <a:pt x="620" y="1100"/>
                    <a:pt x="625" y="1101"/>
                  </a:cubicBezTo>
                  <a:cubicBezTo>
                    <a:pt x="643" y="1032"/>
                    <a:pt x="661" y="963"/>
                    <a:pt x="678" y="894"/>
                  </a:cubicBezTo>
                  <a:cubicBezTo>
                    <a:pt x="686" y="864"/>
                    <a:pt x="694" y="834"/>
                    <a:pt x="701" y="803"/>
                  </a:cubicBezTo>
                  <a:cubicBezTo>
                    <a:pt x="704" y="789"/>
                    <a:pt x="709" y="784"/>
                    <a:pt x="724" y="786"/>
                  </a:cubicBezTo>
                  <a:cubicBezTo>
                    <a:pt x="809" y="796"/>
                    <a:pt x="895" y="805"/>
                    <a:pt x="981" y="817"/>
                  </a:cubicBezTo>
                  <a:cubicBezTo>
                    <a:pt x="999" y="819"/>
                    <a:pt x="1007" y="816"/>
                    <a:pt x="1014" y="800"/>
                  </a:cubicBezTo>
                  <a:cubicBezTo>
                    <a:pt x="1069" y="668"/>
                    <a:pt x="1104" y="531"/>
                    <a:pt x="1111" y="388"/>
                  </a:cubicBezTo>
                  <a:cubicBezTo>
                    <a:pt x="1111" y="382"/>
                    <a:pt x="1111" y="375"/>
                    <a:pt x="1111" y="367"/>
                  </a:cubicBezTo>
                  <a:cubicBezTo>
                    <a:pt x="1012" y="367"/>
                    <a:pt x="914" y="367"/>
                    <a:pt x="812" y="367"/>
                  </a:cubicBezTo>
                  <a:cubicBezTo>
                    <a:pt x="819" y="339"/>
                    <a:pt x="825" y="313"/>
                    <a:pt x="833" y="288"/>
                  </a:cubicBezTo>
                  <a:cubicBezTo>
                    <a:pt x="834" y="285"/>
                    <a:pt x="845" y="283"/>
                    <a:pt x="852" y="283"/>
                  </a:cubicBezTo>
                  <a:cubicBezTo>
                    <a:pt x="931" y="283"/>
                    <a:pt x="1009" y="283"/>
                    <a:pt x="1088" y="283"/>
                  </a:cubicBezTo>
                  <a:cubicBezTo>
                    <a:pt x="1095" y="283"/>
                    <a:pt x="1102" y="283"/>
                    <a:pt x="1111" y="283"/>
                  </a:cubicBezTo>
                  <a:close/>
                  <a:moveTo>
                    <a:pt x="1096" y="842"/>
                  </a:moveTo>
                  <a:cubicBezTo>
                    <a:pt x="1147" y="860"/>
                    <a:pt x="1196" y="877"/>
                    <a:pt x="1244" y="896"/>
                  </a:cubicBezTo>
                  <a:cubicBezTo>
                    <a:pt x="1258" y="902"/>
                    <a:pt x="1266" y="899"/>
                    <a:pt x="1276" y="888"/>
                  </a:cubicBezTo>
                  <a:cubicBezTo>
                    <a:pt x="1387" y="766"/>
                    <a:pt x="1457" y="625"/>
                    <a:pt x="1485" y="462"/>
                  </a:cubicBezTo>
                  <a:cubicBezTo>
                    <a:pt x="1490" y="431"/>
                    <a:pt x="1493" y="400"/>
                    <a:pt x="1496" y="367"/>
                  </a:cubicBezTo>
                  <a:cubicBezTo>
                    <a:pt x="1399" y="367"/>
                    <a:pt x="1305" y="367"/>
                    <a:pt x="1209" y="367"/>
                  </a:cubicBezTo>
                  <a:cubicBezTo>
                    <a:pt x="1203" y="534"/>
                    <a:pt x="1165" y="691"/>
                    <a:pt x="1096" y="842"/>
                  </a:cubicBezTo>
                  <a:close/>
                  <a:moveTo>
                    <a:pt x="695" y="866"/>
                  </a:moveTo>
                  <a:cubicBezTo>
                    <a:pt x="695" y="966"/>
                    <a:pt x="695" y="1061"/>
                    <a:pt x="695" y="1159"/>
                  </a:cubicBezTo>
                  <a:cubicBezTo>
                    <a:pt x="720" y="1156"/>
                    <a:pt x="743" y="1156"/>
                    <a:pt x="766" y="1151"/>
                  </a:cubicBezTo>
                  <a:cubicBezTo>
                    <a:pt x="778" y="1149"/>
                    <a:pt x="791" y="1142"/>
                    <a:pt x="799" y="1134"/>
                  </a:cubicBezTo>
                  <a:cubicBezTo>
                    <a:pt x="862" y="1067"/>
                    <a:pt x="913" y="993"/>
                    <a:pt x="957" y="914"/>
                  </a:cubicBezTo>
                  <a:cubicBezTo>
                    <a:pt x="959" y="911"/>
                    <a:pt x="960" y="907"/>
                    <a:pt x="963" y="899"/>
                  </a:cubicBezTo>
                  <a:cubicBezTo>
                    <a:pt x="873" y="888"/>
                    <a:pt x="784" y="877"/>
                    <a:pt x="695" y="866"/>
                  </a:cubicBezTo>
                  <a:close/>
                  <a:moveTo>
                    <a:pt x="1192" y="967"/>
                  </a:moveTo>
                  <a:cubicBezTo>
                    <a:pt x="1193" y="965"/>
                    <a:pt x="1193" y="963"/>
                    <a:pt x="1193" y="960"/>
                  </a:cubicBezTo>
                  <a:cubicBezTo>
                    <a:pt x="1154" y="949"/>
                    <a:pt x="1114" y="938"/>
                    <a:pt x="1075" y="925"/>
                  </a:cubicBezTo>
                  <a:cubicBezTo>
                    <a:pt x="1062" y="921"/>
                    <a:pt x="1056" y="924"/>
                    <a:pt x="1048" y="936"/>
                  </a:cubicBezTo>
                  <a:cubicBezTo>
                    <a:pt x="1015" y="990"/>
                    <a:pt x="980" y="1043"/>
                    <a:pt x="946" y="1096"/>
                  </a:cubicBezTo>
                  <a:cubicBezTo>
                    <a:pt x="944" y="1100"/>
                    <a:pt x="942" y="1104"/>
                    <a:pt x="937" y="1111"/>
                  </a:cubicBezTo>
                  <a:cubicBezTo>
                    <a:pt x="1034" y="1077"/>
                    <a:pt x="1117" y="1029"/>
                    <a:pt x="1192" y="96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EYInterstate Light"/>
              </a:endParaRPr>
            </a:p>
          </p:txBody>
        </p:sp>
        <p:sp>
          <p:nvSpPr>
            <p:cNvPr id="203" name="Freeform 8">
              <a:extLst>
                <a:ext uri="{FF2B5EF4-FFF2-40B4-BE49-F238E27FC236}">
                  <a16:creationId xmlns:a16="http://schemas.microsoft.com/office/drawing/2014/main" id="{C2AA2AE9-DFD6-4D03-856D-3F3ADE32DB02}"/>
                </a:ext>
              </a:extLst>
            </p:cNvPr>
            <p:cNvSpPr>
              <a:spLocks/>
            </p:cNvSpPr>
            <p:nvPr/>
          </p:nvSpPr>
          <p:spPr bwMode="auto">
            <a:xfrm>
              <a:off x="412750" y="1798638"/>
              <a:ext cx="920750" cy="635000"/>
            </a:xfrm>
            <a:custGeom>
              <a:avLst/>
              <a:gdLst>
                <a:gd name="T0" fmla="*/ 0 w 1013"/>
                <a:gd name="T1" fmla="*/ 372 h 699"/>
                <a:gd name="T2" fmla="*/ 165 w 1013"/>
                <a:gd name="T3" fmla="*/ 473 h 699"/>
                <a:gd name="T4" fmla="*/ 359 w 1013"/>
                <a:gd name="T5" fmla="*/ 483 h 699"/>
                <a:gd name="T6" fmla="*/ 453 w 1013"/>
                <a:gd name="T7" fmla="*/ 409 h 699"/>
                <a:gd name="T8" fmla="*/ 330 w 1013"/>
                <a:gd name="T9" fmla="*/ 336 h 699"/>
                <a:gd name="T10" fmla="*/ 1013 w 1013"/>
                <a:gd name="T11" fmla="*/ 0 h 699"/>
                <a:gd name="T12" fmla="*/ 840 w 1013"/>
                <a:gd name="T13" fmla="*/ 681 h 699"/>
                <a:gd name="T14" fmla="*/ 826 w 1013"/>
                <a:gd name="T15" fmla="*/ 674 h 699"/>
                <a:gd name="T16" fmla="*/ 729 w 1013"/>
                <a:gd name="T17" fmla="*/ 610 h 699"/>
                <a:gd name="T18" fmla="*/ 693 w 1013"/>
                <a:gd name="T19" fmla="*/ 608 h 699"/>
                <a:gd name="T20" fmla="*/ 399 w 1013"/>
                <a:gd name="T21" fmla="*/ 689 h 699"/>
                <a:gd name="T22" fmla="*/ 0 w 1013"/>
                <a:gd name="T23" fmla="*/ 372 h 6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13" h="699">
                  <a:moveTo>
                    <a:pt x="0" y="372"/>
                  </a:moveTo>
                  <a:cubicBezTo>
                    <a:pt x="51" y="417"/>
                    <a:pt x="104" y="451"/>
                    <a:pt x="165" y="473"/>
                  </a:cubicBezTo>
                  <a:cubicBezTo>
                    <a:pt x="229" y="495"/>
                    <a:pt x="294" y="502"/>
                    <a:pt x="359" y="483"/>
                  </a:cubicBezTo>
                  <a:cubicBezTo>
                    <a:pt x="400" y="471"/>
                    <a:pt x="433" y="449"/>
                    <a:pt x="453" y="409"/>
                  </a:cubicBezTo>
                  <a:cubicBezTo>
                    <a:pt x="412" y="384"/>
                    <a:pt x="373" y="361"/>
                    <a:pt x="330" y="336"/>
                  </a:cubicBezTo>
                  <a:cubicBezTo>
                    <a:pt x="558" y="224"/>
                    <a:pt x="783" y="113"/>
                    <a:pt x="1013" y="0"/>
                  </a:cubicBezTo>
                  <a:cubicBezTo>
                    <a:pt x="955" y="230"/>
                    <a:pt x="898" y="454"/>
                    <a:pt x="840" y="681"/>
                  </a:cubicBezTo>
                  <a:cubicBezTo>
                    <a:pt x="834" y="678"/>
                    <a:pt x="830" y="677"/>
                    <a:pt x="826" y="674"/>
                  </a:cubicBezTo>
                  <a:cubicBezTo>
                    <a:pt x="793" y="653"/>
                    <a:pt x="760" y="632"/>
                    <a:pt x="729" y="610"/>
                  </a:cubicBezTo>
                  <a:cubicBezTo>
                    <a:pt x="716" y="602"/>
                    <a:pt x="707" y="601"/>
                    <a:pt x="693" y="608"/>
                  </a:cubicBezTo>
                  <a:cubicBezTo>
                    <a:pt x="601" y="654"/>
                    <a:pt x="503" y="684"/>
                    <a:pt x="399" y="689"/>
                  </a:cubicBezTo>
                  <a:cubicBezTo>
                    <a:pt x="196" y="699"/>
                    <a:pt x="27" y="531"/>
                    <a:pt x="0" y="372"/>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EYInterstate Light"/>
              </a:endParaRPr>
            </a:p>
          </p:txBody>
        </p:sp>
        <p:sp>
          <p:nvSpPr>
            <p:cNvPr id="204" name="Freeform 9">
              <a:extLst>
                <a:ext uri="{FF2B5EF4-FFF2-40B4-BE49-F238E27FC236}">
                  <a16:creationId xmlns:a16="http://schemas.microsoft.com/office/drawing/2014/main" id="{AD1081B7-5BDC-4D5A-BD2E-F8195C9213A8}"/>
                </a:ext>
              </a:extLst>
            </p:cNvPr>
            <p:cNvSpPr>
              <a:spLocks/>
            </p:cNvSpPr>
            <p:nvPr/>
          </p:nvSpPr>
          <p:spPr bwMode="auto">
            <a:xfrm>
              <a:off x="1741488" y="1079501"/>
              <a:ext cx="325438" cy="590550"/>
            </a:xfrm>
            <a:custGeom>
              <a:avLst/>
              <a:gdLst>
                <a:gd name="T0" fmla="*/ 0 w 358"/>
                <a:gd name="T1" fmla="*/ 651 h 651"/>
                <a:gd name="T2" fmla="*/ 41 w 358"/>
                <a:gd name="T3" fmla="*/ 602 h 651"/>
                <a:gd name="T4" fmla="*/ 168 w 358"/>
                <a:gd name="T5" fmla="*/ 232 h 651"/>
                <a:gd name="T6" fmla="*/ 69 w 358"/>
                <a:gd name="T7" fmla="*/ 0 h 651"/>
                <a:gd name="T8" fmla="*/ 100 w 358"/>
                <a:gd name="T9" fmla="*/ 13 h 651"/>
                <a:gd name="T10" fmla="*/ 357 w 358"/>
                <a:gd name="T11" fmla="*/ 391 h 651"/>
                <a:gd name="T12" fmla="*/ 351 w 358"/>
                <a:gd name="T13" fmla="*/ 415 h 651"/>
                <a:gd name="T14" fmla="*/ 43 w 358"/>
                <a:gd name="T15" fmla="*/ 638 h 651"/>
                <a:gd name="T16" fmla="*/ 0 w 358"/>
                <a:gd name="T17" fmla="*/ 651 h 6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8" h="651">
                  <a:moveTo>
                    <a:pt x="0" y="651"/>
                  </a:moveTo>
                  <a:cubicBezTo>
                    <a:pt x="16" y="631"/>
                    <a:pt x="29" y="617"/>
                    <a:pt x="41" y="602"/>
                  </a:cubicBezTo>
                  <a:cubicBezTo>
                    <a:pt x="123" y="492"/>
                    <a:pt x="164" y="368"/>
                    <a:pt x="168" y="232"/>
                  </a:cubicBezTo>
                  <a:cubicBezTo>
                    <a:pt x="171" y="135"/>
                    <a:pt x="140" y="65"/>
                    <a:pt x="69" y="0"/>
                  </a:cubicBezTo>
                  <a:cubicBezTo>
                    <a:pt x="83" y="6"/>
                    <a:pt x="91" y="9"/>
                    <a:pt x="100" y="13"/>
                  </a:cubicBezTo>
                  <a:cubicBezTo>
                    <a:pt x="261" y="88"/>
                    <a:pt x="345" y="215"/>
                    <a:pt x="357" y="391"/>
                  </a:cubicBezTo>
                  <a:cubicBezTo>
                    <a:pt x="358" y="399"/>
                    <a:pt x="356" y="409"/>
                    <a:pt x="351" y="415"/>
                  </a:cubicBezTo>
                  <a:cubicBezTo>
                    <a:pt x="267" y="515"/>
                    <a:pt x="167" y="593"/>
                    <a:pt x="43" y="638"/>
                  </a:cubicBezTo>
                  <a:cubicBezTo>
                    <a:pt x="30" y="642"/>
                    <a:pt x="18" y="645"/>
                    <a:pt x="0" y="651"/>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EYInterstate Light"/>
              </a:endParaRPr>
            </a:p>
          </p:txBody>
        </p:sp>
      </p:grpSp>
      <p:sp>
        <p:nvSpPr>
          <p:cNvPr id="205" name="Freeform 37">
            <a:extLst>
              <a:ext uri="{FF2B5EF4-FFF2-40B4-BE49-F238E27FC236}">
                <a16:creationId xmlns:a16="http://schemas.microsoft.com/office/drawing/2014/main" id="{B5D81A3F-B625-4439-A381-E773FD092AC6}"/>
              </a:ext>
            </a:extLst>
          </p:cNvPr>
          <p:cNvSpPr>
            <a:spLocks noEditPoints="1"/>
          </p:cNvSpPr>
          <p:nvPr/>
        </p:nvSpPr>
        <p:spPr bwMode="auto">
          <a:xfrm>
            <a:off x="4370641" y="4084376"/>
            <a:ext cx="653359" cy="655200"/>
          </a:xfrm>
          <a:custGeom>
            <a:avLst/>
            <a:gdLst>
              <a:gd name="T0" fmla="*/ 2147483647 w 423"/>
              <a:gd name="T1" fmla="*/ 2147483647 h 413"/>
              <a:gd name="T2" fmla="*/ 2147483647 w 423"/>
              <a:gd name="T3" fmla="*/ 2147483647 h 413"/>
              <a:gd name="T4" fmla="*/ 2147483647 w 423"/>
              <a:gd name="T5" fmla="*/ 2147483647 h 413"/>
              <a:gd name="T6" fmla="*/ 2147483647 w 423"/>
              <a:gd name="T7" fmla="*/ 2147483647 h 413"/>
              <a:gd name="T8" fmla="*/ 2147483647 w 423"/>
              <a:gd name="T9" fmla="*/ 2147483647 h 413"/>
              <a:gd name="T10" fmla="*/ 2147483647 w 423"/>
              <a:gd name="T11" fmla="*/ 2147483647 h 413"/>
              <a:gd name="T12" fmla="*/ 2147483647 w 423"/>
              <a:gd name="T13" fmla="*/ 2147483647 h 413"/>
              <a:gd name="T14" fmla="*/ 2147483647 w 423"/>
              <a:gd name="T15" fmla="*/ 2147483647 h 413"/>
              <a:gd name="T16" fmla="*/ 2147483647 w 423"/>
              <a:gd name="T17" fmla="*/ 2147483647 h 413"/>
              <a:gd name="T18" fmla="*/ 2147483647 w 423"/>
              <a:gd name="T19" fmla="*/ 2147483647 h 413"/>
              <a:gd name="T20" fmla="*/ 2147483647 w 423"/>
              <a:gd name="T21" fmla="*/ 2147483647 h 413"/>
              <a:gd name="T22" fmla="*/ 2147483647 w 423"/>
              <a:gd name="T23" fmla="*/ 2147483647 h 413"/>
              <a:gd name="T24" fmla="*/ 2147483647 w 423"/>
              <a:gd name="T25" fmla="*/ 2147483647 h 413"/>
              <a:gd name="T26" fmla="*/ 2147483647 w 423"/>
              <a:gd name="T27" fmla="*/ 2147483647 h 413"/>
              <a:gd name="T28" fmla="*/ 2147483647 w 423"/>
              <a:gd name="T29" fmla="*/ 2147483647 h 413"/>
              <a:gd name="T30" fmla="*/ 2147483647 w 423"/>
              <a:gd name="T31" fmla="*/ 2147483647 h 413"/>
              <a:gd name="T32" fmla="*/ 2147483647 w 423"/>
              <a:gd name="T33" fmla="*/ 2147483647 h 413"/>
              <a:gd name="T34" fmla="*/ 2147483647 w 423"/>
              <a:gd name="T35" fmla="*/ 2147483647 h 413"/>
              <a:gd name="T36" fmla="*/ 2147483647 w 423"/>
              <a:gd name="T37" fmla="*/ 2147483647 h 413"/>
              <a:gd name="T38" fmla="*/ 2147483647 w 423"/>
              <a:gd name="T39" fmla="*/ 2147483647 h 413"/>
              <a:gd name="T40" fmla="*/ 2147483647 w 423"/>
              <a:gd name="T41" fmla="*/ 2147483647 h 413"/>
              <a:gd name="T42" fmla="*/ 2147483647 w 423"/>
              <a:gd name="T43" fmla="*/ 2147483647 h 413"/>
              <a:gd name="T44" fmla="*/ 2147483647 w 423"/>
              <a:gd name="T45" fmla="*/ 2147483647 h 413"/>
              <a:gd name="T46" fmla="*/ 2147483647 w 423"/>
              <a:gd name="T47" fmla="*/ 2147483647 h 413"/>
              <a:gd name="T48" fmla="*/ 2147483647 w 423"/>
              <a:gd name="T49" fmla="*/ 2147483647 h 413"/>
              <a:gd name="T50" fmla="*/ 2147483647 w 423"/>
              <a:gd name="T51" fmla="*/ 2147483647 h 413"/>
              <a:gd name="T52" fmla="*/ 2147483647 w 423"/>
              <a:gd name="T53" fmla="*/ 2147483647 h 413"/>
              <a:gd name="T54" fmla="*/ 2147483647 w 423"/>
              <a:gd name="T55" fmla="*/ 2147483647 h 413"/>
              <a:gd name="T56" fmla="*/ 2147483647 w 423"/>
              <a:gd name="T57" fmla="*/ 2147483647 h 413"/>
              <a:gd name="T58" fmla="*/ 2147483647 w 423"/>
              <a:gd name="T59" fmla="*/ 2147483647 h 413"/>
              <a:gd name="T60" fmla="*/ 2147483647 w 423"/>
              <a:gd name="T61" fmla="*/ 2147483647 h 413"/>
              <a:gd name="T62" fmla="*/ 2147483647 w 423"/>
              <a:gd name="T63" fmla="*/ 2147483647 h 413"/>
              <a:gd name="T64" fmla="*/ 2147483647 w 423"/>
              <a:gd name="T65" fmla="*/ 2147483647 h 413"/>
              <a:gd name="T66" fmla="*/ 2147483647 w 423"/>
              <a:gd name="T67" fmla="*/ 2147483647 h 413"/>
              <a:gd name="T68" fmla="*/ 2147483647 w 423"/>
              <a:gd name="T69" fmla="*/ 2147483647 h 413"/>
              <a:gd name="T70" fmla="*/ 2147483647 w 423"/>
              <a:gd name="T71" fmla="*/ 2147483647 h 413"/>
              <a:gd name="T72" fmla="*/ 2147483647 w 423"/>
              <a:gd name="T73" fmla="*/ 2147483647 h 413"/>
              <a:gd name="T74" fmla="*/ 2147483647 w 423"/>
              <a:gd name="T75" fmla="*/ 2147483647 h 413"/>
              <a:gd name="T76" fmla="*/ 2147483647 w 423"/>
              <a:gd name="T77" fmla="*/ 2147483647 h 413"/>
              <a:gd name="T78" fmla="*/ 2147483647 w 423"/>
              <a:gd name="T79" fmla="*/ 2147483647 h 413"/>
              <a:gd name="T80" fmla="*/ 2147483647 w 423"/>
              <a:gd name="T81" fmla="*/ 2147483647 h 413"/>
              <a:gd name="T82" fmla="*/ 2147483647 w 423"/>
              <a:gd name="T83" fmla="*/ 2147483647 h 413"/>
              <a:gd name="T84" fmla="*/ 2147483647 w 423"/>
              <a:gd name="T85" fmla="*/ 2147483647 h 413"/>
              <a:gd name="T86" fmla="*/ 2147483647 w 423"/>
              <a:gd name="T87" fmla="*/ 2147483647 h 413"/>
              <a:gd name="T88" fmla="*/ 2147483647 w 423"/>
              <a:gd name="T89" fmla="*/ 2147483647 h 413"/>
              <a:gd name="T90" fmla="*/ 2147483647 w 423"/>
              <a:gd name="T91" fmla="*/ 2147483647 h 413"/>
              <a:gd name="T92" fmla="*/ 2147483647 w 423"/>
              <a:gd name="T93" fmla="*/ 2147483647 h 413"/>
              <a:gd name="T94" fmla="*/ 2147483647 w 423"/>
              <a:gd name="T95" fmla="*/ 2147483647 h 413"/>
              <a:gd name="T96" fmla="*/ 2147483647 w 423"/>
              <a:gd name="T97" fmla="*/ 2147483647 h 413"/>
              <a:gd name="T98" fmla="*/ 2147483647 w 423"/>
              <a:gd name="T99" fmla="*/ 2147483647 h 413"/>
              <a:gd name="T100" fmla="*/ 2147483647 w 423"/>
              <a:gd name="T101" fmla="*/ 2147483647 h 413"/>
              <a:gd name="T102" fmla="*/ 2147483647 w 423"/>
              <a:gd name="T103" fmla="*/ 2147483647 h 413"/>
              <a:gd name="T104" fmla="*/ 2147483647 w 423"/>
              <a:gd name="T105" fmla="*/ 2147483647 h 413"/>
              <a:gd name="T106" fmla="*/ 2147483647 w 423"/>
              <a:gd name="T107" fmla="*/ 2147483647 h 413"/>
              <a:gd name="T108" fmla="*/ 2147483647 w 423"/>
              <a:gd name="T109" fmla="*/ 2147483647 h 413"/>
              <a:gd name="T110" fmla="*/ 2147483647 w 423"/>
              <a:gd name="T111" fmla="*/ 2147483647 h 413"/>
              <a:gd name="T112" fmla="*/ 2147483647 w 423"/>
              <a:gd name="T113" fmla="*/ 2147483647 h 413"/>
              <a:gd name="T114" fmla="*/ 2147483647 w 423"/>
              <a:gd name="T115" fmla="*/ 2147483647 h 413"/>
              <a:gd name="T116" fmla="*/ 2147483647 w 423"/>
              <a:gd name="T117" fmla="*/ 2147483647 h 413"/>
              <a:gd name="T118" fmla="*/ 2147483647 w 423"/>
              <a:gd name="T119" fmla="*/ 2147483647 h 413"/>
              <a:gd name="T120" fmla="*/ 2147483647 w 423"/>
              <a:gd name="T121" fmla="*/ 2147483647 h 41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423" h="413">
                <a:moveTo>
                  <a:pt x="143" y="351"/>
                </a:moveTo>
                <a:lnTo>
                  <a:pt x="146" y="349"/>
                </a:lnTo>
                <a:lnTo>
                  <a:pt x="151" y="348"/>
                </a:lnTo>
                <a:lnTo>
                  <a:pt x="152" y="344"/>
                </a:lnTo>
                <a:lnTo>
                  <a:pt x="153" y="339"/>
                </a:lnTo>
                <a:lnTo>
                  <a:pt x="152" y="336"/>
                </a:lnTo>
                <a:lnTo>
                  <a:pt x="151" y="332"/>
                </a:lnTo>
                <a:lnTo>
                  <a:pt x="146" y="331"/>
                </a:lnTo>
                <a:lnTo>
                  <a:pt x="143" y="329"/>
                </a:lnTo>
                <a:lnTo>
                  <a:pt x="139" y="331"/>
                </a:lnTo>
                <a:lnTo>
                  <a:pt x="135" y="332"/>
                </a:lnTo>
                <a:lnTo>
                  <a:pt x="133" y="336"/>
                </a:lnTo>
                <a:lnTo>
                  <a:pt x="132" y="339"/>
                </a:lnTo>
                <a:lnTo>
                  <a:pt x="133" y="344"/>
                </a:lnTo>
                <a:lnTo>
                  <a:pt x="135" y="348"/>
                </a:lnTo>
                <a:lnTo>
                  <a:pt x="139" y="349"/>
                </a:lnTo>
                <a:lnTo>
                  <a:pt x="143" y="351"/>
                </a:lnTo>
                <a:close/>
                <a:moveTo>
                  <a:pt x="138" y="306"/>
                </a:moveTo>
                <a:lnTo>
                  <a:pt x="122" y="267"/>
                </a:lnTo>
                <a:lnTo>
                  <a:pt x="145" y="271"/>
                </a:lnTo>
                <a:lnTo>
                  <a:pt x="161" y="225"/>
                </a:lnTo>
                <a:lnTo>
                  <a:pt x="182" y="178"/>
                </a:lnTo>
                <a:lnTo>
                  <a:pt x="179" y="173"/>
                </a:lnTo>
                <a:lnTo>
                  <a:pt x="177" y="168"/>
                </a:lnTo>
                <a:lnTo>
                  <a:pt x="175" y="160"/>
                </a:lnTo>
                <a:lnTo>
                  <a:pt x="136" y="152"/>
                </a:lnTo>
                <a:lnTo>
                  <a:pt x="96" y="150"/>
                </a:lnTo>
                <a:lnTo>
                  <a:pt x="93" y="156"/>
                </a:lnTo>
                <a:lnTo>
                  <a:pt x="90" y="162"/>
                </a:lnTo>
                <a:lnTo>
                  <a:pt x="89" y="163"/>
                </a:lnTo>
                <a:lnTo>
                  <a:pt x="86" y="166"/>
                </a:lnTo>
                <a:lnTo>
                  <a:pt x="81" y="168"/>
                </a:lnTo>
                <a:lnTo>
                  <a:pt x="81" y="172"/>
                </a:lnTo>
                <a:lnTo>
                  <a:pt x="112" y="204"/>
                </a:lnTo>
                <a:lnTo>
                  <a:pt x="89" y="208"/>
                </a:lnTo>
                <a:lnTo>
                  <a:pt x="102" y="245"/>
                </a:lnTo>
                <a:lnTo>
                  <a:pt x="117" y="280"/>
                </a:lnTo>
                <a:lnTo>
                  <a:pt x="136" y="313"/>
                </a:lnTo>
                <a:lnTo>
                  <a:pt x="138" y="306"/>
                </a:lnTo>
                <a:close/>
                <a:moveTo>
                  <a:pt x="159" y="274"/>
                </a:moveTo>
                <a:lnTo>
                  <a:pt x="179" y="279"/>
                </a:lnTo>
                <a:lnTo>
                  <a:pt x="151" y="309"/>
                </a:lnTo>
                <a:lnTo>
                  <a:pt x="149" y="315"/>
                </a:lnTo>
                <a:lnTo>
                  <a:pt x="155" y="318"/>
                </a:lnTo>
                <a:lnTo>
                  <a:pt x="161" y="322"/>
                </a:lnTo>
                <a:lnTo>
                  <a:pt x="165" y="326"/>
                </a:lnTo>
                <a:lnTo>
                  <a:pt x="166" y="332"/>
                </a:lnTo>
                <a:lnTo>
                  <a:pt x="201" y="322"/>
                </a:lnTo>
                <a:lnTo>
                  <a:pt x="233" y="309"/>
                </a:lnTo>
                <a:lnTo>
                  <a:pt x="272" y="289"/>
                </a:lnTo>
                <a:lnTo>
                  <a:pt x="308" y="263"/>
                </a:lnTo>
                <a:lnTo>
                  <a:pt x="305" y="258"/>
                </a:lnTo>
                <a:lnTo>
                  <a:pt x="305" y="253"/>
                </a:lnTo>
                <a:lnTo>
                  <a:pt x="306" y="245"/>
                </a:lnTo>
                <a:lnTo>
                  <a:pt x="309" y="238"/>
                </a:lnTo>
                <a:lnTo>
                  <a:pt x="283" y="214"/>
                </a:lnTo>
                <a:lnTo>
                  <a:pt x="255" y="193"/>
                </a:lnTo>
                <a:lnTo>
                  <a:pt x="244" y="214"/>
                </a:lnTo>
                <a:lnTo>
                  <a:pt x="223" y="176"/>
                </a:lnTo>
                <a:lnTo>
                  <a:pt x="221" y="176"/>
                </a:lnTo>
                <a:lnTo>
                  <a:pt x="220" y="178"/>
                </a:lnTo>
                <a:lnTo>
                  <a:pt x="214" y="182"/>
                </a:lnTo>
                <a:lnTo>
                  <a:pt x="208" y="185"/>
                </a:lnTo>
                <a:lnTo>
                  <a:pt x="201" y="186"/>
                </a:lnTo>
                <a:lnTo>
                  <a:pt x="195" y="185"/>
                </a:lnTo>
                <a:lnTo>
                  <a:pt x="174" y="230"/>
                </a:lnTo>
                <a:lnTo>
                  <a:pt x="159" y="274"/>
                </a:lnTo>
                <a:close/>
                <a:moveTo>
                  <a:pt x="76" y="211"/>
                </a:moveTo>
                <a:lnTo>
                  <a:pt x="54" y="215"/>
                </a:lnTo>
                <a:lnTo>
                  <a:pt x="68" y="176"/>
                </a:lnTo>
                <a:lnTo>
                  <a:pt x="67" y="170"/>
                </a:lnTo>
                <a:lnTo>
                  <a:pt x="61" y="169"/>
                </a:lnTo>
                <a:lnTo>
                  <a:pt x="57" y="166"/>
                </a:lnTo>
                <a:lnTo>
                  <a:pt x="52" y="163"/>
                </a:lnTo>
                <a:lnTo>
                  <a:pt x="50" y="159"/>
                </a:lnTo>
                <a:lnTo>
                  <a:pt x="47" y="155"/>
                </a:lnTo>
                <a:lnTo>
                  <a:pt x="38" y="155"/>
                </a:lnTo>
                <a:lnTo>
                  <a:pt x="31" y="156"/>
                </a:lnTo>
                <a:lnTo>
                  <a:pt x="26" y="181"/>
                </a:lnTo>
                <a:lnTo>
                  <a:pt x="24" y="206"/>
                </a:lnTo>
                <a:lnTo>
                  <a:pt x="28" y="244"/>
                </a:lnTo>
                <a:lnTo>
                  <a:pt x="38" y="277"/>
                </a:lnTo>
                <a:lnTo>
                  <a:pt x="55" y="309"/>
                </a:lnTo>
                <a:lnTo>
                  <a:pt x="78" y="336"/>
                </a:lnTo>
                <a:lnTo>
                  <a:pt x="83" y="339"/>
                </a:lnTo>
                <a:lnTo>
                  <a:pt x="117" y="339"/>
                </a:lnTo>
                <a:lnTo>
                  <a:pt x="117" y="333"/>
                </a:lnTo>
                <a:lnTo>
                  <a:pt x="120" y="326"/>
                </a:lnTo>
                <a:lnTo>
                  <a:pt x="125" y="322"/>
                </a:lnTo>
                <a:lnTo>
                  <a:pt x="104" y="287"/>
                </a:lnTo>
                <a:lnTo>
                  <a:pt x="89" y="250"/>
                </a:lnTo>
                <a:lnTo>
                  <a:pt x="76" y="211"/>
                </a:lnTo>
                <a:close/>
                <a:moveTo>
                  <a:pt x="231" y="165"/>
                </a:moveTo>
                <a:lnTo>
                  <a:pt x="272" y="162"/>
                </a:lnTo>
                <a:lnTo>
                  <a:pt x="262" y="181"/>
                </a:lnTo>
                <a:lnTo>
                  <a:pt x="292" y="204"/>
                </a:lnTo>
                <a:lnTo>
                  <a:pt x="319" y="230"/>
                </a:lnTo>
                <a:lnTo>
                  <a:pt x="325" y="227"/>
                </a:lnTo>
                <a:lnTo>
                  <a:pt x="331" y="227"/>
                </a:lnTo>
                <a:lnTo>
                  <a:pt x="337" y="227"/>
                </a:lnTo>
                <a:lnTo>
                  <a:pt x="343" y="230"/>
                </a:lnTo>
                <a:lnTo>
                  <a:pt x="356" y="212"/>
                </a:lnTo>
                <a:lnTo>
                  <a:pt x="337" y="199"/>
                </a:lnTo>
                <a:lnTo>
                  <a:pt x="389" y="179"/>
                </a:lnTo>
                <a:lnTo>
                  <a:pt x="384" y="234"/>
                </a:lnTo>
                <a:lnTo>
                  <a:pt x="367" y="221"/>
                </a:lnTo>
                <a:lnTo>
                  <a:pt x="353" y="240"/>
                </a:lnTo>
                <a:lnTo>
                  <a:pt x="356" y="245"/>
                </a:lnTo>
                <a:lnTo>
                  <a:pt x="356" y="253"/>
                </a:lnTo>
                <a:lnTo>
                  <a:pt x="356" y="258"/>
                </a:lnTo>
                <a:lnTo>
                  <a:pt x="353" y="264"/>
                </a:lnTo>
                <a:lnTo>
                  <a:pt x="348" y="270"/>
                </a:lnTo>
                <a:lnTo>
                  <a:pt x="358" y="287"/>
                </a:lnTo>
                <a:lnTo>
                  <a:pt x="363" y="299"/>
                </a:lnTo>
                <a:lnTo>
                  <a:pt x="367" y="310"/>
                </a:lnTo>
                <a:lnTo>
                  <a:pt x="384" y="279"/>
                </a:lnTo>
                <a:lnTo>
                  <a:pt x="396" y="244"/>
                </a:lnTo>
                <a:lnTo>
                  <a:pt x="400" y="206"/>
                </a:lnTo>
                <a:lnTo>
                  <a:pt x="396" y="169"/>
                </a:lnTo>
                <a:lnTo>
                  <a:pt x="386" y="136"/>
                </a:lnTo>
                <a:lnTo>
                  <a:pt x="369" y="104"/>
                </a:lnTo>
                <a:lnTo>
                  <a:pt x="345" y="77"/>
                </a:lnTo>
                <a:lnTo>
                  <a:pt x="321" y="58"/>
                </a:lnTo>
                <a:lnTo>
                  <a:pt x="315" y="59"/>
                </a:lnTo>
                <a:lnTo>
                  <a:pt x="302" y="67"/>
                </a:lnTo>
                <a:lnTo>
                  <a:pt x="285" y="105"/>
                </a:lnTo>
                <a:lnTo>
                  <a:pt x="272" y="87"/>
                </a:lnTo>
                <a:lnTo>
                  <a:pt x="244" y="113"/>
                </a:lnTo>
                <a:lnTo>
                  <a:pt x="220" y="143"/>
                </a:lnTo>
                <a:lnTo>
                  <a:pt x="224" y="149"/>
                </a:lnTo>
                <a:lnTo>
                  <a:pt x="226" y="155"/>
                </a:lnTo>
                <a:lnTo>
                  <a:pt x="227" y="160"/>
                </a:lnTo>
                <a:lnTo>
                  <a:pt x="227" y="163"/>
                </a:lnTo>
                <a:lnTo>
                  <a:pt x="231" y="165"/>
                </a:lnTo>
                <a:close/>
                <a:moveTo>
                  <a:pt x="265" y="75"/>
                </a:moveTo>
                <a:lnTo>
                  <a:pt x="252" y="58"/>
                </a:lnTo>
                <a:lnTo>
                  <a:pt x="292" y="56"/>
                </a:lnTo>
                <a:lnTo>
                  <a:pt x="308" y="48"/>
                </a:lnTo>
                <a:lnTo>
                  <a:pt x="278" y="35"/>
                </a:lnTo>
                <a:lnTo>
                  <a:pt x="246" y="26"/>
                </a:lnTo>
                <a:lnTo>
                  <a:pt x="213" y="23"/>
                </a:lnTo>
                <a:lnTo>
                  <a:pt x="174" y="28"/>
                </a:lnTo>
                <a:lnTo>
                  <a:pt x="139" y="38"/>
                </a:lnTo>
                <a:lnTo>
                  <a:pt x="107" y="55"/>
                </a:lnTo>
                <a:lnTo>
                  <a:pt x="78" y="77"/>
                </a:lnTo>
                <a:lnTo>
                  <a:pt x="77" y="120"/>
                </a:lnTo>
                <a:lnTo>
                  <a:pt x="83" y="123"/>
                </a:lnTo>
                <a:lnTo>
                  <a:pt x="89" y="126"/>
                </a:lnTo>
                <a:lnTo>
                  <a:pt x="93" y="131"/>
                </a:lnTo>
                <a:lnTo>
                  <a:pt x="96" y="136"/>
                </a:lnTo>
                <a:lnTo>
                  <a:pt x="139" y="139"/>
                </a:lnTo>
                <a:lnTo>
                  <a:pt x="179" y="146"/>
                </a:lnTo>
                <a:lnTo>
                  <a:pt x="182" y="143"/>
                </a:lnTo>
                <a:lnTo>
                  <a:pt x="184" y="142"/>
                </a:lnTo>
                <a:lnTo>
                  <a:pt x="188" y="139"/>
                </a:lnTo>
                <a:lnTo>
                  <a:pt x="194" y="136"/>
                </a:lnTo>
                <a:lnTo>
                  <a:pt x="201" y="134"/>
                </a:lnTo>
                <a:lnTo>
                  <a:pt x="205" y="134"/>
                </a:lnTo>
                <a:lnTo>
                  <a:pt x="208" y="136"/>
                </a:lnTo>
                <a:lnTo>
                  <a:pt x="236" y="104"/>
                </a:lnTo>
                <a:lnTo>
                  <a:pt x="265" y="75"/>
                </a:lnTo>
                <a:close/>
                <a:moveTo>
                  <a:pt x="331" y="263"/>
                </a:moveTo>
                <a:lnTo>
                  <a:pt x="334" y="261"/>
                </a:lnTo>
                <a:lnTo>
                  <a:pt x="338" y="260"/>
                </a:lnTo>
                <a:lnTo>
                  <a:pt x="340" y="257"/>
                </a:lnTo>
                <a:lnTo>
                  <a:pt x="341" y="253"/>
                </a:lnTo>
                <a:lnTo>
                  <a:pt x="340" y="248"/>
                </a:lnTo>
                <a:lnTo>
                  <a:pt x="338" y="244"/>
                </a:lnTo>
                <a:lnTo>
                  <a:pt x="334" y="243"/>
                </a:lnTo>
                <a:lnTo>
                  <a:pt x="331" y="241"/>
                </a:lnTo>
                <a:lnTo>
                  <a:pt x="327" y="243"/>
                </a:lnTo>
                <a:lnTo>
                  <a:pt x="322" y="244"/>
                </a:lnTo>
                <a:lnTo>
                  <a:pt x="321" y="248"/>
                </a:lnTo>
                <a:lnTo>
                  <a:pt x="319" y="253"/>
                </a:lnTo>
                <a:lnTo>
                  <a:pt x="321" y="257"/>
                </a:lnTo>
                <a:lnTo>
                  <a:pt x="322" y="260"/>
                </a:lnTo>
                <a:lnTo>
                  <a:pt x="327" y="261"/>
                </a:lnTo>
                <a:lnTo>
                  <a:pt x="331" y="263"/>
                </a:lnTo>
                <a:close/>
                <a:moveTo>
                  <a:pt x="337" y="277"/>
                </a:moveTo>
                <a:lnTo>
                  <a:pt x="331" y="277"/>
                </a:lnTo>
                <a:lnTo>
                  <a:pt x="324" y="277"/>
                </a:lnTo>
                <a:lnTo>
                  <a:pt x="317" y="274"/>
                </a:lnTo>
                <a:lnTo>
                  <a:pt x="279" y="300"/>
                </a:lnTo>
                <a:lnTo>
                  <a:pt x="239" y="322"/>
                </a:lnTo>
                <a:lnTo>
                  <a:pt x="204" y="336"/>
                </a:lnTo>
                <a:lnTo>
                  <a:pt x="168" y="346"/>
                </a:lnTo>
                <a:lnTo>
                  <a:pt x="165" y="351"/>
                </a:lnTo>
                <a:lnTo>
                  <a:pt x="174" y="359"/>
                </a:lnTo>
                <a:lnTo>
                  <a:pt x="182" y="368"/>
                </a:lnTo>
                <a:lnTo>
                  <a:pt x="210" y="390"/>
                </a:lnTo>
                <a:lnTo>
                  <a:pt x="213" y="390"/>
                </a:lnTo>
                <a:lnTo>
                  <a:pt x="250" y="385"/>
                </a:lnTo>
                <a:lnTo>
                  <a:pt x="285" y="375"/>
                </a:lnTo>
                <a:lnTo>
                  <a:pt x="317" y="358"/>
                </a:lnTo>
                <a:lnTo>
                  <a:pt x="345" y="336"/>
                </a:lnTo>
                <a:lnTo>
                  <a:pt x="357" y="323"/>
                </a:lnTo>
                <a:lnTo>
                  <a:pt x="345" y="293"/>
                </a:lnTo>
                <a:lnTo>
                  <a:pt x="337" y="277"/>
                </a:lnTo>
                <a:close/>
                <a:moveTo>
                  <a:pt x="71" y="155"/>
                </a:moveTo>
                <a:lnTo>
                  <a:pt x="76" y="155"/>
                </a:lnTo>
                <a:lnTo>
                  <a:pt x="78" y="152"/>
                </a:lnTo>
                <a:lnTo>
                  <a:pt x="81" y="149"/>
                </a:lnTo>
                <a:lnTo>
                  <a:pt x="81" y="144"/>
                </a:lnTo>
                <a:lnTo>
                  <a:pt x="81" y="140"/>
                </a:lnTo>
                <a:lnTo>
                  <a:pt x="78" y="137"/>
                </a:lnTo>
                <a:lnTo>
                  <a:pt x="76" y="134"/>
                </a:lnTo>
                <a:lnTo>
                  <a:pt x="71" y="134"/>
                </a:lnTo>
                <a:lnTo>
                  <a:pt x="67" y="134"/>
                </a:lnTo>
                <a:lnTo>
                  <a:pt x="64" y="137"/>
                </a:lnTo>
                <a:lnTo>
                  <a:pt x="61" y="140"/>
                </a:lnTo>
                <a:lnTo>
                  <a:pt x="60" y="144"/>
                </a:lnTo>
                <a:lnTo>
                  <a:pt x="61" y="149"/>
                </a:lnTo>
                <a:lnTo>
                  <a:pt x="64" y="152"/>
                </a:lnTo>
                <a:lnTo>
                  <a:pt x="67" y="155"/>
                </a:lnTo>
                <a:lnTo>
                  <a:pt x="71" y="155"/>
                </a:lnTo>
                <a:close/>
                <a:moveTo>
                  <a:pt x="45" y="140"/>
                </a:moveTo>
                <a:lnTo>
                  <a:pt x="47" y="134"/>
                </a:lnTo>
                <a:lnTo>
                  <a:pt x="50" y="130"/>
                </a:lnTo>
                <a:lnTo>
                  <a:pt x="52" y="126"/>
                </a:lnTo>
                <a:lnTo>
                  <a:pt x="52" y="127"/>
                </a:lnTo>
                <a:lnTo>
                  <a:pt x="52" y="126"/>
                </a:lnTo>
                <a:lnTo>
                  <a:pt x="57" y="123"/>
                </a:lnTo>
                <a:lnTo>
                  <a:pt x="63" y="120"/>
                </a:lnTo>
                <a:lnTo>
                  <a:pt x="64" y="94"/>
                </a:lnTo>
                <a:lnTo>
                  <a:pt x="48" y="117"/>
                </a:lnTo>
                <a:lnTo>
                  <a:pt x="37" y="142"/>
                </a:lnTo>
                <a:lnTo>
                  <a:pt x="45" y="140"/>
                </a:lnTo>
                <a:close/>
                <a:moveTo>
                  <a:pt x="201" y="170"/>
                </a:moveTo>
                <a:lnTo>
                  <a:pt x="205" y="170"/>
                </a:lnTo>
                <a:lnTo>
                  <a:pt x="208" y="168"/>
                </a:lnTo>
                <a:lnTo>
                  <a:pt x="211" y="165"/>
                </a:lnTo>
                <a:lnTo>
                  <a:pt x="211" y="160"/>
                </a:lnTo>
                <a:lnTo>
                  <a:pt x="211" y="156"/>
                </a:lnTo>
                <a:lnTo>
                  <a:pt x="208" y="153"/>
                </a:lnTo>
                <a:lnTo>
                  <a:pt x="205" y="150"/>
                </a:lnTo>
                <a:lnTo>
                  <a:pt x="201" y="149"/>
                </a:lnTo>
                <a:lnTo>
                  <a:pt x="197" y="150"/>
                </a:lnTo>
                <a:lnTo>
                  <a:pt x="194" y="153"/>
                </a:lnTo>
                <a:lnTo>
                  <a:pt x="191" y="156"/>
                </a:lnTo>
                <a:lnTo>
                  <a:pt x="191" y="160"/>
                </a:lnTo>
                <a:lnTo>
                  <a:pt x="191" y="165"/>
                </a:lnTo>
                <a:lnTo>
                  <a:pt x="194" y="168"/>
                </a:lnTo>
                <a:lnTo>
                  <a:pt x="197" y="170"/>
                </a:lnTo>
                <a:lnTo>
                  <a:pt x="201" y="170"/>
                </a:lnTo>
                <a:close/>
                <a:moveTo>
                  <a:pt x="156" y="362"/>
                </a:moveTo>
                <a:lnTo>
                  <a:pt x="151" y="364"/>
                </a:lnTo>
                <a:lnTo>
                  <a:pt x="145" y="365"/>
                </a:lnTo>
                <a:lnTo>
                  <a:pt x="145" y="377"/>
                </a:lnTo>
                <a:lnTo>
                  <a:pt x="184" y="388"/>
                </a:lnTo>
                <a:lnTo>
                  <a:pt x="172" y="378"/>
                </a:lnTo>
                <a:lnTo>
                  <a:pt x="165" y="370"/>
                </a:lnTo>
                <a:lnTo>
                  <a:pt x="156" y="362"/>
                </a:lnTo>
                <a:close/>
                <a:moveTo>
                  <a:pt x="130" y="362"/>
                </a:moveTo>
                <a:lnTo>
                  <a:pt x="128" y="361"/>
                </a:lnTo>
                <a:lnTo>
                  <a:pt x="125" y="358"/>
                </a:lnTo>
                <a:lnTo>
                  <a:pt x="120" y="354"/>
                </a:lnTo>
                <a:lnTo>
                  <a:pt x="100" y="354"/>
                </a:lnTo>
                <a:lnTo>
                  <a:pt x="130" y="371"/>
                </a:lnTo>
                <a:lnTo>
                  <a:pt x="130" y="365"/>
                </a:lnTo>
                <a:lnTo>
                  <a:pt x="130" y="362"/>
                </a:lnTo>
                <a:close/>
                <a:moveTo>
                  <a:pt x="361" y="352"/>
                </a:moveTo>
                <a:lnTo>
                  <a:pt x="330" y="377"/>
                </a:lnTo>
                <a:lnTo>
                  <a:pt x="293" y="397"/>
                </a:lnTo>
                <a:lnTo>
                  <a:pt x="255" y="409"/>
                </a:lnTo>
                <a:lnTo>
                  <a:pt x="213" y="413"/>
                </a:lnTo>
                <a:lnTo>
                  <a:pt x="169" y="409"/>
                </a:lnTo>
                <a:lnTo>
                  <a:pt x="130" y="397"/>
                </a:lnTo>
                <a:lnTo>
                  <a:pt x="94" y="377"/>
                </a:lnTo>
                <a:lnTo>
                  <a:pt x="63" y="352"/>
                </a:lnTo>
                <a:lnTo>
                  <a:pt x="37" y="322"/>
                </a:lnTo>
                <a:lnTo>
                  <a:pt x="18" y="287"/>
                </a:lnTo>
                <a:lnTo>
                  <a:pt x="5" y="248"/>
                </a:lnTo>
                <a:lnTo>
                  <a:pt x="0" y="206"/>
                </a:lnTo>
                <a:lnTo>
                  <a:pt x="5" y="165"/>
                </a:lnTo>
                <a:lnTo>
                  <a:pt x="18" y="126"/>
                </a:lnTo>
                <a:lnTo>
                  <a:pt x="37" y="91"/>
                </a:lnTo>
                <a:lnTo>
                  <a:pt x="63" y="61"/>
                </a:lnTo>
                <a:lnTo>
                  <a:pt x="94" y="36"/>
                </a:lnTo>
                <a:lnTo>
                  <a:pt x="130" y="16"/>
                </a:lnTo>
                <a:lnTo>
                  <a:pt x="169" y="4"/>
                </a:lnTo>
                <a:lnTo>
                  <a:pt x="213" y="0"/>
                </a:lnTo>
                <a:lnTo>
                  <a:pt x="255" y="4"/>
                </a:lnTo>
                <a:lnTo>
                  <a:pt x="293" y="16"/>
                </a:lnTo>
                <a:lnTo>
                  <a:pt x="330" y="36"/>
                </a:lnTo>
                <a:lnTo>
                  <a:pt x="361" y="61"/>
                </a:lnTo>
                <a:lnTo>
                  <a:pt x="387" y="91"/>
                </a:lnTo>
                <a:lnTo>
                  <a:pt x="406" y="126"/>
                </a:lnTo>
                <a:lnTo>
                  <a:pt x="419" y="165"/>
                </a:lnTo>
                <a:lnTo>
                  <a:pt x="423" y="206"/>
                </a:lnTo>
                <a:lnTo>
                  <a:pt x="419" y="248"/>
                </a:lnTo>
                <a:lnTo>
                  <a:pt x="406" y="287"/>
                </a:lnTo>
                <a:lnTo>
                  <a:pt x="387" y="322"/>
                </a:lnTo>
                <a:lnTo>
                  <a:pt x="361" y="352"/>
                </a:lnTo>
                <a:close/>
              </a:path>
            </a:pathLst>
          </a:custGeom>
          <a:solidFill>
            <a:srgbClr val="F04C3E"/>
          </a:solidFill>
          <a:ln>
            <a:noFill/>
          </a:ln>
        </p:spPr>
        <p:txBody>
          <a:bodyPr/>
          <a:lstStyle/>
          <a:p>
            <a:pPr defTabSz="1187120" eaLnBrk="0" hangingPunct="0">
              <a:spcAft>
                <a:spcPct val="0"/>
              </a:spcAft>
              <a:buClrTx/>
              <a:buSzTx/>
              <a:buFontTx/>
              <a:buNone/>
              <a:defRPr/>
            </a:pPr>
            <a:endParaRPr lang="en-US" kern="0">
              <a:solidFill>
                <a:srgbClr val="646464"/>
              </a:solidFill>
              <a:latin typeface="EYInterstate Light"/>
              <a:cs typeface="Arial" panose="020B0604020202020204" pitchFamily="34" charset="0"/>
            </a:endParaRPr>
          </a:p>
        </p:txBody>
      </p:sp>
      <p:grpSp>
        <p:nvGrpSpPr>
          <p:cNvPr id="208" name="Group 207">
            <a:extLst>
              <a:ext uri="{FF2B5EF4-FFF2-40B4-BE49-F238E27FC236}">
                <a16:creationId xmlns:a16="http://schemas.microsoft.com/office/drawing/2014/main" id="{84163C9D-725E-41FA-BFB6-AA11F80AEA40}"/>
              </a:ext>
            </a:extLst>
          </p:cNvPr>
          <p:cNvGrpSpPr/>
          <p:nvPr/>
        </p:nvGrpSpPr>
        <p:grpSpPr>
          <a:xfrm>
            <a:off x="5330793" y="5669061"/>
            <a:ext cx="556446" cy="579196"/>
            <a:chOff x="12626975" y="1768475"/>
            <a:chExt cx="3267075" cy="3505200"/>
          </a:xfrm>
          <a:solidFill>
            <a:srgbClr val="404040"/>
          </a:solidFill>
        </p:grpSpPr>
        <p:sp>
          <p:nvSpPr>
            <p:cNvPr id="209" name="Freeform 200">
              <a:extLst>
                <a:ext uri="{FF2B5EF4-FFF2-40B4-BE49-F238E27FC236}">
                  <a16:creationId xmlns:a16="http://schemas.microsoft.com/office/drawing/2014/main" id="{C766AABA-7BAD-46B0-89FF-954FCF9289A0}"/>
                </a:ext>
              </a:extLst>
            </p:cNvPr>
            <p:cNvSpPr>
              <a:spLocks/>
            </p:cNvSpPr>
            <p:nvPr/>
          </p:nvSpPr>
          <p:spPr bwMode="auto">
            <a:xfrm>
              <a:off x="12626975" y="2919413"/>
              <a:ext cx="1257300" cy="2354262"/>
            </a:xfrm>
            <a:custGeom>
              <a:avLst/>
              <a:gdLst>
                <a:gd name="T0" fmla="*/ 0 w 334"/>
                <a:gd name="T1" fmla="*/ 186 h 626"/>
                <a:gd name="T2" fmla="*/ 17 w 334"/>
                <a:gd name="T3" fmla="*/ 92 h 626"/>
                <a:gd name="T4" fmla="*/ 48 w 334"/>
                <a:gd name="T5" fmla="*/ 30 h 626"/>
                <a:gd name="T6" fmla="*/ 108 w 334"/>
                <a:gd name="T7" fmla="*/ 2 h 626"/>
                <a:gd name="T8" fmla="*/ 222 w 334"/>
                <a:gd name="T9" fmla="*/ 1 h 626"/>
                <a:gd name="T10" fmla="*/ 297 w 334"/>
                <a:gd name="T11" fmla="*/ 44 h 626"/>
                <a:gd name="T12" fmla="*/ 332 w 334"/>
                <a:gd name="T13" fmla="*/ 176 h 626"/>
                <a:gd name="T14" fmla="*/ 332 w 334"/>
                <a:gd name="T15" fmla="*/ 286 h 626"/>
                <a:gd name="T16" fmla="*/ 306 w 334"/>
                <a:gd name="T17" fmla="*/ 321 h 626"/>
                <a:gd name="T18" fmla="*/ 280 w 334"/>
                <a:gd name="T19" fmla="*/ 283 h 626"/>
                <a:gd name="T20" fmla="*/ 275 w 334"/>
                <a:gd name="T21" fmla="*/ 144 h 626"/>
                <a:gd name="T22" fmla="*/ 263 w 334"/>
                <a:gd name="T23" fmla="*/ 89 h 626"/>
                <a:gd name="T24" fmla="*/ 257 w 334"/>
                <a:gd name="T25" fmla="*/ 90 h 626"/>
                <a:gd name="T26" fmla="*/ 257 w 334"/>
                <a:gd name="T27" fmla="*/ 223 h 626"/>
                <a:gd name="T28" fmla="*/ 228 w 334"/>
                <a:gd name="T29" fmla="*/ 219 h 626"/>
                <a:gd name="T30" fmla="*/ 208 w 334"/>
                <a:gd name="T31" fmla="*/ 229 h 626"/>
                <a:gd name="T32" fmla="*/ 213 w 334"/>
                <a:gd name="T33" fmla="*/ 250 h 626"/>
                <a:gd name="T34" fmla="*/ 247 w 334"/>
                <a:gd name="T35" fmla="*/ 278 h 626"/>
                <a:gd name="T36" fmla="*/ 248 w 334"/>
                <a:gd name="T37" fmla="*/ 344 h 626"/>
                <a:gd name="T38" fmla="*/ 176 w 334"/>
                <a:gd name="T39" fmla="*/ 406 h 626"/>
                <a:gd name="T40" fmla="*/ 174 w 334"/>
                <a:gd name="T41" fmla="*/ 389 h 626"/>
                <a:gd name="T42" fmla="*/ 174 w 334"/>
                <a:gd name="T43" fmla="*/ 297 h 626"/>
                <a:gd name="T44" fmla="*/ 168 w 334"/>
                <a:gd name="T45" fmla="*/ 281 h 626"/>
                <a:gd name="T46" fmla="*/ 160 w 334"/>
                <a:gd name="T47" fmla="*/ 283 h 626"/>
                <a:gd name="T48" fmla="*/ 160 w 334"/>
                <a:gd name="T49" fmla="*/ 411 h 626"/>
                <a:gd name="T50" fmla="*/ 153 w 334"/>
                <a:gd name="T51" fmla="*/ 472 h 626"/>
                <a:gd name="T52" fmla="*/ 156 w 334"/>
                <a:gd name="T53" fmla="*/ 536 h 626"/>
                <a:gd name="T54" fmla="*/ 149 w 334"/>
                <a:gd name="T55" fmla="*/ 588 h 626"/>
                <a:gd name="T56" fmla="*/ 147 w 334"/>
                <a:gd name="T57" fmla="*/ 593 h 626"/>
                <a:gd name="T58" fmla="*/ 120 w 334"/>
                <a:gd name="T59" fmla="*/ 626 h 626"/>
                <a:gd name="T60" fmla="*/ 116 w 334"/>
                <a:gd name="T61" fmla="*/ 626 h 626"/>
                <a:gd name="T62" fmla="*/ 77 w 334"/>
                <a:gd name="T63" fmla="*/ 568 h 626"/>
                <a:gd name="T64" fmla="*/ 77 w 334"/>
                <a:gd name="T65" fmla="*/ 109 h 626"/>
                <a:gd name="T66" fmla="*/ 76 w 334"/>
                <a:gd name="T67" fmla="*/ 91 h 626"/>
                <a:gd name="T68" fmla="*/ 64 w 334"/>
                <a:gd name="T69" fmla="*/ 119 h 626"/>
                <a:gd name="T70" fmla="*/ 55 w 334"/>
                <a:gd name="T71" fmla="*/ 276 h 626"/>
                <a:gd name="T72" fmla="*/ 33 w 334"/>
                <a:gd name="T73" fmla="*/ 320 h 626"/>
                <a:gd name="T74" fmla="*/ 0 w 334"/>
                <a:gd name="T75" fmla="*/ 286 h 626"/>
                <a:gd name="T76" fmla="*/ 0 w 334"/>
                <a:gd name="T77" fmla="*/ 186 h 6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34" h="626">
                  <a:moveTo>
                    <a:pt x="0" y="186"/>
                  </a:moveTo>
                  <a:cubicBezTo>
                    <a:pt x="5" y="155"/>
                    <a:pt x="8" y="123"/>
                    <a:pt x="17" y="92"/>
                  </a:cubicBezTo>
                  <a:cubicBezTo>
                    <a:pt x="23" y="70"/>
                    <a:pt x="35" y="49"/>
                    <a:pt x="48" y="30"/>
                  </a:cubicBezTo>
                  <a:cubicBezTo>
                    <a:pt x="61" y="10"/>
                    <a:pt x="82" y="1"/>
                    <a:pt x="108" y="2"/>
                  </a:cubicBezTo>
                  <a:cubicBezTo>
                    <a:pt x="146" y="2"/>
                    <a:pt x="184" y="3"/>
                    <a:pt x="222" y="1"/>
                  </a:cubicBezTo>
                  <a:cubicBezTo>
                    <a:pt x="257" y="0"/>
                    <a:pt x="280" y="16"/>
                    <a:pt x="297" y="44"/>
                  </a:cubicBezTo>
                  <a:cubicBezTo>
                    <a:pt x="322" y="84"/>
                    <a:pt x="329" y="130"/>
                    <a:pt x="332" y="176"/>
                  </a:cubicBezTo>
                  <a:cubicBezTo>
                    <a:pt x="334" y="212"/>
                    <a:pt x="332" y="249"/>
                    <a:pt x="332" y="286"/>
                  </a:cubicBezTo>
                  <a:cubicBezTo>
                    <a:pt x="332" y="309"/>
                    <a:pt x="322" y="321"/>
                    <a:pt x="306" y="321"/>
                  </a:cubicBezTo>
                  <a:cubicBezTo>
                    <a:pt x="288" y="320"/>
                    <a:pt x="280" y="308"/>
                    <a:pt x="280" y="283"/>
                  </a:cubicBezTo>
                  <a:cubicBezTo>
                    <a:pt x="279" y="237"/>
                    <a:pt x="278" y="190"/>
                    <a:pt x="275" y="144"/>
                  </a:cubicBezTo>
                  <a:cubicBezTo>
                    <a:pt x="274" y="125"/>
                    <a:pt x="267" y="107"/>
                    <a:pt x="263" y="89"/>
                  </a:cubicBezTo>
                  <a:cubicBezTo>
                    <a:pt x="261" y="90"/>
                    <a:pt x="259" y="90"/>
                    <a:pt x="257" y="90"/>
                  </a:cubicBezTo>
                  <a:cubicBezTo>
                    <a:pt x="257" y="134"/>
                    <a:pt x="257" y="177"/>
                    <a:pt x="257" y="223"/>
                  </a:cubicBezTo>
                  <a:cubicBezTo>
                    <a:pt x="246" y="221"/>
                    <a:pt x="237" y="218"/>
                    <a:pt x="228" y="219"/>
                  </a:cubicBezTo>
                  <a:cubicBezTo>
                    <a:pt x="221" y="220"/>
                    <a:pt x="211" y="224"/>
                    <a:pt x="208" y="229"/>
                  </a:cubicBezTo>
                  <a:cubicBezTo>
                    <a:pt x="206" y="234"/>
                    <a:pt x="209" y="246"/>
                    <a:pt x="213" y="250"/>
                  </a:cubicBezTo>
                  <a:cubicBezTo>
                    <a:pt x="223" y="261"/>
                    <a:pt x="235" y="269"/>
                    <a:pt x="247" y="278"/>
                  </a:cubicBezTo>
                  <a:cubicBezTo>
                    <a:pt x="261" y="289"/>
                    <a:pt x="262" y="333"/>
                    <a:pt x="248" y="344"/>
                  </a:cubicBezTo>
                  <a:cubicBezTo>
                    <a:pt x="225" y="364"/>
                    <a:pt x="201" y="384"/>
                    <a:pt x="176" y="406"/>
                  </a:cubicBezTo>
                  <a:cubicBezTo>
                    <a:pt x="176" y="400"/>
                    <a:pt x="174" y="395"/>
                    <a:pt x="174" y="389"/>
                  </a:cubicBezTo>
                  <a:cubicBezTo>
                    <a:pt x="174" y="359"/>
                    <a:pt x="175" y="328"/>
                    <a:pt x="174" y="297"/>
                  </a:cubicBezTo>
                  <a:cubicBezTo>
                    <a:pt x="174" y="292"/>
                    <a:pt x="170" y="286"/>
                    <a:pt x="168" y="281"/>
                  </a:cubicBezTo>
                  <a:cubicBezTo>
                    <a:pt x="165" y="282"/>
                    <a:pt x="163" y="282"/>
                    <a:pt x="160" y="283"/>
                  </a:cubicBezTo>
                  <a:cubicBezTo>
                    <a:pt x="160" y="326"/>
                    <a:pt x="161" y="368"/>
                    <a:pt x="160" y="411"/>
                  </a:cubicBezTo>
                  <a:cubicBezTo>
                    <a:pt x="159" y="431"/>
                    <a:pt x="154" y="451"/>
                    <a:pt x="153" y="472"/>
                  </a:cubicBezTo>
                  <a:cubicBezTo>
                    <a:pt x="153" y="493"/>
                    <a:pt x="154" y="514"/>
                    <a:pt x="156" y="536"/>
                  </a:cubicBezTo>
                  <a:cubicBezTo>
                    <a:pt x="158" y="554"/>
                    <a:pt x="166" y="572"/>
                    <a:pt x="149" y="588"/>
                  </a:cubicBezTo>
                  <a:cubicBezTo>
                    <a:pt x="147" y="589"/>
                    <a:pt x="147" y="592"/>
                    <a:pt x="147" y="593"/>
                  </a:cubicBezTo>
                  <a:cubicBezTo>
                    <a:pt x="153" y="617"/>
                    <a:pt x="136" y="621"/>
                    <a:pt x="120" y="626"/>
                  </a:cubicBezTo>
                  <a:cubicBezTo>
                    <a:pt x="119" y="626"/>
                    <a:pt x="117" y="626"/>
                    <a:pt x="116" y="626"/>
                  </a:cubicBezTo>
                  <a:cubicBezTo>
                    <a:pt x="83" y="614"/>
                    <a:pt x="77" y="605"/>
                    <a:pt x="77" y="568"/>
                  </a:cubicBezTo>
                  <a:cubicBezTo>
                    <a:pt x="77" y="415"/>
                    <a:pt x="77" y="262"/>
                    <a:pt x="77" y="109"/>
                  </a:cubicBezTo>
                  <a:cubicBezTo>
                    <a:pt x="77" y="103"/>
                    <a:pt x="76" y="97"/>
                    <a:pt x="76" y="91"/>
                  </a:cubicBezTo>
                  <a:cubicBezTo>
                    <a:pt x="69" y="100"/>
                    <a:pt x="65" y="110"/>
                    <a:pt x="64" y="119"/>
                  </a:cubicBezTo>
                  <a:cubicBezTo>
                    <a:pt x="60" y="171"/>
                    <a:pt x="56" y="224"/>
                    <a:pt x="55" y="276"/>
                  </a:cubicBezTo>
                  <a:cubicBezTo>
                    <a:pt x="54" y="305"/>
                    <a:pt x="50" y="317"/>
                    <a:pt x="33" y="320"/>
                  </a:cubicBezTo>
                  <a:cubicBezTo>
                    <a:pt x="16" y="323"/>
                    <a:pt x="8" y="314"/>
                    <a:pt x="0" y="286"/>
                  </a:cubicBezTo>
                  <a:cubicBezTo>
                    <a:pt x="0" y="253"/>
                    <a:pt x="0" y="219"/>
                    <a:pt x="0" y="1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0" name="Freeform 201">
              <a:extLst>
                <a:ext uri="{FF2B5EF4-FFF2-40B4-BE49-F238E27FC236}">
                  <a16:creationId xmlns:a16="http://schemas.microsoft.com/office/drawing/2014/main" id="{2C384224-775A-48B7-9F3E-61957664E58B}"/>
                </a:ext>
              </a:extLst>
            </p:cNvPr>
            <p:cNvSpPr>
              <a:spLocks/>
            </p:cNvSpPr>
            <p:nvPr/>
          </p:nvSpPr>
          <p:spPr bwMode="auto">
            <a:xfrm>
              <a:off x="13496925" y="1768475"/>
              <a:ext cx="2397125" cy="2805112"/>
            </a:xfrm>
            <a:custGeom>
              <a:avLst/>
              <a:gdLst>
                <a:gd name="T0" fmla="*/ 633 w 637"/>
                <a:gd name="T1" fmla="*/ 376 h 746"/>
                <a:gd name="T2" fmla="*/ 600 w 637"/>
                <a:gd name="T3" fmla="*/ 490 h 746"/>
                <a:gd name="T4" fmla="*/ 111 w 637"/>
                <a:gd name="T5" fmla="*/ 639 h 746"/>
                <a:gd name="T6" fmla="*/ 105 w 637"/>
                <a:gd name="T7" fmla="*/ 634 h 746"/>
                <a:gd name="T8" fmla="*/ 120 w 637"/>
                <a:gd name="T9" fmla="*/ 606 h 746"/>
                <a:gd name="T10" fmla="*/ 396 w 637"/>
                <a:gd name="T11" fmla="*/ 637 h 746"/>
                <a:gd name="T12" fmla="*/ 565 w 637"/>
                <a:gd name="T13" fmla="*/ 488 h 746"/>
                <a:gd name="T14" fmla="*/ 466 w 637"/>
                <a:gd name="T15" fmla="*/ 89 h 746"/>
                <a:gd name="T16" fmla="*/ 25 w 637"/>
                <a:gd name="T17" fmla="*/ 179 h 746"/>
                <a:gd name="T18" fmla="*/ 27 w 637"/>
                <a:gd name="T19" fmla="*/ 124 h 746"/>
                <a:gd name="T20" fmla="*/ 266 w 637"/>
                <a:gd name="T21" fmla="*/ 3 h 746"/>
                <a:gd name="T22" fmla="*/ 281 w 637"/>
                <a:gd name="T23" fmla="*/ 0 h 746"/>
                <a:gd name="T24" fmla="*/ 289 w 637"/>
                <a:gd name="T25" fmla="*/ 0 h 746"/>
                <a:gd name="T26" fmla="*/ 309 w 637"/>
                <a:gd name="T27" fmla="*/ 3 h 746"/>
                <a:gd name="T28" fmla="*/ 606 w 637"/>
                <a:gd name="T29" fmla="*/ 215 h 746"/>
                <a:gd name="T30" fmla="*/ 633 w 637"/>
                <a:gd name="T31" fmla="*/ 316 h 746"/>
                <a:gd name="T32" fmla="*/ 633 w 637"/>
                <a:gd name="T33" fmla="*/ 376 h 7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37" h="746">
                  <a:moveTo>
                    <a:pt x="633" y="376"/>
                  </a:moveTo>
                  <a:cubicBezTo>
                    <a:pt x="622" y="414"/>
                    <a:pt x="616" y="454"/>
                    <a:pt x="600" y="490"/>
                  </a:cubicBezTo>
                  <a:cubicBezTo>
                    <a:pt x="519" y="674"/>
                    <a:pt x="281" y="746"/>
                    <a:pt x="111" y="639"/>
                  </a:cubicBezTo>
                  <a:cubicBezTo>
                    <a:pt x="109" y="638"/>
                    <a:pt x="107" y="636"/>
                    <a:pt x="105" y="634"/>
                  </a:cubicBezTo>
                  <a:cubicBezTo>
                    <a:pt x="110" y="625"/>
                    <a:pt x="115" y="616"/>
                    <a:pt x="120" y="606"/>
                  </a:cubicBezTo>
                  <a:cubicBezTo>
                    <a:pt x="207" y="659"/>
                    <a:pt x="299" y="672"/>
                    <a:pt x="396" y="637"/>
                  </a:cubicBezTo>
                  <a:cubicBezTo>
                    <a:pt x="471" y="609"/>
                    <a:pt x="527" y="559"/>
                    <a:pt x="565" y="488"/>
                  </a:cubicBezTo>
                  <a:cubicBezTo>
                    <a:pt x="637" y="351"/>
                    <a:pt x="593" y="176"/>
                    <a:pt x="466" y="89"/>
                  </a:cubicBezTo>
                  <a:cubicBezTo>
                    <a:pt x="336" y="0"/>
                    <a:pt x="135" y="15"/>
                    <a:pt x="25" y="179"/>
                  </a:cubicBezTo>
                  <a:cubicBezTo>
                    <a:pt x="2" y="144"/>
                    <a:pt x="0" y="156"/>
                    <a:pt x="27" y="124"/>
                  </a:cubicBezTo>
                  <a:cubicBezTo>
                    <a:pt x="89" y="51"/>
                    <a:pt x="169" y="9"/>
                    <a:pt x="266" y="3"/>
                  </a:cubicBezTo>
                  <a:cubicBezTo>
                    <a:pt x="271" y="3"/>
                    <a:pt x="276" y="1"/>
                    <a:pt x="281" y="0"/>
                  </a:cubicBezTo>
                  <a:cubicBezTo>
                    <a:pt x="284" y="0"/>
                    <a:pt x="286" y="0"/>
                    <a:pt x="289" y="0"/>
                  </a:cubicBezTo>
                  <a:cubicBezTo>
                    <a:pt x="296" y="1"/>
                    <a:pt x="302" y="2"/>
                    <a:pt x="309" y="3"/>
                  </a:cubicBezTo>
                  <a:cubicBezTo>
                    <a:pt x="450" y="14"/>
                    <a:pt x="550" y="86"/>
                    <a:pt x="606" y="215"/>
                  </a:cubicBezTo>
                  <a:cubicBezTo>
                    <a:pt x="620" y="247"/>
                    <a:pt x="624" y="282"/>
                    <a:pt x="633" y="316"/>
                  </a:cubicBezTo>
                  <a:cubicBezTo>
                    <a:pt x="633" y="336"/>
                    <a:pt x="633" y="356"/>
                    <a:pt x="633" y="3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1" name="Freeform 204">
              <a:extLst>
                <a:ext uri="{FF2B5EF4-FFF2-40B4-BE49-F238E27FC236}">
                  <a16:creationId xmlns:a16="http://schemas.microsoft.com/office/drawing/2014/main" id="{8CC08923-33E0-4C6C-8267-9AFF5DC8F345}"/>
                </a:ext>
              </a:extLst>
            </p:cNvPr>
            <p:cNvSpPr>
              <a:spLocks noEditPoints="1"/>
            </p:cNvSpPr>
            <p:nvPr/>
          </p:nvSpPr>
          <p:spPr bwMode="auto">
            <a:xfrm>
              <a:off x="13214350" y="4141788"/>
              <a:ext cx="1122363" cy="1128712"/>
            </a:xfrm>
            <a:custGeom>
              <a:avLst/>
              <a:gdLst>
                <a:gd name="T0" fmla="*/ 298 w 298"/>
                <a:gd name="T1" fmla="*/ 160 h 300"/>
                <a:gd name="T2" fmla="*/ 278 w 298"/>
                <a:gd name="T3" fmla="*/ 233 h 300"/>
                <a:gd name="T4" fmla="*/ 283 w 298"/>
                <a:gd name="T5" fmla="*/ 261 h 300"/>
                <a:gd name="T6" fmla="*/ 283 w 298"/>
                <a:gd name="T7" fmla="*/ 289 h 300"/>
                <a:gd name="T8" fmla="*/ 257 w 298"/>
                <a:gd name="T9" fmla="*/ 283 h 300"/>
                <a:gd name="T10" fmla="*/ 232 w 298"/>
                <a:gd name="T11" fmla="*/ 278 h 300"/>
                <a:gd name="T12" fmla="*/ 55 w 298"/>
                <a:gd name="T13" fmla="*/ 277 h 300"/>
                <a:gd name="T14" fmla="*/ 30 w 298"/>
                <a:gd name="T15" fmla="*/ 281 h 300"/>
                <a:gd name="T16" fmla="*/ 4 w 298"/>
                <a:gd name="T17" fmla="*/ 285 h 300"/>
                <a:gd name="T18" fmla="*/ 5 w 298"/>
                <a:gd name="T19" fmla="*/ 261 h 300"/>
                <a:gd name="T20" fmla="*/ 11 w 298"/>
                <a:gd name="T21" fmla="*/ 227 h 300"/>
                <a:gd name="T22" fmla="*/ 5 w 298"/>
                <a:gd name="T23" fmla="*/ 180 h 300"/>
                <a:gd name="T24" fmla="*/ 44 w 298"/>
                <a:gd name="T25" fmla="*/ 72 h 300"/>
                <a:gd name="T26" fmla="*/ 131 w 298"/>
                <a:gd name="T27" fmla="*/ 5 h 300"/>
                <a:gd name="T28" fmla="*/ 165 w 298"/>
                <a:gd name="T29" fmla="*/ 7 h 300"/>
                <a:gd name="T30" fmla="*/ 240 w 298"/>
                <a:gd name="T31" fmla="*/ 56 h 300"/>
                <a:gd name="T32" fmla="*/ 298 w 298"/>
                <a:gd name="T33" fmla="*/ 160 h 300"/>
                <a:gd name="T34" fmla="*/ 187 w 298"/>
                <a:gd name="T35" fmla="*/ 109 h 300"/>
                <a:gd name="T36" fmla="*/ 188 w 298"/>
                <a:gd name="T37" fmla="*/ 102 h 300"/>
                <a:gd name="T38" fmla="*/ 167 w 298"/>
                <a:gd name="T39" fmla="*/ 92 h 300"/>
                <a:gd name="T40" fmla="*/ 130 w 298"/>
                <a:gd name="T41" fmla="*/ 92 h 300"/>
                <a:gd name="T42" fmla="*/ 106 w 298"/>
                <a:gd name="T43" fmla="*/ 120 h 300"/>
                <a:gd name="T44" fmla="*/ 125 w 298"/>
                <a:gd name="T45" fmla="*/ 149 h 300"/>
                <a:gd name="T46" fmla="*/ 158 w 298"/>
                <a:gd name="T47" fmla="*/ 170 h 300"/>
                <a:gd name="T48" fmla="*/ 165 w 298"/>
                <a:gd name="T49" fmla="*/ 186 h 300"/>
                <a:gd name="T50" fmla="*/ 148 w 298"/>
                <a:gd name="T51" fmla="*/ 196 h 300"/>
                <a:gd name="T52" fmla="*/ 132 w 298"/>
                <a:gd name="T53" fmla="*/ 192 h 300"/>
                <a:gd name="T54" fmla="*/ 103 w 298"/>
                <a:gd name="T55" fmla="*/ 199 h 300"/>
                <a:gd name="T56" fmla="*/ 130 w 298"/>
                <a:gd name="T57" fmla="*/ 212 h 300"/>
                <a:gd name="T58" fmla="*/ 149 w 298"/>
                <a:gd name="T59" fmla="*/ 227 h 300"/>
                <a:gd name="T60" fmla="*/ 168 w 298"/>
                <a:gd name="T61" fmla="*/ 211 h 300"/>
                <a:gd name="T62" fmla="*/ 191 w 298"/>
                <a:gd name="T63" fmla="*/ 185 h 300"/>
                <a:gd name="T64" fmla="*/ 173 w 298"/>
                <a:gd name="T65" fmla="*/ 153 h 300"/>
                <a:gd name="T66" fmla="*/ 139 w 298"/>
                <a:gd name="T67" fmla="*/ 133 h 300"/>
                <a:gd name="T68" fmla="*/ 132 w 298"/>
                <a:gd name="T69" fmla="*/ 118 h 300"/>
                <a:gd name="T70" fmla="*/ 147 w 298"/>
                <a:gd name="T71" fmla="*/ 107 h 300"/>
                <a:gd name="T72" fmla="*/ 162 w 298"/>
                <a:gd name="T73" fmla="*/ 109 h 300"/>
                <a:gd name="T74" fmla="*/ 187 w 298"/>
                <a:gd name="T75" fmla="*/ 109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98" h="300">
                  <a:moveTo>
                    <a:pt x="298" y="160"/>
                  </a:moveTo>
                  <a:cubicBezTo>
                    <a:pt x="291" y="185"/>
                    <a:pt x="286" y="209"/>
                    <a:pt x="278" y="233"/>
                  </a:cubicBezTo>
                  <a:cubicBezTo>
                    <a:pt x="274" y="245"/>
                    <a:pt x="274" y="252"/>
                    <a:pt x="283" y="261"/>
                  </a:cubicBezTo>
                  <a:cubicBezTo>
                    <a:pt x="292" y="270"/>
                    <a:pt x="293" y="280"/>
                    <a:pt x="283" y="289"/>
                  </a:cubicBezTo>
                  <a:cubicBezTo>
                    <a:pt x="273" y="297"/>
                    <a:pt x="263" y="293"/>
                    <a:pt x="257" y="283"/>
                  </a:cubicBezTo>
                  <a:cubicBezTo>
                    <a:pt x="250" y="272"/>
                    <a:pt x="243" y="274"/>
                    <a:pt x="232" y="278"/>
                  </a:cubicBezTo>
                  <a:cubicBezTo>
                    <a:pt x="173" y="299"/>
                    <a:pt x="114" y="300"/>
                    <a:pt x="55" y="277"/>
                  </a:cubicBezTo>
                  <a:cubicBezTo>
                    <a:pt x="45" y="272"/>
                    <a:pt x="39" y="272"/>
                    <a:pt x="30" y="281"/>
                  </a:cubicBezTo>
                  <a:cubicBezTo>
                    <a:pt x="25" y="286"/>
                    <a:pt x="13" y="284"/>
                    <a:pt x="4" y="285"/>
                  </a:cubicBezTo>
                  <a:cubicBezTo>
                    <a:pt x="4" y="277"/>
                    <a:pt x="1" y="265"/>
                    <a:pt x="5" y="261"/>
                  </a:cubicBezTo>
                  <a:cubicBezTo>
                    <a:pt x="14" y="250"/>
                    <a:pt x="13" y="239"/>
                    <a:pt x="11" y="227"/>
                  </a:cubicBezTo>
                  <a:cubicBezTo>
                    <a:pt x="9" y="212"/>
                    <a:pt x="7" y="196"/>
                    <a:pt x="5" y="180"/>
                  </a:cubicBezTo>
                  <a:cubicBezTo>
                    <a:pt x="0" y="137"/>
                    <a:pt x="11" y="100"/>
                    <a:pt x="44" y="72"/>
                  </a:cubicBezTo>
                  <a:cubicBezTo>
                    <a:pt x="72" y="49"/>
                    <a:pt x="100" y="25"/>
                    <a:pt x="131" y="5"/>
                  </a:cubicBezTo>
                  <a:cubicBezTo>
                    <a:pt x="138" y="0"/>
                    <a:pt x="156" y="2"/>
                    <a:pt x="165" y="7"/>
                  </a:cubicBezTo>
                  <a:cubicBezTo>
                    <a:pt x="191" y="21"/>
                    <a:pt x="216" y="38"/>
                    <a:pt x="240" y="56"/>
                  </a:cubicBezTo>
                  <a:cubicBezTo>
                    <a:pt x="273" y="82"/>
                    <a:pt x="296" y="115"/>
                    <a:pt x="298" y="160"/>
                  </a:cubicBezTo>
                  <a:close/>
                  <a:moveTo>
                    <a:pt x="187" y="109"/>
                  </a:moveTo>
                  <a:cubicBezTo>
                    <a:pt x="187" y="107"/>
                    <a:pt x="188" y="104"/>
                    <a:pt x="188" y="102"/>
                  </a:cubicBezTo>
                  <a:cubicBezTo>
                    <a:pt x="181" y="99"/>
                    <a:pt x="172" y="97"/>
                    <a:pt x="167" y="92"/>
                  </a:cubicBezTo>
                  <a:cubicBezTo>
                    <a:pt x="154" y="78"/>
                    <a:pt x="142" y="79"/>
                    <a:pt x="130" y="92"/>
                  </a:cubicBezTo>
                  <a:cubicBezTo>
                    <a:pt x="122" y="101"/>
                    <a:pt x="108" y="110"/>
                    <a:pt x="106" y="120"/>
                  </a:cubicBezTo>
                  <a:cubicBezTo>
                    <a:pt x="105" y="129"/>
                    <a:pt x="116" y="141"/>
                    <a:pt x="125" y="149"/>
                  </a:cubicBezTo>
                  <a:cubicBezTo>
                    <a:pt x="134" y="158"/>
                    <a:pt x="148" y="162"/>
                    <a:pt x="158" y="170"/>
                  </a:cubicBezTo>
                  <a:cubicBezTo>
                    <a:pt x="163" y="173"/>
                    <a:pt x="167" y="182"/>
                    <a:pt x="165" y="186"/>
                  </a:cubicBezTo>
                  <a:cubicBezTo>
                    <a:pt x="162" y="191"/>
                    <a:pt x="155" y="195"/>
                    <a:pt x="148" y="196"/>
                  </a:cubicBezTo>
                  <a:cubicBezTo>
                    <a:pt x="143" y="198"/>
                    <a:pt x="136" y="195"/>
                    <a:pt x="132" y="192"/>
                  </a:cubicBezTo>
                  <a:cubicBezTo>
                    <a:pt x="121" y="184"/>
                    <a:pt x="113" y="187"/>
                    <a:pt x="103" y="199"/>
                  </a:cubicBezTo>
                  <a:cubicBezTo>
                    <a:pt x="113" y="203"/>
                    <a:pt x="122" y="207"/>
                    <a:pt x="130" y="212"/>
                  </a:cubicBezTo>
                  <a:cubicBezTo>
                    <a:pt x="137" y="217"/>
                    <a:pt x="143" y="227"/>
                    <a:pt x="149" y="227"/>
                  </a:cubicBezTo>
                  <a:cubicBezTo>
                    <a:pt x="156" y="227"/>
                    <a:pt x="162" y="217"/>
                    <a:pt x="168" y="211"/>
                  </a:cubicBezTo>
                  <a:cubicBezTo>
                    <a:pt x="176" y="203"/>
                    <a:pt x="190" y="194"/>
                    <a:pt x="191" y="185"/>
                  </a:cubicBezTo>
                  <a:cubicBezTo>
                    <a:pt x="191" y="175"/>
                    <a:pt x="182" y="161"/>
                    <a:pt x="173" y="153"/>
                  </a:cubicBezTo>
                  <a:cubicBezTo>
                    <a:pt x="164" y="144"/>
                    <a:pt x="150" y="141"/>
                    <a:pt x="139" y="133"/>
                  </a:cubicBezTo>
                  <a:cubicBezTo>
                    <a:pt x="135" y="130"/>
                    <a:pt x="131" y="122"/>
                    <a:pt x="132" y="118"/>
                  </a:cubicBezTo>
                  <a:cubicBezTo>
                    <a:pt x="133" y="113"/>
                    <a:pt x="141" y="109"/>
                    <a:pt x="147" y="107"/>
                  </a:cubicBezTo>
                  <a:cubicBezTo>
                    <a:pt x="151" y="106"/>
                    <a:pt x="157" y="109"/>
                    <a:pt x="162" y="109"/>
                  </a:cubicBezTo>
                  <a:cubicBezTo>
                    <a:pt x="170" y="110"/>
                    <a:pt x="179" y="109"/>
                    <a:pt x="187" y="10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2" name="Freeform 205">
              <a:extLst>
                <a:ext uri="{FF2B5EF4-FFF2-40B4-BE49-F238E27FC236}">
                  <a16:creationId xmlns:a16="http://schemas.microsoft.com/office/drawing/2014/main" id="{E95ACFCC-423F-4738-9859-DC0586114432}"/>
                </a:ext>
              </a:extLst>
            </p:cNvPr>
            <p:cNvSpPr>
              <a:spLocks/>
            </p:cNvSpPr>
            <p:nvPr/>
          </p:nvSpPr>
          <p:spPr bwMode="auto">
            <a:xfrm>
              <a:off x="12969875" y="2279650"/>
              <a:ext cx="568325" cy="571500"/>
            </a:xfrm>
            <a:custGeom>
              <a:avLst/>
              <a:gdLst>
                <a:gd name="T0" fmla="*/ 151 w 151"/>
                <a:gd name="T1" fmla="*/ 77 h 152"/>
                <a:gd name="T2" fmla="*/ 76 w 151"/>
                <a:gd name="T3" fmla="*/ 152 h 152"/>
                <a:gd name="T4" fmla="*/ 1 w 151"/>
                <a:gd name="T5" fmla="*/ 74 h 152"/>
                <a:gd name="T6" fmla="*/ 78 w 151"/>
                <a:gd name="T7" fmla="*/ 1 h 152"/>
                <a:gd name="T8" fmla="*/ 151 w 151"/>
                <a:gd name="T9" fmla="*/ 77 h 152"/>
              </a:gdLst>
              <a:ahLst/>
              <a:cxnLst>
                <a:cxn ang="0">
                  <a:pos x="T0" y="T1"/>
                </a:cxn>
                <a:cxn ang="0">
                  <a:pos x="T2" y="T3"/>
                </a:cxn>
                <a:cxn ang="0">
                  <a:pos x="T4" y="T5"/>
                </a:cxn>
                <a:cxn ang="0">
                  <a:pos x="T6" y="T7"/>
                </a:cxn>
                <a:cxn ang="0">
                  <a:pos x="T8" y="T9"/>
                </a:cxn>
              </a:cxnLst>
              <a:rect l="0" t="0" r="r" b="b"/>
              <a:pathLst>
                <a:path w="151" h="152">
                  <a:moveTo>
                    <a:pt x="151" y="77"/>
                  </a:moveTo>
                  <a:cubicBezTo>
                    <a:pt x="150" y="119"/>
                    <a:pt x="117" y="152"/>
                    <a:pt x="76" y="152"/>
                  </a:cubicBezTo>
                  <a:cubicBezTo>
                    <a:pt x="35" y="151"/>
                    <a:pt x="0" y="116"/>
                    <a:pt x="1" y="74"/>
                  </a:cubicBezTo>
                  <a:cubicBezTo>
                    <a:pt x="2" y="33"/>
                    <a:pt x="37" y="0"/>
                    <a:pt x="78" y="1"/>
                  </a:cubicBezTo>
                  <a:cubicBezTo>
                    <a:pt x="119" y="2"/>
                    <a:pt x="151" y="36"/>
                    <a:pt x="151" y="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3" name="Freeform 206">
              <a:extLst>
                <a:ext uri="{FF2B5EF4-FFF2-40B4-BE49-F238E27FC236}">
                  <a16:creationId xmlns:a16="http://schemas.microsoft.com/office/drawing/2014/main" id="{37667537-0DF1-447A-8E08-6210EB999B59}"/>
                </a:ext>
              </a:extLst>
            </p:cNvPr>
            <p:cNvSpPr>
              <a:spLocks/>
            </p:cNvSpPr>
            <p:nvPr/>
          </p:nvSpPr>
          <p:spPr bwMode="auto">
            <a:xfrm>
              <a:off x="13917613" y="2414588"/>
              <a:ext cx="1471613" cy="1169987"/>
            </a:xfrm>
            <a:custGeom>
              <a:avLst/>
              <a:gdLst>
                <a:gd name="T0" fmla="*/ 342 w 391"/>
                <a:gd name="T1" fmla="*/ 57 h 311"/>
                <a:gd name="T2" fmla="*/ 308 w 391"/>
                <a:gd name="T3" fmla="*/ 34 h 311"/>
                <a:gd name="T4" fmla="*/ 347 w 391"/>
                <a:gd name="T5" fmla="*/ 17 h 311"/>
                <a:gd name="T6" fmla="*/ 387 w 391"/>
                <a:gd name="T7" fmla="*/ 0 h 311"/>
                <a:gd name="T8" fmla="*/ 391 w 391"/>
                <a:gd name="T9" fmla="*/ 87 h 311"/>
                <a:gd name="T10" fmla="*/ 356 w 391"/>
                <a:gd name="T11" fmla="*/ 66 h 311"/>
                <a:gd name="T12" fmla="*/ 283 w 391"/>
                <a:gd name="T13" fmla="*/ 165 h 311"/>
                <a:gd name="T14" fmla="*/ 258 w 391"/>
                <a:gd name="T15" fmla="*/ 173 h 311"/>
                <a:gd name="T16" fmla="*/ 204 w 391"/>
                <a:gd name="T17" fmla="*/ 158 h 311"/>
                <a:gd name="T18" fmla="*/ 185 w 391"/>
                <a:gd name="T19" fmla="*/ 165 h 311"/>
                <a:gd name="T20" fmla="*/ 157 w 391"/>
                <a:gd name="T21" fmla="*/ 202 h 311"/>
                <a:gd name="T22" fmla="*/ 45 w 391"/>
                <a:gd name="T23" fmla="*/ 303 h 311"/>
                <a:gd name="T24" fmla="*/ 22 w 391"/>
                <a:gd name="T25" fmla="*/ 309 h 311"/>
                <a:gd name="T26" fmla="*/ 7 w 391"/>
                <a:gd name="T27" fmla="*/ 274 h 311"/>
                <a:gd name="T28" fmla="*/ 58 w 391"/>
                <a:gd name="T29" fmla="*/ 276 h 311"/>
                <a:gd name="T30" fmla="*/ 151 w 391"/>
                <a:gd name="T31" fmla="*/ 182 h 311"/>
                <a:gd name="T32" fmla="*/ 186 w 391"/>
                <a:gd name="T33" fmla="*/ 136 h 311"/>
                <a:gd name="T34" fmla="*/ 252 w 391"/>
                <a:gd name="T35" fmla="*/ 154 h 311"/>
                <a:gd name="T36" fmla="*/ 273 w 391"/>
                <a:gd name="T37" fmla="*/ 148 h 311"/>
                <a:gd name="T38" fmla="*/ 342 w 391"/>
                <a:gd name="T39" fmla="*/ 57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91" h="311">
                  <a:moveTo>
                    <a:pt x="342" y="57"/>
                  </a:moveTo>
                  <a:cubicBezTo>
                    <a:pt x="330" y="49"/>
                    <a:pt x="320" y="42"/>
                    <a:pt x="308" y="34"/>
                  </a:cubicBezTo>
                  <a:cubicBezTo>
                    <a:pt x="322" y="28"/>
                    <a:pt x="335" y="22"/>
                    <a:pt x="347" y="17"/>
                  </a:cubicBezTo>
                  <a:cubicBezTo>
                    <a:pt x="359" y="11"/>
                    <a:pt x="371" y="6"/>
                    <a:pt x="387" y="0"/>
                  </a:cubicBezTo>
                  <a:cubicBezTo>
                    <a:pt x="388" y="29"/>
                    <a:pt x="390" y="56"/>
                    <a:pt x="391" y="87"/>
                  </a:cubicBezTo>
                  <a:cubicBezTo>
                    <a:pt x="378" y="79"/>
                    <a:pt x="367" y="73"/>
                    <a:pt x="356" y="66"/>
                  </a:cubicBezTo>
                  <a:cubicBezTo>
                    <a:pt x="331" y="99"/>
                    <a:pt x="306" y="132"/>
                    <a:pt x="283" y="165"/>
                  </a:cubicBezTo>
                  <a:cubicBezTo>
                    <a:pt x="276" y="174"/>
                    <a:pt x="270" y="178"/>
                    <a:pt x="258" y="173"/>
                  </a:cubicBezTo>
                  <a:cubicBezTo>
                    <a:pt x="241" y="167"/>
                    <a:pt x="222" y="162"/>
                    <a:pt x="204" y="158"/>
                  </a:cubicBezTo>
                  <a:cubicBezTo>
                    <a:pt x="198" y="157"/>
                    <a:pt x="189" y="161"/>
                    <a:pt x="185" y="165"/>
                  </a:cubicBezTo>
                  <a:cubicBezTo>
                    <a:pt x="175" y="177"/>
                    <a:pt x="165" y="189"/>
                    <a:pt x="157" y="202"/>
                  </a:cubicBezTo>
                  <a:cubicBezTo>
                    <a:pt x="130" y="247"/>
                    <a:pt x="91" y="279"/>
                    <a:pt x="45" y="303"/>
                  </a:cubicBezTo>
                  <a:cubicBezTo>
                    <a:pt x="38" y="307"/>
                    <a:pt x="28" y="311"/>
                    <a:pt x="22" y="309"/>
                  </a:cubicBezTo>
                  <a:cubicBezTo>
                    <a:pt x="10" y="303"/>
                    <a:pt x="0" y="294"/>
                    <a:pt x="7" y="274"/>
                  </a:cubicBezTo>
                  <a:cubicBezTo>
                    <a:pt x="24" y="303"/>
                    <a:pt x="40" y="285"/>
                    <a:pt x="58" y="276"/>
                  </a:cubicBezTo>
                  <a:cubicBezTo>
                    <a:pt x="101" y="256"/>
                    <a:pt x="125" y="218"/>
                    <a:pt x="151" y="182"/>
                  </a:cubicBezTo>
                  <a:cubicBezTo>
                    <a:pt x="163" y="167"/>
                    <a:pt x="174" y="152"/>
                    <a:pt x="186" y="136"/>
                  </a:cubicBezTo>
                  <a:cubicBezTo>
                    <a:pt x="209" y="142"/>
                    <a:pt x="230" y="149"/>
                    <a:pt x="252" y="154"/>
                  </a:cubicBezTo>
                  <a:cubicBezTo>
                    <a:pt x="259" y="155"/>
                    <a:pt x="270" y="153"/>
                    <a:pt x="273" y="148"/>
                  </a:cubicBezTo>
                  <a:cubicBezTo>
                    <a:pt x="297" y="119"/>
                    <a:pt x="318" y="88"/>
                    <a:pt x="342" y="5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4" name="Freeform 207">
              <a:extLst>
                <a:ext uri="{FF2B5EF4-FFF2-40B4-BE49-F238E27FC236}">
                  <a16:creationId xmlns:a16="http://schemas.microsoft.com/office/drawing/2014/main" id="{5C5E09C7-32F3-4325-AA8B-519376584CCA}"/>
                </a:ext>
              </a:extLst>
            </p:cNvPr>
            <p:cNvSpPr>
              <a:spLocks/>
            </p:cNvSpPr>
            <p:nvPr/>
          </p:nvSpPr>
          <p:spPr bwMode="auto">
            <a:xfrm>
              <a:off x="14008100" y="2244725"/>
              <a:ext cx="252413" cy="471487"/>
            </a:xfrm>
            <a:custGeom>
              <a:avLst/>
              <a:gdLst>
                <a:gd name="T0" fmla="*/ 2 w 67"/>
                <a:gd name="T1" fmla="*/ 78 h 125"/>
                <a:gd name="T2" fmla="*/ 27 w 67"/>
                <a:gd name="T3" fmla="*/ 81 h 125"/>
                <a:gd name="T4" fmla="*/ 37 w 67"/>
                <a:gd name="T5" fmla="*/ 74 h 125"/>
                <a:gd name="T6" fmla="*/ 31 w 67"/>
                <a:gd name="T7" fmla="*/ 63 h 125"/>
                <a:gd name="T8" fmla="*/ 20 w 67"/>
                <a:gd name="T9" fmla="*/ 56 h 125"/>
                <a:gd name="T10" fmla="*/ 20 w 67"/>
                <a:gd name="T11" fmla="*/ 17 h 125"/>
                <a:gd name="T12" fmla="*/ 45 w 67"/>
                <a:gd name="T13" fmla="*/ 0 h 125"/>
                <a:gd name="T14" fmla="*/ 51 w 67"/>
                <a:gd name="T15" fmla="*/ 11 h 125"/>
                <a:gd name="T16" fmla="*/ 63 w 67"/>
                <a:gd name="T17" fmla="*/ 17 h 125"/>
                <a:gd name="T18" fmla="*/ 64 w 67"/>
                <a:gd name="T19" fmla="*/ 23 h 125"/>
                <a:gd name="T20" fmla="*/ 48 w 67"/>
                <a:gd name="T21" fmla="*/ 27 h 125"/>
                <a:gd name="T22" fmla="*/ 30 w 67"/>
                <a:gd name="T23" fmla="*/ 32 h 125"/>
                <a:gd name="T24" fmla="*/ 40 w 67"/>
                <a:gd name="T25" fmla="*/ 46 h 125"/>
                <a:gd name="T26" fmla="*/ 39 w 67"/>
                <a:gd name="T27" fmla="*/ 95 h 125"/>
                <a:gd name="T28" fmla="*/ 35 w 67"/>
                <a:gd name="T29" fmla="*/ 97 h 125"/>
                <a:gd name="T30" fmla="*/ 0 w 67"/>
                <a:gd name="T31" fmla="*/ 91 h 125"/>
                <a:gd name="T32" fmla="*/ 2 w 67"/>
                <a:gd name="T33" fmla="*/ 78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7" h="125">
                  <a:moveTo>
                    <a:pt x="2" y="78"/>
                  </a:moveTo>
                  <a:cubicBezTo>
                    <a:pt x="11" y="80"/>
                    <a:pt x="19" y="82"/>
                    <a:pt x="27" y="81"/>
                  </a:cubicBezTo>
                  <a:cubicBezTo>
                    <a:pt x="31" y="81"/>
                    <a:pt x="36" y="78"/>
                    <a:pt x="37" y="74"/>
                  </a:cubicBezTo>
                  <a:cubicBezTo>
                    <a:pt x="38" y="71"/>
                    <a:pt x="34" y="66"/>
                    <a:pt x="31" y="63"/>
                  </a:cubicBezTo>
                  <a:cubicBezTo>
                    <a:pt x="28" y="60"/>
                    <a:pt x="23" y="59"/>
                    <a:pt x="20" y="56"/>
                  </a:cubicBezTo>
                  <a:cubicBezTo>
                    <a:pt x="4" y="46"/>
                    <a:pt x="5" y="27"/>
                    <a:pt x="20" y="17"/>
                  </a:cubicBezTo>
                  <a:cubicBezTo>
                    <a:pt x="28" y="12"/>
                    <a:pt x="35" y="7"/>
                    <a:pt x="45" y="0"/>
                  </a:cubicBezTo>
                  <a:cubicBezTo>
                    <a:pt x="47" y="3"/>
                    <a:pt x="48" y="8"/>
                    <a:pt x="51" y="11"/>
                  </a:cubicBezTo>
                  <a:cubicBezTo>
                    <a:pt x="54" y="14"/>
                    <a:pt x="59" y="15"/>
                    <a:pt x="63" y="17"/>
                  </a:cubicBezTo>
                  <a:cubicBezTo>
                    <a:pt x="64" y="19"/>
                    <a:pt x="64" y="21"/>
                    <a:pt x="64" y="23"/>
                  </a:cubicBezTo>
                  <a:cubicBezTo>
                    <a:pt x="59" y="24"/>
                    <a:pt x="53" y="26"/>
                    <a:pt x="48" y="27"/>
                  </a:cubicBezTo>
                  <a:cubicBezTo>
                    <a:pt x="42" y="29"/>
                    <a:pt x="36" y="30"/>
                    <a:pt x="30" y="32"/>
                  </a:cubicBezTo>
                  <a:cubicBezTo>
                    <a:pt x="33" y="37"/>
                    <a:pt x="36" y="43"/>
                    <a:pt x="40" y="46"/>
                  </a:cubicBezTo>
                  <a:cubicBezTo>
                    <a:pt x="67" y="63"/>
                    <a:pt x="66" y="81"/>
                    <a:pt x="39" y="95"/>
                  </a:cubicBezTo>
                  <a:cubicBezTo>
                    <a:pt x="38" y="96"/>
                    <a:pt x="36" y="96"/>
                    <a:pt x="35" y="97"/>
                  </a:cubicBezTo>
                  <a:cubicBezTo>
                    <a:pt x="18" y="125"/>
                    <a:pt x="13" y="88"/>
                    <a:pt x="0" y="91"/>
                  </a:cubicBezTo>
                  <a:cubicBezTo>
                    <a:pt x="1" y="87"/>
                    <a:pt x="2" y="82"/>
                    <a:pt x="2" y="7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5" name="Freeform 208">
              <a:extLst>
                <a:ext uri="{FF2B5EF4-FFF2-40B4-BE49-F238E27FC236}">
                  <a16:creationId xmlns:a16="http://schemas.microsoft.com/office/drawing/2014/main" id="{D563F915-5573-4D13-9E9E-4A166E1A1CE4}"/>
                </a:ext>
              </a:extLst>
            </p:cNvPr>
            <p:cNvSpPr>
              <a:spLocks/>
            </p:cNvSpPr>
            <p:nvPr/>
          </p:nvSpPr>
          <p:spPr bwMode="auto">
            <a:xfrm>
              <a:off x="14543088" y="2241550"/>
              <a:ext cx="296863" cy="414337"/>
            </a:xfrm>
            <a:custGeom>
              <a:avLst/>
              <a:gdLst>
                <a:gd name="T0" fmla="*/ 46 w 79"/>
                <a:gd name="T1" fmla="*/ 0 h 110"/>
                <a:gd name="T2" fmla="*/ 65 w 79"/>
                <a:gd name="T3" fmla="*/ 22 h 110"/>
                <a:gd name="T4" fmla="*/ 39 w 79"/>
                <a:gd name="T5" fmla="*/ 28 h 110"/>
                <a:gd name="T6" fmla="*/ 31 w 79"/>
                <a:gd name="T7" fmla="*/ 35 h 110"/>
                <a:gd name="T8" fmla="*/ 56 w 79"/>
                <a:gd name="T9" fmla="*/ 87 h 110"/>
                <a:gd name="T10" fmla="*/ 28 w 79"/>
                <a:gd name="T11" fmla="*/ 109 h 110"/>
                <a:gd name="T12" fmla="*/ 0 w 79"/>
                <a:gd name="T13" fmla="*/ 87 h 110"/>
                <a:gd name="T14" fmla="*/ 16 w 79"/>
                <a:gd name="T15" fmla="*/ 82 h 110"/>
                <a:gd name="T16" fmla="*/ 29 w 79"/>
                <a:gd name="T17" fmla="*/ 83 h 110"/>
                <a:gd name="T18" fmla="*/ 42 w 79"/>
                <a:gd name="T19" fmla="*/ 75 h 110"/>
                <a:gd name="T20" fmla="*/ 35 w 79"/>
                <a:gd name="T21" fmla="*/ 64 h 110"/>
                <a:gd name="T22" fmla="*/ 22 w 79"/>
                <a:gd name="T23" fmla="*/ 56 h 110"/>
                <a:gd name="T24" fmla="*/ 23 w 79"/>
                <a:gd name="T25" fmla="*/ 19 h 110"/>
                <a:gd name="T26" fmla="*/ 37 w 79"/>
                <a:gd name="T27" fmla="*/ 12 h 110"/>
                <a:gd name="T28" fmla="*/ 46 w 79"/>
                <a:gd name="T29"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9" h="110">
                  <a:moveTo>
                    <a:pt x="46" y="0"/>
                  </a:moveTo>
                  <a:cubicBezTo>
                    <a:pt x="53" y="9"/>
                    <a:pt x="66" y="16"/>
                    <a:pt x="65" y="22"/>
                  </a:cubicBezTo>
                  <a:cubicBezTo>
                    <a:pt x="63" y="40"/>
                    <a:pt x="47" y="22"/>
                    <a:pt x="39" y="28"/>
                  </a:cubicBezTo>
                  <a:cubicBezTo>
                    <a:pt x="37" y="30"/>
                    <a:pt x="35" y="32"/>
                    <a:pt x="31" y="35"/>
                  </a:cubicBezTo>
                  <a:cubicBezTo>
                    <a:pt x="42" y="52"/>
                    <a:pt x="79" y="57"/>
                    <a:pt x="56" y="87"/>
                  </a:cubicBezTo>
                  <a:cubicBezTo>
                    <a:pt x="49" y="97"/>
                    <a:pt x="39" y="106"/>
                    <a:pt x="28" y="109"/>
                  </a:cubicBezTo>
                  <a:cubicBezTo>
                    <a:pt x="22" y="110"/>
                    <a:pt x="12" y="97"/>
                    <a:pt x="0" y="87"/>
                  </a:cubicBezTo>
                  <a:cubicBezTo>
                    <a:pt x="6" y="85"/>
                    <a:pt x="11" y="82"/>
                    <a:pt x="16" y="82"/>
                  </a:cubicBezTo>
                  <a:cubicBezTo>
                    <a:pt x="20" y="81"/>
                    <a:pt x="25" y="84"/>
                    <a:pt x="29" y="83"/>
                  </a:cubicBezTo>
                  <a:cubicBezTo>
                    <a:pt x="34" y="82"/>
                    <a:pt x="39" y="79"/>
                    <a:pt x="42" y="75"/>
                  </a:cubicBezTo>
                  <a:cubicBezTo>
                    <a:pt x="43" y="74"/>
                    <a:pt x="38" y="67"/>
                    <a:pt x="35" y="64"/>
                  </a:cubicBezTo>
                  <a:cubicBezTo>
                    <a:pt x="31" y="61"/>
                    <a:pt x="26" y="59"/>
                    <a:pt x="22" y="56"/>
                  </a:cubicBezTo>
                  <a:cubicBezTo>
                    <a:pt x="8" y="44"/>
                    <a:pt x="8" y="29"/>
                    <a:pt x="23" y="19"/>
                  </a:cubicBezTo>
                  <a:cubicBezTo>
                    <a:pt x="27" y="16"/>
                    <a:pt x="33" y="15"/>
                    <a:pt x="37" y="12"/>
                  </a:cubicBezTo>
                  <a:cubicBezTo>
                    <a:pt x="40" y="9"/>
                    <a:pt x="43" y="5"/>
                    <a:pt x="4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6" name="Freeform 209">
              <a:extLst>
                <a:ext uri="{FF2B5EF4-FFF2-40B4-BE49-F238E27FC236}">
                  <a16:creationId xmlns:a16="http://schemas.microsoft.com/office/drawing/2014/main" id="{6E981E14-BD55-4AF1-A0CC-7B276B3C2EE9}"/>
                </a:ext>
              </a:extLst>
            </p:cNvPr>
            <p:cNvSpPr>
              <a:spLocks/>
            </p:cNvSpPr>
            <p:nvPr/>
          </p:nvSpPr>
          <p:spPr bwMode="auto">
            <a:xfrm>
              <a:off x="14276388" y="2244725"/>
              <a:ext cx="247650" cy="411162"/>
            </a:xfrm>
            <a:custGeom>
              <a:avLst/>
              <a:gdLst>
                <a:gd name="T0" fmla="*/ 30 w 66"/>
                <a:gd name="T1" fmla="*/ 38 h 109"/>
                <a:gd name="T2" fmla="*/ 51 w 66"/>
                <a:gd name="T3" fmla="*/ 52 h 109"/>
                <a:gd name="T4" fmla="*/ 49 w 66"/>
                <a:gd name="T5" fmla="*/ 92 h 109"/>
                <a:gd name="T6" fmla="*/ 30 w 66"/>
                <a:gd name="T7" fmla="*/ 107 h 109"/>
                <a:gd name="T8" fmla="*/ 25 w 66"/>
                <a:gd name="T9" fmla="*/ 109 h 109"/>
                <a:gd name="T10" fmla="*/ 19 w 66"/>
                <a:gd name="T11" fmla="*/ 105 h 109"/>
                <a:gd name="T12" fmla="*/ 0 w 66"/>
                <a:gd name="T13" fmla="*/ 83 h 109"/>
                <a:gd name="T14" fmla="*/ 5 w 66"/>
                <a:gd name="T15" fmla="*/ 78 h 109"/>
                <a:gd name="T16" fmla="*/ 12 w 66"/>
                <a:gd name="T17" fmla="*/ 79 h 109"/>
                <a:gd name="T18" fmla="*/ 39 w 66"/>
                <a:gd name="T19" fmla="*/ 76 h 109"/>
                <a:gd name="T20" fmla="*/ 23 w 66"/>
                <a:gd name="T21" fmla="*/ 57 h 109"/>
                <a:gd name="T22" fmla="*/ 24 w 66"/>
                <a:gd name="T23" fmla="*/ 16 h 109"/>
                <a:gd name="T24" fmla="*/ 46 w 66"/>
                <a:gd name="T25" fmla="*/ 0 h 109"/>
                <a:gd name="T26" fmla="*/ 54 w 66"/>
                <a:gd name="T27" fmla="*/ 12 h 109"/>
                <a:gd name="T28" fmla="*/ 66 w 66"/>
                <a:gd name="T29" fmla="*/ 17 h 109"/>
                <a:gd name="T30" fmla="*/ 66 w 66"/>
                <a:gd name="T31" fmla="*/ 23 h 109"/>
                <a:gd name="T32" fmla="*/ 30 w 66"/>
                <a:gd name="T33" fmla="*/ 31 h 109"/>
                <a:gd name="T34" fmla="*/ 30 w 66"/>
                <a:gd name="T35" fmla="*/ 38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6" h="109">
                  <a:moveTo>
                    <a:pt x="30" y="38"/>
                  </a:moveTo>
                  <a:cubicBezTo>
                    <a:pt x="37" y="43"/>
                    <a:pt x="45" y="47"/>
                    <a:pt x="51" y="52"/>
                  </a:cubicBezTo>
                  <a:cubicBezTo>
                    <a:pt x="66" y="64"/>
                    <a:pt x="65" y="81"/>
                    <a:pt x="49" y="92"/>
                  </a:cubicBezTo>
                  <a:cubicBezTo>
                    <a:pt x="42" y="96"/>
                    <a:pt x="36" y="102"/>
                    <a:pt x="30" y="107"/>
                  </a:cubicBezTo>
                  <a:cubicBezTo>
                    <a:pt x="28" y="108"/>
                    <a:pt x="26" y="109"/>
                    <a:pt x="25" y="109"/>
                  </a:cubicBezTo>
                  <a:cubicBezTo>
                    <a:pt x="23" y="109"/>
                    <a:pt x="20" y="107"/>
                    <a:pt x="19" y="105"/>
                  </a:cubicBezTo>
                  <a:cubicBezTo>
                    <a:pt x="13" y="98"/>
                    <a:pt x="7" y="90"/>
                    <a:pt x="0" y="83"/>
                  </a:cubicBezTo>
                  <a:cubicBezTo>
                    <a:pt x="2" y="81"/>
                    <a:pt x="3" y="80"/>
                    <a:pt x="5" y="78"/>
                  </a:cubicBezTo>
                  <a:cubicBezTo>
                    <a:pt x="7" y="79"/>
                    <a:pt x="10" y="80"/>
                    <a:pt x="12" y="79"/>
                  </a:cubicBezTo>
                  <a:cubicBezTo>
                    <a:pt x="21" y="78"/>
                    <a:pt x="30" y="77"/>
                    <a:pt x="39" y="76"/>
                  </a:cubicBezTo>
                  <a:cubicBezTo>
                    <a:pt x="34" y="70"/>
                    <a:pt x="29" y="62"/>
                    <a:pt x="23" y="57"/>
                  </a:cubicBezTo>
                  <a:cubicBezTo>
                    <a:pt x="5" y="44"/>
                    <a:pt x="6" y="27"/>
                    <a:pt x="24" y="16"/>
                  </a:cubicBezTo>
                  <a:cubicBezTo>
                    <a:pt x="31" y="11"/>
                    <a:pt x="38" y="6"/>
                    <a:pt x="46" y="0"/>
                  </a:cubicBezTo>
                  <a:cubicBezTo>
                    <a:pt x="49" y="4"/>
                    <a:pt x="50" y="9"/>
                    <a:pt x="54" y="12"/>
                  </a:cubicBezTo>
                  <a:cubicBezTo>
                    <a:pt x="57" y="15"/>
                    <a:pt x="62" y="15"/>
                    <a:pt x="66" y="17"/>
                  </a:cubicBezTo>
                  <a:cubicBezTo>
                    <a:pt x="66" y="19"/>
                    <a:pt x="66" y="21"/>
                    <a:pt x="66" y="23"/>
                  </a:cubicBezTo>
                  <a:cubicBezTo>
                    <a:pt x="54" y="26"/>
                    <a:pt x="42" y="29"/>
                    <a:pt x="30" y="31"/>
                  </a:cubicBezTo>
                  <a:cubicBezTo>
                    <a:pt x="30" y="34"/>
                    <a:pt x="30" y="36"/>
                    <a:pt x="30" y="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7" name="Freeform 210">
              <a:extLst>
                <a:ext uri="{FF2B5EF4-FFF2-40B4-BE49-F238E27FC236}">
                  <a16:creationId xmlns:a16="http://schemas.microsoft.com/office/drawing/2014/main" id="{9AFAAE3A-D61E-46B2-8FFA-4153470DCD4C}"/>
                </a:ext>
              </a:extLst>
            </p:cNvPr>
            <p:cNvSpPr>
              <a:spLocks/>
            </p:cNvSpPr>
            <p:nvPr/>
          </p:nvSpPr>
          <p:spPr bwMode="auto">
            <a:xfrm>
              <a:off x="13439775" y="3779838"/>
              <a:ext cx="222250" cy="214312"/>
            </a:xfrm>
            <a:custGeom>
              <a:avLst/>
              <a:gdLst>
                <a:gd name="T0" fmla="*/ 55 w 59"/>
                <a:gd name="T1" fmla="*/ 57 h 57"/>
                <a:gd name="T2" fmla="*/ 7 w 59"/>
                <a:gd name="T3" fmla="*/ 20 h 57"/>
                <a:gd name="T4" fmla="*/ 0 w 59"/>
                <a:gd name="T5" fmla="*/ 5 h 57"/>
                <a:gd name="T6" fmla="*/ 16 w 59"/>
                <a:gd name="T7" fmla="*/ 0 h 57"/>
                <a:gd name="T8" fmla="*/ 55 w 59"/>
                <a:gd name="T9" fmla="*/ 57 h 57"/>
              </a:gdLst>
              <a:ahLst/>
              <a:cxnLst>
                <a:cxn ang="0">
                  <a:pos x="T0" y="T1"/>
                </a:cxn>
                <a:cxn ang="0">
                  <a:pos x="T2" y="T3"/>
                </a:cxn>
                <a:cxn ang="0">
                  <a:pos x="T4" y="T5"/>
                </a:cxn>
                <a:cxn ang="0">
                  <a:pos x="T6" y="T7"/>
                </a:cxn>
                <a:cxn ang="0">
                  <a:pos x="T8" y="T9"/>
                </a:cxn>
              </a:cxnLst>
              <a:rect l="0" t="0" r="r" b="b"/>
              <a:pathLst>
                <a:path w="59" h="57">
                  <a:moveTo>
                    <a:pt x="55" y="57"/>
                  </a:moveTo>
                  <a:cubicBezTo>
                    <a:pt x="37" y="43"/>
                    <a:pt x="22" y="32"/>
                    <a:pt x="7" y="20"/>
                  </a:cubicBezTo>
                  <a:cubicBezTo>
                    <a:pt x="3" y="16"/>
                    <a:pt x="2" y="10"/>
                    <a:pt x="0" y="5"/>
                  </a:cubicBezTo>
                  <a:cubicBezTo>
                    <a:pt x="5" y="3"/>
                    <a:pt x="11" y="0"/>
                    <a:pt x="16" y="0"/>
                  </a:cubicBezTo>
                  <a:cubicBezTo>
                    <a:pt x="55" y="1"/>
                    <a:pt x="59" y="7"/>
                    <a:pt x="55" y="5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8" name="Freeform 211">
              <a:extLst>
                <a:ext uri="{FF2B5EF4-FFF2-40B4-BE49-F238E27FC236}">
                  <a16:creationId xmlns:a16="http://schemas.microsoft.com/office/drawing/2014/main" id="{B4872260-E0D6-4453-B2AA-C96A693C6566}"/>
                </a:ext>
              </a:extLst>
            </p:cNvPr>
            <p:cNvSpPr>
              <a:spLocks/>
            </p:cNvSpPr>
            <p:nvPr/>
          </p:nvSpPr>
          <p:spPr bwMode="auto">
            <a:xfrm>
              <a:off x="13911263" y="3746500"/>
              <a:ext cx="123825" cy="236537"/>
            </a:xfrm>
            <a:custGeom>
              <a:avLst/>
              <a:gdLst>
                <a:gd name="T0" fmla="*/ 0 w 33"/>
                <a:gd name="T1" fmla="*/ 59 h 63"/>
                <a:gd name="T2" fmla="*/ 3 w 33"/>
                <a:gd name="T3" fmla="*/ 0 h 63"/>
                <a:gd name="T4" fmla="*/ 32 w 33"/>
                <a:gd name="T5" fmla="*/ 24 h 63"/>
                <a:gd name="T6" fmla="*/ 6 w 33"/>
                <a:gd name="T7" fmla="*/ 63 h 63"/>
                <a:gd name="T8" fmla="*/ 0 w 33"/>
                <a:gd name="T9" fmla="*/ 59 h 63"/>
              </a:gdLst>
              <a:ahLst/>
              <a:cxnLst>
                <a:cxn ang="0">
                  <a:pos x="T0" y="T1"/>
                </a:cxn>
                <a:cxn ang="0">
                  <a:pos x="T2" y="T3"/>
                </a:cxn>
                <a:cxn ang="0">
                  <a:pos x="T4" y="T5"/>
                </a:cxn>
                <a:cxn ang="0">
                  <a:pos x="T6" y="T7"/>
                </a:cxn>
                <a:cxn ang="0">
                  <a:pos x="T8" y="T9"/>
                </a:cxn>
              </a:cxnLst>
              <a:rect l="0" t="0" r="r" b="b"/>
              <a:pathLst>
                <a:path w="33" h="63">
                  <a:moveTo>
                    <a:pt x="0" y="59"/>
                  </a:moveTo>
                  <a:cubicBezTo>
                    <a:pt x="1" y="42"/>
                    <a:pt x="2" y="25"/>
                    <a:pt x="3" y="0"/>
                  </a:cubicBezTo>
                  <a:cubicBezTo>
                    <a:pt x="15" y="10"/>
                    <a:pt x="33" y="21"/>
                    <a:pt x="32" y="24"/>
                  </a:cubicBezTo>
                  <a:cubicBezTo>
                    <a:pt x="26" y="38"/>
                    <a:pt x="15" y="50"/>
                    <a:pt x="6" y="63"/>
                  </a:cubicBezTo>
                  <a:cubicBezTo>
                    <a:pt x="4" y="62"/>
                    <a:pt x="2" y="60"/>
                    <a:pt x="0"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09" name="Freeform 42">
            <a:extLst>
              <a:ext uri="{FF2B5EF4-FFF2-40B4-BE49-F238E27FC236}">
                <a16:creationId xmlns:a16="http://schemas.microsoft.com/office/drawing/2014/main" id="{EE4A3BF5-C585-4777-A7E2-40508F1E31FA}"/>
              </a:ext>
            </a:extLst>
          </p:cNvPr>
          <p:cNvSpPr/>
          <p:nvPr/>
        </p:nvSpPr>
        <p:spPr>
          <a:xfrm>
            <a:off x="7839904" y="3984552"/>
            <a:ext cx="900000" cy="900000"/>
          </a:xfrm>
          <a:custGeom>
            <a:avLst/>
            <a:gdLst>
              <a:gd name="connsiteX0" fmla="*/ 0 w 1489979"/>
              <a:gd name="connsiteY0" fmla="*/ 744990 h 1489979"/>
              <a:gd name="connsiteX1" fmla="*/ 744990 w 1489979"/>
              <a:gd name="connsiteY1" fmla="*/ 0 h 1489979"/>
              <a:gd name="connsiteX2" fmla="*/ 1489980 w 1489979"/>
              <a:gd name="connsiteY2" fmla="*/ 744990 h 1489979"/>
              <a:gd name="connsiteX3" fmla="*/ 744990 w 1489979"/>
              <a:gd name="connsiteY3" fmla="*/ 1489980 h 1489979"/>
              <a:gd name="connsiteX4" fmla="*/ 0 w 1489979"/>
              <a:gd name="connsiteY4" fmla="*/ 744990 h 14899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89979" h="1489979">
                <a:moveTo>
                  <a:pt x="0" y="744990"/>
                </a:moveTo>
                <a:cubicBezTo>
                  <a:pt x="0" y="333543"/>
                  <a:pt x="333543" y="0"/>
                  <a:pt x="744990" y="0"/>
                </a:cubicBezTo>
                <a:cubicBezTo>
                  <a:pt x="1156437" y="0"/>
                  <a:pt x="1489980" y="333543"/>
                  <a:pt x="1489980" y="744990"/>
                </a:cubicBezTo>
                <a:cubicBezTo>
                  <a:pt x="1489980" y="1156437"/>
                  <a:pt x="1156437" y="1489980"/>
                  <a:pt x="744990" y="1489980"/>
                </a:cubicBezTo>
                <a:cubicBezTo>
                  <a:pt x="333543" y="1489980"/>
                  <a:pt x="0" y="1156437"/>
                  <a:pt x="0" y="744990"/>
                </a:cubicBezTo>
                <a:close/>
              </a:path>
            </a:pathLst>
          </a:custGeom>
          <a:solidFill>
            <a:srgbClr val="FFFFFF"/>
          </a:solidFill>
          <a:ln w="25400" cap="flat" cmpd="sng" algn="ctr">
            <a:noFill/>
            <a:prstDash val="solid"/>
          </a:ln>
          <a:effectLst/>
        </p:spPr>
        <p:txBody>
          <a:bodyPr spcFirstLastPara="0" vert="horz" wrap="square" lIns="239157" tIns="239157" rIns="239157" bIns="239157" numCol="1" spcCol="1270" anchor="ctr" anchorCtr="0">
            <a:noAutofit/>
          </a:bodyPr>
          <a:lstStyle/>
          <a:p>
            <a:pPr marL="0" marR="0" lvl="0" indent="0" algn="ctr" defTabSz="1466850" eaLnBrk="1" fontAlgn="auto" latinLnBrk="0" hangingPunct="1">
              <a:lnSpc>
                <a:spcPct val="90000"/>
              </a:lnSpc>
              <a:spcBef>
                <a:spcPts val="0"/>
              </a:spcBef>
              <a:spcAft>
                <a:spcPct val="35000"/>
              </a:spcAft>
              <a:buClrTx/>
              <a:buSzTx/>
              <a:buFontTx/>
              <a:buNone/>
              <a:tabLst/>
              <a:defRPr/>
            </a:pPr>
            <a:endParaRPr kumimoji="0" lang="en-GB" sz="3300" b="0" i="0" u="none" strike="noStrike" kern="0" cap="none" spc="0" normalizeH="0" baseline="0" noProof="0">
              <a:ln>
                <a:noFill/>
              </a:ln>
              <a:solidFill>
                <a:srgbClr val="646464"/>
              </a:solidFill>
              <a:effectLst/>
              <a:uLnTx/>
              <a:uFillTx/>
              <a:latin typeface="EYInterstate Light"/>
              <a:ea typeface="+mn-ea"/>
              <a:cs typeface="+mn-cs"/>
            </a:endParaRPr>
          </a:p>
        </p:txBody>
      </p:sp>
      <p:grpSp>
        <p:nvGrpSpPr>
          <p:cNvPr id="163" name="Group 162">
            <a:extLst>
              <a:ext uri="{FF2B5EF4-FFF2-40B4-BE49-F238E27FC236}">
                <a16:creationId xmlns:a16="http://schemas.microsoft.com/office/drawing/2014/main" id="{0B7FF4FA-DC63-435E-8CE0-FFD73E081BF2}"/>
              </a:ext>
            </a:extLst>
          </p:cNvPr>
          <p:cNvGrpSpPr/>
          <p:nvPr/>
        </p:nvGrpSpPr>
        <p:grpSpPr>
          <a:xfrm>
            <a:off x="8023214" y="4175763"/>
            <a:ext cx="543477" cy="571766"/>
            <a:chOff x="-2922588" y="2241550"/>
            <a:chExt cx="2012950" cy="2117725"/>
          </a:xfrm>
          <a:solidFill>
            <a:srgbClr val="C7EFCE"/>
          </a:solidFill>
        </p:grpSpPr>
        <p:sp>
          <p:nvSpPr>
            <p:cNvPr id="164" name="Freeform 83">
              <a:extLst>
                <a:ext uri="{FF2B5EF4-FFF2-40B4-BE49-F238E27FC236}">
                  <a16:creationId xmlns:a16="http://schemas.microsoft.com/office/drawing/2014/main" id="{40FE1BDC-B90F-4F7B-8027-D67BDA8E0943}"/>
                </a:ext>
              </a:extLst>
            </p:cNvPr>
            <p:cNvSpPr>
              <a:spLocks noEditPoints="1"/>
            </p:cNvSpPr>
            <p:nvPr/>
          </p:nvSpPr>
          <p:spPr bwMode="auto">
            <a:xfrm>
              <a:off x="-2922588" y="2241550"/>
              <a:ext cx="2012950" cy="2117725"/>
            </a:xfrm>
            <a:custGeom>
              <a:avLst/>
              <a:gdLst>
                <a:gd name="T0" fmla="*/ 267 w 535"/>
                <a:gd name="T1" fmla="*/ 563 h 563"/>
                <a:gd name="T2" fmla="*/ 120 w 535"/>
                <a:gd name="T3" fmla="*/ 446 h 563"/>
                <a:gd name="T4" fmla="*/ 53 w 535"/>
                <a:gd name="T5" fmla="*/ 330 h 563"/>
                <a:gd name="T6" fmla="*/ 0 w 535"/>
                <a:gd name="T7" fmla="*/ 60 h 563"/>
                <a:gd name="T8" fmla="*/ 141 w 535"/>
                <a:gd name="T9" fmla="*/ 59 h 563"/>
                <a:gd name="T10" fmla="*/ 267 w 535"/>
                <a:gd name="T11" fmla="*/ 0 h 563"/>
                <a:gd name="T12" fmla="*/ 405 w 535"/>
                <a:gd name="T13" fmla="*/ 61 h 563"/>
                <a:gd name="T14" fmla="*/ 535 w 535"/>
                <a:gd name="T15" fmla="*/ 62 h 563"/>
                <a:gd name="T16" fmla="*/ 505 w 535"/>
                <a:gd name="T17" fmla="*/ 200 h 563"/>
                <a:gd name="T18" fmla="*/ 473 w 535"/>
                <a:gd name="T19" fmla="*/ 354 h 563"/>
                <a:gd name="T20" fmla="*/ 406 w 535"/>
                <a:gd name="T21" fmla="*/ 453 h 563"/>
                <a:gd name="T22" fmla="*/ 267 w 535"/>
                <a:gd name="T23" fmla="*/ 563 h 563"/>
                <a:gd name="T24" fmla="*/ 267 w 535"/>
                <a:gd name="T25" fmla="*/ 521 h 563"/>
                <a:gd name="T26" fmla="*/ 376 w 535"/>
                <a:gd name="T27" fmla="*/ 434 h 563"/>
                <a:gd name="T28" fmla="*/ 453 w 535"/>
                <a:gd name="T29" fmla="*/ 306 h 563"/>
                <a:gd name="T30" fmla="*/ 482 w 535"/>
                <a:gd name="T31" fmla="*/ 155 h 563"/>
                <a:gd name="T32" fmla="*/ 495 w 535"/>
                <a:gd name="T33" fmla="*/ 93 h 563"/>
                <a:gd name="T34" fmla="*/ 266 w 535"/>
                <a:gd name="T35" fmla="*/ 45 h 563"/>
                <a:gd name="T36" fmla="*/ 158 w 535"/>
                <a:gd name="T37" fmla="*/ 91 h 563"/>
                <a:gd name="T38" fmla="*/ 39 w 535"/>
                <a:gd name="T39" fmla="*/ 92 h 563"/>
                <a:gd name="T40" fmla="*/ 42 w 535"/>
                <a:gd name="T41" fmla="*/ 112 h 563"/>
                <a:gd name="T42" fmla="*/ 78 w 535"/>
                <a:gd name="T43" fmla="*/ 292 h 563"/>
                <a:gd name="T44" fmla="*/ 138 w 535"/>
                <a:gd name="T45" fmla="*/ 417 h 563"/>
                <a:gd name="T46" fmla="*/ 267 w 535"/>
                <a:gd name="T47" fmla="*/ 521 h 5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35" h="563">
                  <a:moveTo>
                    <a:pt x="267" y="563"/>
                  </a:moveTo>
                  <a:cubicBezTo>
                    <a:pt x="217" y="523"/>
                    <a:pt x="168" y="485"/>
                    <a:pt x="120" y="446"/>
                  </a:cubicBezTo>
                  <a:cubicBezTo>
                    <a:pt x="84" y="416"/>
                    <a:pt x="63" y="376"/>
                    <a:pt x="53" y="330"/>
                  </a:cubicBezTo>
                  <a:cubicBezTo>
                    <a:pt x="34" y="240"/>
                    <a:pt x="18" y="149"/>
                    <a:pt x="0" y="60"/>
                  </a:cubicBezTo>
                  <a:cubicBezTo>
                    <a:pt x="46" y="60"/>
                    <a:pt x="94" y="64"/>
                    <a:pt x="141" y="59"/>
                  </a:cubicBezTo>
                  <a:cubicBezTo>
                    <a:pt x="189" y="54"/>
                    <a:pt x="236" y="42"/>
                    <a:pt x="267" y="0"/>
                  </a:cubicBezTo>
                  <a:cubicBezTo>
                    <a:pt x="302" y="45"/>
                    <a:pt x="354" y="55"/>
                    <a:pt x="405" y="61"/>
                  </a:cubicBezTo>
                  <a:cubicBezTo>
                    <a:pt x="448" y="65"/>
                    <a:pt x="491" y="62"/>
                    <a:pt x="535" y="62"/>
                  </a:cubicBezTo>
                  <a:cubicBezTo>
                    <a:pt x="526" y="106"/>
                    <a:pt x="515" y="153"/>
                    <a:pt x="505" y="200"/>
                  </a:cubicBezTo>
                  <a:cubicBezTo>
                    <a:pt x="494" y="251"/>
                    <a:pt x="486" y="303"/>
                    <a:pt x="473" y="354"/>
                  </a:cubicBezTo>
                  <a:cubicBezTo>
                    <a:pt x="463" y="394"/>
                    <a:pt x="438" y="427"/>
                    <a:pt x="406" y="453"/>
                  </a:cubicBezTo>
                  <a:cubicBezTo>
                    <a:pt x="360" y="489"/>
                    <a:pt x="314" y="526"/>
                    <a:pt x="267" y="563"/>
                  </a:cubicBezTo>
                  <a:close/>
                  <a:moveTo>
                    <a:pt x="267" y="521"/>
                  </a:moveTo>
                  <a:cubicBezTo>
                    <a:pt x="304" y="491"/>
                    <a:pt x="339" y="462"/>
                    <a:pt x="376" y="434"/>
                  </a:cubicBezTo>
                  <a:cubicBezTo>
                    <a:pt x="420" y="402"/>
                    <a:pt x="443" y="358"/>
                    <a:pt x="453" y="306"/>
                  </a:cubicBezTo>
                  <a:cubicBezTo>
                    <a:pt x="463" y="256"/>
                    <a:pt x="472" y="205"/>
                    <a:pt x="482" y="155"/>
                  </a:cubicBezTo>
                  <a:cubicBezTo>
                    <a:pt x="486" y="134"/>
                    <a:pt x="491" y="114"/>
                    <a:pt x="495" y="93"/>
                  </a:cubicBezTo>
                  <a:cubicBezTo>
                    <a:pt x="370" y="100"/>
                    <a:pt x="326" y="91"/>
                    <a:pt x="266" y="45"/>
                  </a:cubicBezTo>
                  <a:cubicBezTo>
                    <a:pt x="237" y="76"/>
                    <a:pt x="198" y="88"/>
                    <a:pt x="158" y="91"/>
                  </a:cubicBezTo>
                  <a:cubicBezTo>
                    <a:pt x="119" y="95"/>
                    <a:pt x="80" y="92"/>
                    <a:pt x="39" y="92"/>
                  </a:cubicBezTo>
                  <a:cubicBezTo>
                    <a:pt x="40" y="100"/>
                    <a:pt x="41" y="106"/>
                    <a:pt x="42" y="112"/>
                  </a:cubicBezTo>
                  <a:cubicBezTo>
                    <a:pt x="54" y="172"/>
                    <a:pt x="67" y="232"/>
                    <a:pt x="78" y="292"/>
                  </a:cubicBezTo>
                  <a:cubicBezTo>
                    <a:pt x="87" y="339"/>
                    <a:pt x="101" y="385"/>
                    <a:pt x="138" y="417"/>
                  </a:cubicBezTo>
                  <a:cubicBezTo>
                    <a:pt x="179" y="453"/>
                    <a:pt x="223" y="485"/>
                    <a:pt x="267" y="5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EYInterstate Light"/>
              </a:endParaRPr>
            </a:p>
          </p:txBody>
        </p:sp>
        <p:sp>
          <p:nvSpPr>
            <p:cNvPr id="165" name="Freeform 85">
              <a:extLst>
                <a:ext uri="{FF2B5EF4-FFF2-40B4-BE49-F238E27FC236}">
                  <a16:creationId xmlns:a16="http://schemas.microsoft.com/office/drawing/2014/main" id="{CDFB45F3-D9DC-4A74-8447-2A6BEDA9F1BD}"/>
                </a:ext>
              </a:extLst>
            </p:cNvPr>
            <p:cNvSpPr>
              <a:spLocks noEditPoints="1"/>
            </p:cNvSpPr>
            <p:nvPr/>
          </p:nvSpPr>
          <p:spPr bwMode="auto">
            <a:xfrm>
              <a:off x="-2309813" y="2714625"/>
              <a:ext cx="782638" cy="1103312"/>
            </a:xfrm>
            <a:custGeom>
              <a:avLst/>
              <a:gdLst>
                <a:gd name="T0" fmla="*/ 30 w 208"/>
                <a:gd name="T1" fmla="*/ 114 h 293"/>
                <a:gd name="T2" fmla="*/ 30 w 208"/>
                <a:gd name="T3" fmla="*/ 71 h 293"/>
                <a:gd name="T4" fmla="*/ 105 w 208"/>
                <a:gd name="T5" fmla="*/ 0 h 293"/>
                <a:gd name="T6" fmla="*/ 178 w 208"/>
                <a:gd name="T7" fmla="*/ 71 h 293"/>
                <a:gd name="T8" fmla="*/ 178 w 208"/>
                <a:gd name="T9" fmla="*/ 114 h 293"/>
                <a:gd name="T10" fmla="*/ 206 w 208"/>
                <a:gd name="T11" fmla="*/ 151 h 293"/>
                <a:gd name="T12" fmla="*/ 203 w 208"/>
                <a:gd name="T13" fmla="*/ 209 h 293"/>
                <a:gd name="T14" fmla="*/ 93 w 208"/>
                <a:gd name="T15" fmla="*/ 289 h 293"/>
                <a:gd name="T16" fmla="*/ 2 w 208"/>
                <a:gd name="T17" fmla="*/ 192 h 293"/>
                <a:gd name="T18" fmla="*/ 2 w 208"/>
                <a:gd name="T19" fmla="*/ 152 h 293"/>
                <a:gd name="T20" fmla="*/ 30 w 208"/>
                <a:gd name="T21" fmla="*/ 114 h 293"/>
                <a:gd name="T22" fmla="*/ 154 w 208"/>
                <a:gd name="T23" fmla="*/ 115 h 293"/>
                <a:gd name="T24" fmla="*/ 129 w 208"/>
                <a:gd name="T25" fmla="*/ 31 h 293"/>
                <a:gd name="T26" fmla="*/ 72 w 208"/>
                <a:gd name="T27" fmla="*/ 36 h 293"/>
                <a:gd name="T28" fmla="*/ 54 w 208"/>
                <a:gd name="T29" fmla="*/ 115 h 293"/>
                <a:gd name="T30" fmla="*/ 154 w 208"/>
                <a:gd name="T31" fmla="*/ 115 h 293"/>
                <a:gd name="T32" fmla="*/ 125 w 208"/>
                <a:gd name="T33" fmla="*/ 183 h 293"/>
                <a:gd name="T34" fmla="*/ 112 w 208"/>
                <a:gd name="T35" fmla="*/ 169 h 293"/>
                <a:gd name="T36" fmla="*/ 91 w 208"/>
                <a:gd name="T37" fmla="*/ 173 h 293"/>
                <a:gd name="T38" fmla="*/ 85 w 208"/>
                <a:gd name="T39" fmla="*/ 196 h 293"/>
                <a:gd name="T40" fmla="*/ 95 w 208"/>
                <a:gd name="T41" fmla="*/ 228 h 293"/>
                <a:gd name="T42" fmla="*/ 103 w 208"/>
                <a:gd name="T43" fmla="*/ 238 h 293"/>
                <a:gd name="T44" fmla="*/ 111 w 208"/>
                <a:gd name="T45" fmla="*/ 234 h 293"/>
                <a:gd name="T46" fmla="*/ 125 w 208"/>
                <a:gd name="T47" fmla="*/ 183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08" h="293">
                  <a:moveTo>
                    <a:pt x="30" y="114"/>
                  </a:moveTo>
                  <a:cubicBezTo>
                    <a:pt x="30" y="99"/>
                    <a:pt x="30" y="85"/>
                    <a:pt x="30" y="71"/>
                  </a:cubicBezTo>
                  <a:cubicBezTo>
                    <a:pt x="32" y="32"/>
                    <a:pt x="65" y="0"/>
                    <a:pt x="105" y="0"/>
                  </a:cubicBezTo>
                  <a:cubicBezTo>
                    <a:pt x="143" y="1"/>
                    <a:pt x="176" y="32"/>
                    <a:pt x="178" y="71"/>
                  </a:cubicBezTo>
                  <a:cubicBezTo>
                    <a:pt x="179" y="85"/>
                    <a:pt x="178" y="99"/>
                    <a:pt x="178" y="114"/>
                  </a:cubicBezTo>
                  <a:cubicBezTo>
                    <a:pt x="202" y="116"/>
                    <a:pt x="208" y="131"/>
                    <a:pt x="206" y="151"/>
                  </a:cubicBezTo>
                  <a:cubicBezTo>
                    <a:pt x="205" y="171"/>
                    <a:pt x="207" y="190"/>
                    <a:pt x="203" y="209"/>
                  </a:cubicBezTo>
                  <a:cubicBezTo>
                    <a:pt x="193" y="262"/>
                    <a:pt x="148" y="293"/>
                    <a:pt x="93" y="289"/>
                  </a:cubicBezTo>
                  <a:cubicBezTo>
                    <a:pt x="44" y="285"/>
                    <a:pt x="4" y="243"/>
                    <a:pt x="2" y="192"/>
                  </a:cubicBezTo>
                  <a:cubicBezTo>
                    <a:pt x="1" y="178"/>
                    <a:pt x="3" y="165"/>
                    <a:pt x="2" y="152"/>
                  </a:cubicBezTo>
                  <a:cubicBezTo>
                    <a:pt x="0" y="131"/>
                    <a:pt x="6" y="116"/>
                    <a:pt x="30" y="114"/>
                  </a:cubicBezTo>
                  <a:close/>
                  <a:moveTo>
                    <a:pt x="154" y="115"/>
                  </a:moveTo>
                  <a:cubicBezTo>
                    <a:pt x="154" y="83"/>
                    <a:pt x="163" y="51"/>
                    <a:pt x="129" y="31"/>
                  </a:cubicBezTo>
                  <a:cubicBezTo>
                    <a:pt x="111" y="20"/>
                    <a:pt x="88" y="22"/>
                    <a:pt x="72" y="36"/>
                  </a:cubicBezTo>
                  <a:cubicBezTo>
                    <a:pt x="45" y="58"/>
                    <a:pt x="54" y="87"/>
                    <a:pt x="54" y="115"/>
                  </a:cubicBezTo>
                  <a:cubicBezTo>
                    <a:pt x="88" y="115"/>
                    <a:pt x="120" y="115"/>
                    <a:pt x="154" y="115"/>
                  </a:cubicBezTo>
                  <a:close/>
                  <a:moveTo>
                    <a:pt x="125" y="183"/>
                  </a:moveTo>
                  <a:cubicBezTo>
                    <a:pt x="123" y="181"/>
                    <a:pt x="118" y="172"/>
                    <a:pt x="112" y="169"/>
                  </a:cubicBezTo>
                  <a:cubicBezTo>
                    <a:pt x="106" y="167"/>
                    <a:pt x="95" y="169"/>
                    <a:pt x="91" y="173"/>
                  </a:cubicBezTo>
                  <a:cubicBezTo>
                    <a:pt x="86" y="178"/>
                    <a:pt x="84" y="188"/>
                    <a:pt x="85" y="196"/>
                  </a:cubicBezTo>
                  <a:cubicBezTo>
                    <a:pt x="86" y="207"/>
                    <a:pt x="91" y="217"/>
                    <a:pt x="95" y="228"/>
                  </a:cubicBezTo>
                  <a:cubicBezTo>
                    <a:pt x="97" y="232"/>
                    <a:pt x="100" y="236"/>
                    <a:pt x="103" y="238"/>
                  </a:cubicBezTo>
                  <a:cubicBezTo>
                    <a:pt x="104" y="239"/>
                    <a:pt x="110" y="236"/>
                    <a:pt x="111" y="234"/>
                  </a:cubicBezTo>
                  <a:cubicBezTo>
                    <a:pt x="116" y="219"/>
                    <a:pt x="120" y="204"/>
                    <a:pt x="125" y="18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EYInterstate Light"/>
              </a:endParaRPr>
            </a:p>
          </p:txBody>
        </p:sp>
      </p:grpSp>
      <p:sp>
        <p:nvSpPr>
          <p:cNvPr id="80" name="TextBox 79">
            <a:extLst>
              <a:ext uri="{FF2B5EF4-FFF2-40B4-BE49-F238E27FC236}">
                <a16:creationId xmlns:a16="http://schemas.microsoft.com/office/drawing/2014/main" id="{224AB964-F6A9-4333-A65B-DE85C4D9BC9A}"/>
              </a:ext>
            </a:extLst>
          </p:cNvPr>
          <p:cNvSpPr txBox="1"/>
          <p:nvPr/>
        </p:nvSpPr>
        <p:spPr>
          <a:xfrm>
            <a:off x="8251497" y="5250512"/>
            <a:ext cx="1415955" cy="167738"/>
          </a:xfrm>
          <a:prstGeom prst="rect">
            <a:avLst/>
          </a:prstGeom>
          <a:noFill/>
        </p:spPr>
        <p:txBody>
          <a:bodyPr wrap="square" lIns="0" tIns="36576" rIns="0" bIns="0" rtlCol="0" anchor="ctr">
            <a:spAutoFit/>
          </a:bodyPr>
          <a:lstStyle/>
          <a:p>
            <a:pPr marL="0" marR="0" lvl="0" indent="0" algn="l" defTabSz="914400" rtl="0" eaLnBrk="1" fontAlgn="base" latinLnBrk="0" hangingPunct="1">
              <a:lnSpc>
                <a:spcPct val="85000"/>
              </a:lnSpc>
              <a:spcBef>
                <a:spcPct val="0"/>
              </a:spcBef>
              <a:spcAft>
                <a:spcPts val="0"/>
              </a:spcAft>
              <a:buClr>
                <a:srgbClr val="FFE600"/>
              </a:buClr>
              <a:buSzPct val="70000"/>
              <a:buFont typeface="Arial" charset="0"/>
              <a:buNone/>
              <a:tabLst/>
              <a:defRPr/>
            </a:pPr>
            <a:r>
              <a:rPr lang="en-GB" sz="1000" i="1" dirty="0">
                <a:solidFill>
                  <a:schemeClr val="tx1">
                    <a:lumMod val="50000"/>
                    <a:lumOff val="50000"/>
                  </a:schemeClr>
                </a:solidFill>
                <a:latin typeface="EYInterstate" panose="02000503020000020004" pitchFamily="2" charset="0"/>
              </a:rPr>
              <a:t>For future modelling</a:t>
            </a:r>
            <a:endParaRPr kumimoji="0" lang="en-GB" sz="1000" i="1" u="none" strike="noStrike" kern="1200" cap="none" spc="0" normalizeH="0" baseline="0" noProof="0" dirty="0">
              <a:ln>
                <a:noFill/>
              </a:ln>
              <a:solidFill>
                <a:schemeClr val="tx1">
                  <a:lumMod val="50000"/>
                  <a:lumOff val="50000"/>
                </a:schemeClr>
              </a:solidFill>
              <a:effectLst/>
              <a:uLnTx/>
              <a:uFillTx/>
              <a:latin typeface="EYInterstate" panose="02000503020000020004" pitchFamily="2" charset="0"/>
            </a:endParaRPr>
          </a:p>
        </p:txBody>
      </p:sp>
      <p:sp>
        <p:nvSpPr>
          <p:cNvPr id="81" name="TextBox 80">
            <a:extLst>
              <a:ext uri="{FF2B5EF4-FFF2-40B4-BE49-F238E27FC236}">
                <a16:creationId xmlns:a16="http://schemas.microsoft.com/office/drawing/2014/main" id="{ADE14A6F-D906-4D56-AFB8-9FE5B33FF377}"/>
              </a:ext>
            </a:extLst>
          </p:cNvPr>
          <p:cNvSpPr txBox="1"/>
          <p:nvPr/>
        </p:nvSpPr>
        <p:spPr>
          <a:xfrm>
            <a:off x="9219271" y="3355632"/>
            <a:ext cx="1415955" cy="167738"/>
          </a:xfrm>
          <a:prstGeom prst="rect">
            <a:avLst/>
          </a:prstGeom>
          <a:noFill/>
        </p:spPr>
        <p:txBody>
          <a:bodyPr wrap="square" lIns="0" tIns="36576" rIns="0" bIns="0" rtlCol="0" anchor="ctr">
            <a:spAutoFit/>
          </a:bodyPr>
          <a:lstStyle/>
          <a:p>
            <a:pPr marL="0" marR="0" lvl="0" indent="0" algn="l" defTabSz="914400" rtl="0" eaLnBrk="1" fontAlgn="base" latinLnBrk="0" hangingPunct="1">
              <a:lnSpc>
                <a:spcPct val="85000"/>
              </a:lnSpc>
              <a:spcBef>
                <a:spcPct val="0"/>
              </a:spcBef>
              <a:spcAft>
                <a:spcPts val="0"/>
              </a:spcAft>
              <a:buClr>
                <a:srgbClr val="FFE600"/>
              </a:buClr>
              <a:buSzPct val="70000"/>
              <a:buFont typeface="Arial" charset="0"/>
              <a:buNone/>
              <a:tabLst/>
              <a:defRPr/>
            </a:pPr>
            <a:r>
              <a:rPr lang="en-GB" sz="1000" i="1" dirty="0">
                <a:solidFill>
                  <a:schemeClr val="tx1">
                    <a:lumMod val="50000"/>
                    <a:lumOff val="50000"/>
                  </a:schemeClr>
                </a:solidFill>
                <a:latin typeface="EYInterstate" panose="02000503020000020004" pitchFamily="2" charset="0"/>
              </a:rPr>
              <a:t>For future modelling</a:t>
            </a:r>
            <a:endParaRPr kumimoji="0" lang="en-GB" sz="1000" i="1" u="none" strike="noStrike" kern="1200" cap="none" spc="0" normalizeH="0" baseline="0" noProof="0" dirty="0">
              <a:ln>
                <a:noFill/>
              </a:ln>
              <a:solidFill>
                <a:schemeClr val="tx1">
                  <a:lumMod val="50000"/>
                  <a:lumOff val="50000"/>
                </a:schemeClr>
              </a:solidFill>
              <a:effectLst/>
              <a:uLnTx/>
              <a:uFillTx/>
              <a:latin typeface="EYInterstate" panose="02000503020000020004" pitchFamily="2" charset="0"/>
            </a:endParaRPr>
          </a:p>
        </p:txBody>
      </p:sp>
      <p:sp>
        <p:nvSpPr>
          <p:cNvPr id="82" name="TextBox 81">
            <a:extLst>
              <a:ext uri="{FF2B5EF4-FFF2-40B4-BE49-F238E27FC236}">
                <a16:creationId xmlns:a16="http://schemas.microsoft.com/office/drawing/2014/main" id="{A524FB92-4441-452B-889C-5A96D3575F67}"/>
              </a:ext>
            </a:extLst>
          </p:cNvPr>
          <p:cNvSpPr txBox="1"/>
          <p:nvPr/>
        </p:nvSpPr>
        <p:spPr>
          <a:xfrm>
            <a:off x="8188657" y="1818683"/>
            <a:ext cx="1415955" cy="167738"/>
          </a:xfrm>
          <a:prstGeom prst="rect">
            <a:avLst/>
          </a:prstGeom>
          <a:noFill/>
        </p:spPr>
        <p:txBody>
          <a:bodyPr wrap="square" lIns="0" tIns="36576" rIns="0" bIns="0" rtlCol="0" anchor="ctr">
            <a:spAutoFit/>
          </a:bodyPr>
          <a:lstStyle/>
          <a:p>
            <a:pPr marL="0" marR="0" lvl="0" indent="0" algn="l" defTabSz="914400" rtl="0" eaLnBrk="1" fontAlgn="base" latinLnBrk="0" hangingPunct="1">
              <a:lnSpc>
                <a:spcPct val="85000"/>
              </a:lnSpc>
              <a:spcBef>
                <a:spcPct val="0"/>
              </a:spcBef>
              <a:spcAft>
                <a:spcPts val="0"/>
              </a:spcAft>
              <a:buClr>
                <a:srgbClr val="FFE600"/>
              </a:buClr>
              <a:buSzPct val="70000"/>
              <a:buFont typeface="Arial" charset="0"/>
              <a:buNone/>
              <a:tabLst/>
              <a:defRPr/>
            </a:pPr>
            <a:r>
              <a:rPr lang="en-GB" sz="1000" i="1" dirty="0">
                <a:solidFill>
                  <a:schemeClr val="tx1">
                    <a:lumMod val="50000"/>
                    <a:lumOff val="50000"/>
                  </a:schemeClr>
                </a:solidFill>
                <a:latin typeface="EYInterstate" panose="02000503020000020004" pitchFamily="2" charset="0"/>
              </a:rPr>
              <a:t>For future modelling</a:t>
            </a:r>
            <a:endParaRPr kumimoji="0" lang="en-GB" sz="1000" i="1" u="none" strike="noStrike" kern="1200" cap="none" spc="0" normalizeH="0" baseline="0" noProof="0" dirty="0">
              <a:ln>
                <a:noFill/>
              </a:ln>
              <a:solidFill>
                <a:schemeClr val="tx1">
                  <a:lumMod val="50000"/>
                  <a:lumOff val="50000"/>
                </a:schemeClr>
              </a:solidFill>
              <a:effectLst/>
              <a:uLnTx/>
              <a:uFillTx/>
              <a:latin typeface="EYInterstate" panose="02000503020000020004" pitchFamily="2" charset="0"/>
            </a:endParaRPr>
          </a:p>
        </p:txBody>
      </p:sp>
      <p:sp>
        <p:nvSpPr>
          <p:cNvPr id="83" name="TextBox 82">
            <a:extLst>
              <a:ext uri="{FF2B5EF4-FFF2-40B4-BE49-F238E27FC236}">
                <a16:creationId xmlns:a16="http://schemas.microsoft.com/office/drawing/2014/main" id="{86BF0C5A-3C84-4762-B9C8-03905702D7B3}"/>
              </a:ext>
            </a:extLst>
          </p:cNvPr>
          <p:cNvSpPr txBox="1"/>
          <p:nvPr/>
        </p:nvSpPr>
        <p:spPr>
          <a:xfrm>
            <a:off x="943200" y="7240664"/>
            <a:ext cx="6494960" cy="167738"/>
          </a:xfrm>
          <a:prstGeom prst="rect">
            <a:avLst/>
          </a:prstGeom>
          <a:noFill/>
        </p:spPr>
        <p:txBody>
          <a:bodyPr wrap="square" lIns="0" tIns="36576" rIns="0" bIns="0" rtlCol="0" anchor="ctr">
            <a:spAutoFit/>
          </a:bodyPr>
          <a:lstStyle/>
          <a:p>
            <a:pPr marL="0" marR="0" lvl="0" indent="0" algn="l" defTabSz="914400" rtl="0" eaLnBrk="1" fontAlgn="base" latinLnBrk="0" hangingPunct="1">
              <a:lnSpc>
                <a:spcPct val="85000"/>
              </a:lnSpc>
              <a:spcBef>
                <a:spcPct val="0"/>
              </a:spcBef>
              <a:spcAft>
                <a:spcPts val="0"/>
              </a:spcAft>
              <a:buClr>
                <a:srgbClr val="FFE600"/>
              </a:buClr>
              <a:buSzPct val="70000"/>
              <a:buFont typeface="Arial" charset="0"/>
              <a:buNone/>
              <a:tabLst/>
              <a:defRPr/>
            </a:pPr>
            <a:r>
              <a:rPr lang="en-GB" sz="1000" i="1">
                <a:solidFill>
                  <a:schemeClr val="tx1">
                    <a:lumMod val="50000"/>
                    <a:lumOff val="50000"/>
                  </a:schemeClr>
                </a:solidFill>
                <a:latin typeface="EYInterstate" panose="02000503020000020004" pitchFamily="2" charset="0"/>
              </a:rPr>
              <a:t>* Blurred out dimensions currently lack data availability and there is a scope for future modelling</a:t>
            </a:r>
            <a:endParaRPr kumimoji="0" lang="en-GB" sz="1000" i="1" u="none" strike="noStrike" kern="1200" cap="none" spc="0" normalizeH="0" baseline="0" noProof="0">
              <a:ln>
                <a:noFill/>
              </a:ln>
              <a:solidFill>
                <a:schemeClr val="tx1">
                  <a:lumMod val="50000"/>
                  <a:lumOff val="50000"/>
                </a:schemeClr>
              </a:solidFill>
              <a:effectLst/>
              <a:uLnTx/>
              <a:uFillTx/>
              <a:latin typeface="EYInterstate" panose="02000503020000020004" pitchFamily="2" charset="0"/>
            </a:endParaRPr>
          </a:p>
        </p:txBody>
      </p:sp>
    </p:spTree>
    <p:extLst>
      <p:ext uri="{BB962C8B-B14F-4D97-AF65-F5344CB8AC3E}">
        <p14:creationId xmlns:p14="http://schemas.microsoft.com/office/powerpoint/2010/main" val="207197055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CFF42B-A38D-4405-8078-E30A3AD3AFAE}"/>
              </a:ext>
            </a:extLst>
          </p:cNvPr>
          <p:cNvSpPr>
            <a:spLocks noGrp="1"/>
          </p:cNvSpPr>
          <p:nvPr>
            <p:ph type="title"/>
          </p:nvPr>
        </p:nvSpPr>
        <p:spPr>
          <a:xfrm>
            <a:off x="943200" y="608399"/>
            <a:ext cx="12049786" cy="726429"/>
          </a:xfrm>
        </p:spPr>
        <p:txBody>
          <a:bodyPr/>
          <a:lstStyle/>
          <a:p>
            <a:r>
              <a:rPr lang="en-US"/>
              <a:t>We are tool-agnostic for SAS </a:t>
            </a:r>
            <a:r>
              <a:rPr lang="en-US" err="1"/>
              <a:t>Viya</a:t>
            </a:r>
            <a:r>
              <a:rPr lang="en-US"/>
              <a:t> or open-source software to be used for data aggregation, quality assessment, model development and testing</a:t>
            </a:r>
          </a:p>
        </p:txBody>
      </p:sp>
      <p:sp>
        <p:nvSpPr>
          <p:cNvPr id="3" name="Rectangle 2">
            <a:extLst>
              <a:ext uri="{FF2B5EF4-FFF2-40B4-BE49-F238E27FC236}">
                <a16:creationId xmlns:a16="http://schemas.microsoft.com/office/drawing/2014/main" id="{480CAC44-8FCB-4D9E-B36A-015128BAE705}"/>
              </a:ext>
            </a:extLst>
          </p:cNvPr>
          <p:cNvSpPr/>
          <p:nvPr/>
        </p:nvSpPr>
        <p:spPr bwMode="gray">
          <a:xfrm>
            <a:off x="7878449" y="4793608"/>
            <a:ext cx="5114537" cy="2482423"/>
          </a:xfrm>
          <a:prstGeom prst="rect">
            <a:avLst/>
          </a:prstGeom>
          <a:solidFill>
            <a:schemeClr val="tx2"/>
          </a:solidFill>
          <a:ln w="19050" cmpd="sng">
            <a:solidFill>
              <a:srgbClr val="2C973E"/>
            </a:solidFill>
          </a:ln>
        </p:spPr>
        <p:style>
          <a:lnRef idx="2">
            <a:schemeClr val="accent1">
              <a:shade val="50000"/>
            </a:schemeClr>
          </a:lnRef>
          <a:fillRef idx="1">
            <a:schemeClr val="accent1"/>
          </a:fillRef>
          <a:effectRef idx="0">
            <a:schemeClr val="accent1"/>
          </a:effectRef>
          <a:fontRef idx="minor">
            <a:schemeClr val="lt1"/>
          </a:fontRef>
        </p:style>
        <p:txBody>
          <a:bodyPr lIns="71963" tIns="72000" rIns="71963" bIns="71963" numCol="3" rtlCol="0" anchor="t" anchorCtr="0">
            <a:noAutofit/>
          </a:bodyPr>
          <a:lstStyle/>
          <a:p>
            <a:pPr marL="182563" marR="0" lvl="0" indent="-182563" algn="l" defTabSz="914400" rtl="0" eaLnBrk="1" fontAlgn="base" latinLnBrk="0" hangingPunct="1">
              <a:lnSpc>
                <a:spcPct val="100000"/>
              </a:lnSpc>
              <a:spcBef>
                <a:spcPct val="0"/>
              </a:spcBef>
              <a:spcAft>
                <a:spcPts val="600"/>
              </a:spcAft>
              <a:buClr>
                <a:srgbClr val="404040"/>
              </a:buClr>
              <a:buSzPct val="70000"/>
              <a:buFont typeface="Arial" pitchFamily="34" charset="0"/>
              <a:buChar char="►"/>
              <a:tabLst/>
              <a:defRPr/>
            </a:pPr>
            <a:r>
              <a:rPr kumimoji="0" lang="en-US" sz="1400" b="0" i="0" u="none" strike="noStrike" kern="1200" cap="none" spc="0" normalizeH="0" baseline="0" noProof="0" err="1">
                <a:ln>
                  <a:noFill/>
                </a:ln>
                <a:solidFill>
                  <a:srgbClr val="000000"/>
                </a:solidFill>
                <a:effectLst/>
                <a:uLnTx/>
                <a:uFillTx/>
                <a:latin typeface="EYInterstate Light" panose="02000506000000020004" pitchFamily="2" charset="0"/>
              </a:rPr>
              <a:t>Scipy</a:t>
            </a:r>
            <a:endParaRPr kumimoji="0" lang="en-US" sz="1400" b="0" i="0" u="none" strike="noStrike" kern="1200" cap="none" spc="0" normalizeH="0" baseline="0" noProof="0">
              <a:ln>
                <a:noFill/>
              </a:ln>
              <a:solidFill>
                <a:srgbClr val="000000"/>
              </a:solidFill>
              <a:effectLst/>
              <a:uLnTx/>
              <a:uFillTx/>
              <a:latin typeface="EYInterstate Light" panose="02000506000000020004" pitchFamily="2" charset="0"/>
            </a:endParaRPr>
          </a:p>
          <a:p>
            <a:pPr marL="182563" marR="0" lvl="0" indent="-182563" algn="l" defTabSz="914400" rtl="0" eaLnBrk="1" fontAlgn="base" latinLnBrk="0" hangingPunct="1">
              <a:lnSpc>
                <a:spcPct val="100000"/>
              </a:lnSpc>
              <a:spcBef>
                <a:spcPct val="0"/>
              </a:spcBef>
              <a:spcAft>
                <a:spcPts val="600"/>
              </a:spcAft>
              <a:buClr>
                <a:srgbClr val="404040"/>
              </a:buClr>
              <a:buSzPct val="70000"/>
              <a:buFont typeface="Arial" pitchFamily="34" charset="0"/>
              <a:buChar char="►"/>
              <a:tabLst/>
              <a:defRPr/>
            </a:pPr>
            <a:r>
              <a:rPr lang="en-US" sz="1400">
                <a:solidFill>
                  <a:srgbClr val="000000"/>
                </a:solidFill>
                <a:latin typeface="EYInterstate Light" panose="02000506000000020004" pitchFamily="2" charset="0"/>
              </a:rPr>
              <a:t>Sci-Kit Learn</a:t>
            </a:r>
          </a:p>
          <a:p>
            <a:pPr marL="182563" marR="0" lvl="0" indent="-182563" algn="l" defTabSz="914400" rtl="0" eaLnBrk="1" fontAlgn="base" latinLnBrk="0" hangingPunct="1">
              <a:lnSpc>
                <a:spcPct val="100000"/>
              </a:lnSpc>
              <a:spcBef>
                <a:spcPct val="0"/>
              </a:spcBef>
              <a:spcAft>
                <a:spcPts val="600"/>
              </a:spcAft>
              <a:buClr>
                <a:srgbClr val="404040"/>
              </a:buClr>
              <a:buSzPct val="70000"/>
              <a:buFont typeface="Arial" pitchFamily="34" charset="0"/>
              <a:buChar char="►"/>
              <a:tabLst/>
              <a:defRPr/>
            </a:pPr>
            <a:r>
              <a:rPr kumimoji="0" lang="en-US" sz="1400" b="0" i="0" u="none" strike="noStrike" kern="1200" cap="none" spc="0" normalizeH="0" baseline="0" noProof="0" err="1">
                <a:ln>
                  <a:noFill/>
                </a:ln>
                <a:solidFill>
                  <a:srgbClr val="000000"/>
                </a:solidFill>
                <a:effectLst/>
                <a:uLnTx/>
                <a:uFillTx/>
                <a:latin typeface="EYInterstate Light" panose="02000506000000020004" pitchFamily="2" charset="0"/>
              </a:rPr>
              <a:t>Statsmodels</a:t>
            </a:r>
            <a:endParaRPr kumimoji="0" lang="en-US" sz="1400" b="0" i="0" u="none" strike="noStrike" kern="1200" cap="none" spc="0" normalizeH="0" baseline="0" noProof="0">
              <a:ln>
                <a:noFill/>
              </a:ln>
              <a:solidFill>
                <a:srgbClr val="000000"/>
              </a:solidFill>
              <a:effectLst/>
              <a:uLnTx/>
              <a:uFillTx/>
              <a:latin typeface="EYInterstate Light" panose="02000506000000020004" pitchFamily="2" charset="0"/>
            </a:endParaRPr>
          </a:p>
          <a:p>
            <a:pPr marL="182563" marR="0" lvl="0" indent="-182563" algn="l" defTabSz="914400" rtl="0" eaLnBrk="1" fontAlgn="base" latinLnBrk="0" hangingPunct="1">
              <a:lnSpc>
                <a:spcPct val="100000"/>
              </a:lnSpc>
              <a:spcBef>
                <a:spcPct val="0"/>
              </a:spcBef>
              <a:spcAft>
                <a:spcPts val="600"/>
              </a:spcAft>
              <a:buClr>
                <a:srgbClr val="404040"/>
              </a:buClr>
              <a:buSzPct val="70000"/>
              <a:buFont typeface="Arial" pitchFamily="34" charset="0"/>
              <a:buChar char="►"/>
              <a:tabLst/>
              <a:defRPr/>
            </a:pPr>
            <a:r>
              <a:rPr kumimoji="0" lang="en-US" sz="1400" b="0" i="0" u="none" strike="noStrike" kern="1200" cap="none" spc="0" normalizeH="0" baseline="0" noProof="0" err="1">
                <a:ln>
                  <a:noFill/>
                </a:ln>
                <a:solidFill>
                  <a:srgbClr val="000000"/>
                </a:solidFill>
                <a:effectLst/>
                <a:uLnTx/>
                <a:uFillTx/>
                <a:latin typeface="EYInterstate Light" panose="02000506000000020004" pitchFamily="2" charset="0"/>
              </a:rPr>
              <a:t>XGBoost</a:t>
            </a:r>
            <a:r>
              <a:rPr kumimoji="0" lang="en-US" sz="1400" b="0" i="0" u="none" strike="noStrike" kern="1200" cap="none" spc="0" normalizeH="0" baseline="0" noProof="0">
                <a:ln>
                  <a:noFill/>
                </a:ln>
                <a:solidFill>
                  <a:srgbClr val="000000"/>
                </a:solidFill>
                <a:effectLst/>
                <a:uLnTx/>
                <a:uFillTx/>
                <a:latin typeface="EYInterstate Light" panose="02000506000000020004" pitchFamily="2" charset="0"/>
              </a:rPr>
              <a:t> </a:t>
            </a:r>
          </a:p>
          <a:p>
            <a:pPr marL="182563" marR="0" lvl="0" indent="-182563" algn="l" defTabSz="914400" rtl="0" eaLnBrk="1" fontAlgn="base" latinLnBrk="0" hangingPunct="1">
              <a:lnSpc>
                <a:spcPct val="100000"/>
              </a:lnSpc>
              <a:spcBef>
                <a:spcPct val="0"/>
              </a:spcBef>
              <a:spcAft>
                <a:spcPts val="600"/>
              </a:spcAft>
              <a:buClr>
                <a:srgbClr val="404040"/>
              </a:buClr>
              <a:buSzPct val="70000"/>
              <a:buFont typeface="Arial" pitchFamily="34" charset="0"/>
              <a:buChar char="►"/>
              <a:tabLst/>
              <a:defRPr/>
            </a:pPr>
            <a:r>
              <a:rPr kumimoji="0" lang="en-US" sz="1400" b="0" i="0" u="none" strike="noStrike" kern="1200" cap="none" spc="0" normalizeH="0" baseline="0" noProof="0" err="1">
                <a:ln>
                  <a:noFill/>
                </a:ln>
                <a:solidFill>
                  <a:srgbClr val="000000"/>
                </a:solidFill>
                <a:effectLst/>
                <a:uLnTx/>
                <a:uFillTx/>
                <a:latin typeface="EYInterstate Light" panose="02000506000000020004" pitchFamily="2" charset="0"/>
              </a:rPr>
              <a:t>LightGBM</a:t>
            </a:r>
            <a:endParaRPr kumimoji="0" lang="en-US" sz="1400" b="0" i="0" u="none" strike="noStrike" kern="1200" cap="none" spc="0" normalizeH="0" baseline="0" noProof="0">
              <a:ln>
                <a:noFill/>
              </a:ln>
              <a:solidFill>
                <a:srgbClr val="000000"/>
              </a:solidFill>
              <a:effectLst/>
              <a:uLnTx/>
              <a:uFillTx/>
              <a:latin typeface="EYInterstate Light" panose="02000506000000020004" pitchFamily="2" charset="0"/>
            </a:endParaRPr>
          </a:p>
          <a:p>
            <a:pPr marL="182563" marR="0" lvl="0" indent="-182563" algn="l" defTabSz="914400" rtl="0" eaLnBrk="1" fontAlgn="base" latinLnBrk="0" hangingPunct="1">
              <a:lnSpc>
                <a:spcPct val="100000"/>
              </a:lnSpc>
              <a:spcBef>
                <a:spcPct val="0"/>
              </a:spcBef>
              <a:spcAft>
                <a:spcPts val="600"/>
              </a:spcAft>
              <a:buClr>
                <a:srgbClr val="404040"/>
              </a:buClr>
              <a:buSzPct val="70000"/>
              <a:buFont typeface="Arial" pitchFamily="34" charset="0"/>
              <a:buChar char="►"/>
              <a:tabLst/>
              <a:defRPr/>
            </a:pPr>
            <a:r>
              <a:rPr lang="en-US" sz="1400" err="1">
                <a:solidFill>
                  <a:srgbClr val="000000"/>
                </a:solidFill>
                <a:latin typeface="EYInterstate Light" panose="02000506000000020004" pitchFamily="2" charset="0"/>
              </a:rPr>
              <a:t>HyperOpt</a:t>
            </a:r>
            <a:endParaRPr kumimoji="0" lang="en-US" sz="1400" b="0" i="0" u="none" strike="noStrike" kern="1200" cap="none" spc="0" normalizeH="0" baseline="0" noProof="0">
              <a:ln>
                <a:noFill/>
              </a:ln>
              <a:solidFill>
                <a:srgbClr val="000000"/>
              </a:solidFill>
              <a:effectLst/>
              <a:uLnTx/>
              <a:uFillTx/>
              <a:latin typeface="EYInterstate Light" panose="02000506000000020004" pitchFamily="2" charset="0"/>
            </a:endParaRPr>
          </a:p>
          <a:p>
            <a:pPr marL="182563" marR="0" lvl="0" indent="-182563" algn="l" defTabSz="914400" rtl="0" eaLnBrk="1" fontAlgn="base" latinLnBrk="0" hangingPunct="1">
              <a:lnSpc>
                <a:spcPct val="100000"/>
              </a:lnSpc>
              <a:spcBef>
                <a:spcPct val="0"/>
              </a:spcBef>
              <a:spcAft>
                <a:spcPts val="600"/>
              </a:spcAft>
              <a:buClr>
                <a:srgbClr val="404040"/>
              </a:buClr>
              <a:buSzPct val="70000"/>
              <a:buFont typeface="Arial" pitchFamily="34" charset="0"/>
              <a:buChar char="►"/>
              <a:tabLst/>
              <a:defRPr/>
            </a:pPr>
            <a:r>
              <a:rPr kumimoji="0" lang="en-US" sz="1400" b="0" i="0" u="none" strike="noStrike" kern="1200" cap="none" spc="0" normalizeH="0" baseline="0" noProof="0" err="1">
                <a:ln>
                  <a:noFill/>
                </a:ln>
                <a:solidFill>
                  <a:srgbClr val="000000"/>
                </a:solidFill>
                <a:effectLst/>
                <a:uLnTx/>
                <a:uFillTx/>
                <a:latin typeface="EYInterstate Light" panose="02000506000000020004" pitchFamily="2" charset="0"/>
              </a:rPr>
              <a:t>Ppscore</a:t>
            </a:r>
            <a:endParaRPr kumimoji="0" lang="en-US" sz="1400" b="0" i="0" u="none" strike="noStrike" kern="1200" cap="none" spc="0" normalizeH="0" baseline="0" noProof="0">
              <a:ln>
                <a:noFill/>
              </a:ln>
              <a:solidFill>
                <a:srgbClr val="000000"/>
              </a:solidFill>
              <a:effectLst/>
              <a:uLnTx/>
              <a:uFillTx/>
              <a:latin typeface="EYInterstate Light" panose="02000506000000020004" pitchFamily="2" charset="0"/>
            </a:endParaRPr>
          </a:p>
          <a:p>
            <a:pPr marL="182563" marR="0" lvl="0" indent="-182563" algn="l" defTabSz="914400" rtl="0" eaLnBrk="1" fontAlgn="base" latinLnBrk="0" hangingPunct="1">
              <a:lnSpc>
                <a:spcPct val="100000"/>
              </a:lnSpc>
              <a:spcBef>
                <a:spcPct val="0"/>
              </a:spcBef>
              <a:spcAft>
                <a:spcPts val="600"/>
              </a:spcAft>
              <a:buClr>
                <a:srgbClr val="404040"/>
              </a:buClr>
              <a:buSzPct val="70000"/>
              <a:buFont typeface="Arial" pitchFamily="34" charset="0"/>
              <a:buChar char="►"/>
              <a:tabLst/>
              <a:defRPr/>
            </a:pPr>
            <a:r>
              <a:rPr lang="en-US" sz="1400">
                <a:solidFill>
                  <a:srgbClr val="000000"/>
                </a:solidFill>
                <a:latin typeface="EYInterstate Light" panose="02000506000000020004" pitchFamily="2" charset="0"/>
              </a:rPr>
              <a:t>TensorFlow</a:t>
            </a:r>
          </a:p>
          <a:p>
            <a:pPr marL="182563" marR="0" lvl="0" indent="-182563" algn="l" defTabSz="914400" rtl="0" eaLnBrk="1" fontAlgn="base" latinLnBrk="0" hangingPunct="1">
              <a:lnSpc>
                <a:spcPct val="100000"/>
              </a:lnSpc>
              <a:spcBef>
                <a:spcPct val="0"/>
              </a:spcBef>
              <a:spcAft>
                <a:spcPts val="600"/>
              </a:spcAft>
              <a:buClr>
                <a:srgbClr val="404040"/>
              </a:buClr>
              <a:buSzPct val="70000"/>
              <a:buFont typeface="Arial" pitchFamily="34" charset="0"/>
              <a:buChar char="►"/>
              <a:tabLst/>
              <a:defRPr/>
            </a:pPr>
            <a:r>
              <a:rPr kumimoji="0" lang="en-US" sz="1400" b="0" i="0" u="none" strike="noStrike" kern="1200" cap="none" spc="0" normalizeH="0" baseline="0" noProof="0" err="1">
                <a:ln>
                  <a:noFill/>
                </a:ln>
                <a:solidFill>
                  <a:srgbClr val="000000"/>
                </a:solidFill>
                <a:effectLst/>
                <a:uLnTx/>
                <a:uFillTx/>
                <a:latin typeface="EYInterstate Light" panose="02000506000000020004" pitchFamily="2" charset="0"/>
              </a:rPr>
              <a:t>Keras</a:t>
            </a:r>
            <a:endParaRPr kumimoji="0" lang="en-US" sz="1400" b="0" i="0" u="none" strike="noStrike" kern="1200" cap="none" spc="0" normalizeH="0" baseline="0" noProof="0">
              <a:ln>
                <a:noFill/>
              </a:ln>
              <a:solidFill>
                <a:srgbClr val="000000"/>
              </a:solidFill>
              <a:effectLst/>
              <a:uLnTx/>
              <a:uFillTx/>
              <a:latin typeface="EYInterstate Light" panose="02000506000000020004" pitchFamily="2" charset="0"/>
            </a:endParaRPr>
          </a:p>
          <a:p>
            <a:pPr marL="182563" marR="0" lvl="0" indent="-182563" algn="l" defTabSz="914400" rtl="0" eaLnBrk="1" fontAlgn="base" latinLnBrk="0" hangingPunct="1">
              <a:lnSpc>
                <a:spcPct val="100000"/>
              </a:lnSpc>
              <a:spcBef>
                <a:spcPct val="0"/>
              </a:spcBef>
              <a:spcAft>
                <a:spcPts val="600"/>
              </a:spcAft>
              <a:buClr>
                <a:srgbClr val="404040"/>
              </a:buClr>
              <a:buSzPct val="70000"/>
              <a:buFont typeface="Arial" pitchFamily="34" charset="0"/>
              <a:buChar char="►"/>
              <a:tabLst/>
              <a:defRPr/>
            </a:pPr>
            <a:r>
              <a:rPr lang="en-US" sz="1400" err="1">
                <a:solidFill>
                  <a:srgbClr val="000000"/>
                </a:solidFill>
                <a:latin typeface="EYInterstate Light" panose="02000506000000020004" pitchFamily="2" charset="0"/>
              </a:rPr>
              <a:t>PyBrain</a:t>
            </a:r>
            <a:endParaRPr lang="en-US" sz="1400">
              <a:solidFill>
                <a:srgbClr val="000000"/>
              </a:solidFill>
              <a:latin typeface="EYInterstate Light" panose="02000506000000020004" pitchFamily="2" charset="0"/>
            </a:endParaRPr>
          </a:p>
          <a:p>
            <a:pPr marL="182563" marR="0" lvl="0" indent="-182563" algn="l" defTabSz="914400" rtl="0" eaLnBrk="1" fontAlgn="base" latinLnBrk="0" hangingPunct="1">
              <a:lnSpc>
                <a:spcPct val="100000"/>
              </a:lnSpc>
              <a:spcBef>
                <a:spcPct val="0"/>
              </a:spcBef>
              <a:spcAft>
                <a:spcPts val="600"/>
              </a:spcAft>
              <a:buClr>
                <a:srgbClr val="404040"/>
              </a:buClr>
              <a:buSzPct val="70000"/>
              <a:buFont typeface="Arial" pitchFamily="34" charset="0"/>
              <a:buChar char="►"/>
              <a:tabLst/>
              <a:defRPr/>
            </a:pPr>
            <a:r>
              <a:rPr kumimoji="0" lang="en-US" sz="1400" b="0" i="0" u="none" strike="noStrike" kern="1200" cap="none" spc="0" normalizeH="0" baseline="0" noProof="0">
                <a:ln>
                  <a:noFill/>
                </a:ln>
                <a:solidFill>
                  <a:srgbClr val="000000"/>
                </a:solidFill>
                <a:effectLst/>
                <a:uLnTx/>
                <a:uFillTx/>
                <a:latin typeface="EYInterstate Light" panose="02000506000000020004" pitchFamily="2" charset="0"/>
              </a:rPr>
              <a:t>PyTorch</a:t>
            </a:r>
          </a:p>
          <a:p>
            <a:pPr marL="182563" marR="0" lvl="0" indent="-182563" algn="l" defTabSz="914400" rtl="0" eaLnBrk="1" fontAlgn="base" latinLnBrk="0" hangingPunct="1">
              <a:lnSpc>
                <a:spcPct val="100000"/>
              </a:lnSpc>
              <a:spcBef>
                <a:spcPct val="0"/>
              </a:spcBef>
              <a:spcAft>
                <a:spcPts val="600"/>
              </a:spcAft>
              <a:buClr>
                <a:srgbClr val="404040"/>
              </a:buClr>
              <a:buSzPct val="70000"/>
              <a:buFont typeface="Arial" pitchFamily="34" charset="0"/>
              <a:buChar char="►"/>
              <a:tabLst/>
              <a:defRPr/>
            </a:pPr>
            <a:r>
              <a:rPr lang="en-US" sz="1400" err="1">
                <a:solidFill>
                  <a:srgbClr val="000000"/>
                </a:solidFill>
                <a:latin typeface="EYInterstate Light" panose="02000506000000020004" pitchFamily="2" charset="0"/>
              </a:rPr>
              <a:t>CatBoost</a:t>
            </a:r>
            <a:endParaRPr lang="en-US" sz="1400">
              <a:solidFill>
                <a:srgbClr val="000000"/>
              </a:solidFill>
              <a:latin typeface="EYInterstate Light" panose="02000506000000020004" pitchFamily="2" charset="0"/>
            </a:endParaRPr>
          </a:p>
          <a:p>
            <a:pPr marL="182563" marR="0" lvl="0" indent="-182563" algn="l" defTabSz="914400" rtl="0" eaLnBrk="1" fontAlgn="base" latinLnBrk="0" hangingPunct="1">
              <a:lnSpc>
                <a:spcPct val="100000"/>
              </a:lnSpc>
              <a:spcBef>
                <a:spcPct val="0"/>
              </a:spcBef>
              <a:spcAft>
                <a:spcPts val="600"/>
              </a:spcAft>
              <a:buClr>
                <a:srgbClr val="404040"/>
              </a:buClr>
              <a:buSzPct val="70000"/>
              <a:buFont typeface="Arial" pitchFamily="34" charset="0"/>
              <a:buChar char="►"/>
              <a:tabLst/>
              <a:defRPr/>
            </a:pPr>
            <a:r>
              <a:rPr kumimoji="0" lang="en-US" sz="1400" b="0" i="0" u="none" strike="noStrike" kern="1200" cap="none" spc="0" normalizeH="0" baseline="0" noProof="0">
                <a:ln>
                  <a:noFill/>
                </a:ln>
                <a:solidFill>
                  <a:srgbClr val="000000"/>
                </a:solidFill>
                <a:effectLst/>
                <a:uLnTx/>
                <a:uFillTx/>
                <a:latin typeface="EYInterstate Light" panose="02000506000000020004" pitchFamily="2" charset="0"/>
              </a:rPr>
              <a:t>SHERPA</a:t>
            </a:r>
          </a:p>
          <a:p>
            <a:pPr marL="182563" marR="0" lvl="0" indent="-182563" algn="l" defTabSz="914400" rtl="0" eaLnBrk="1" fontAlgn="base" latinLnBrk="0" hangingPunct="1">
              <a:lnSpc>
                <a:spcPct val="100000"/>
              </a:lnSpc>
              <a:spcBef>
                <a:spcPct val="0"/>
              </a:spcBef>
              <a:spcAft>
                <a:spcPts val="600"/>
              </a:spcAft>
              <a:buClr>
                <a:srgbClr val="404040"/>
              </a:buClr>
              <a:buSzPct val="70000"/>
              <a:buFont typeface="Arial" pitchFamily="34" charset="0"/>
              <a:buChar char="►"/>
              <a:tabLst/>
              <a:defRPr/>
            </a:pPr>
            <a:r>
              <a:rPr kumimoji="0" lang="en-US" sz="1400" b="0" i="0" u="none" strike="noStrike" kern="1200" cap="none" spc="0" normalizeH="0" baseline="0" noProof="0">
                <a:ln>
                  <a:noFill/>
                </a:ln>
                <a:solidFill>
                  <a:srgbClr val="000000"/>
                </a:solidFill>
                <a:effectLst/>
                <a:uLnTx/>
                <a:uFillTx/>
                <a:latin typeface="EYInterstate Light" panose="02000506000000020004" pitchFamily="2" charset="0"/>
              </a:rPr>
              <a:t>Sci-Kit Optimize</a:t>
            </a:r>
          </a:p>
          <a:p>
            <a:pPr marL="182563" marR="0" lvl="0" indent="-182563" algn="l" defTabSz="914400" rtl="0" eaLnBrk="1" fontAlgn="base" latinLnBrk="0" hangingPunct="1">
              <a:lnSpc>
                <a:spcPct val="100000"/>
              </a:lnSpc>
              <a:spcBef>
                <a:spcPct val="0"/>
              </a:spcBef>
              <a:spcAft>
                <a:spcPts val="600"/>
              </a:spcAft>
              <a:buClr>
                <a:srgbClr val="404040"/>
              </a:buClr>
              <a:buSzPct val="70000"/>
              <a:buFont typeface="Arial" pitchFamily="34" charset="0"/>
              <a:buChar char="►"/>
              <a:tabLst/>
              <a:defRPr/>
            </a:pPr>
            <a:r>
              <a:rPr lang="en-US" sz="1400">
                <a:solidFill>
                  <a:srgbClr val="000000"/>
                </a:solidFill>
                <a:latin typeface="EYInterstate Light" panose="02000506000000020004" pitchFamily="2" charset="0"/>
              </a:rPr>
              <a:t>Spearmint</a:t>
            </a:r>
          </a:p>
          <a:p>
            <a:pPr marL="182563" marR="0" lvl="0" indent="-182563" algn="l" defTabSz="914400" rtl="0" eaLnBrk="1" fontAlgn="base" latinLnBrk="0" hangingPunct="1">
              <a:lnSpc>
                <a:spcPct val="100000"/>
              </a:lnSpc>
              <a:spcBef>
                <a:spcPct val="0"/>
              </a:spcBef>
              <a:spcAft>
                <a:spcPts val="600"/>
              </a:spcAft>
              <a:buClr>
                <a:srgbClr val="404040"/>
              </a:buClr>
              <a:buSzPct val="70000"/>
              <a:buFont typeface="Arial" pitchFamily="34" charset="0"/>
              <a:buChar char="►"/>
              <a:tabLst/>
              <a:defRPr/>
            </a:pPr>
            <a:r>
              <a:rPr kumimoji="0" lang="en-US" sz="1400" b="0" i="0" u="none" strike="noStrike" kern="1200" cap="none" spc="0" normalizeH="0" baseline="0" noProof="0">
                <a:ln>
                  <a:noFill/>
                </a:ln>
                <a:solidFill>
                  <a:srgbClr val="000000"/>
                </a:solidFill>
                <a:effectLst/>
                <a:uLnTx/>
                <a:uFillTx/>
                <a:latin typeface="EYInterstate Light" panose="02000506000000020004" pitchFamily="2" charset="0"/>
              </a:rPr>
              <a:t>SMAC</a:t>
            </a:r>
          </a:p>
          <a:p>
            <a:pPr marL="182563" marR="0" lvl="0" indent="-182563" algn="l" defTabSz="914400" rtl="0" eaLnBrk="1" fontAlgn="base" latinLnBrk="0" hangingPunct="1">
              <a:lnSpc>
                <a:spcPct val="100000"/>
              </a:lnSpc>
              <a:spcBef>
                <a:spcPct val="0"/>
              </a:spcBef>
              <a:spcAft>
                <a:spcPts val="600"/>
              </a:spcAft>
              <a:buClr>
                <a:srgbClr val="404040"/>
              </a:buClr>
              <a:buSzPct val="70000"/>
              <a:buFont typeface="Arial" pitchFamily="34" charset="0"/>
              <a:buChar char="►"/>
              <a:tabLst/>
              <a:defRPr/>
            </a:pPr>
            <a:r>
              <a:rPr kumimoji="0" lang="en-US" sz="1400" b="0" i="0" u="none" strike="noStrike" kern="1200" cap="none" spc="0" normalizeH="0" baseline="0" noProof="0">
                <a:ln>
                  <a:noFill/>
                </a:ln>
                <a:solidFill>
                  <a:srgbClr val="000000"/>
                </a:solidFill>
                <a:effectLst/>
                <a:uLnTx/>
                <a:uFillTx/>
                <a:latin typeface="EYInterstate Light" panose="02000506000000020004" pitchFamily="2" charset="0"/>
              </a:rPr>
              <a:t>Ray</a:t>
            </a:r>
          </a:p>
          <a:p>
            <a:pPr marL="182563" marR="0" lvl="0" indent="-182563" algn="l" defTabSz="914400" rtl="0" eaLnBrk="1" fontAlgn="base" latinLnBrk="0" hangingPunct="1">
              <a:lnSpc>
                <a:spcPct val="100000"/>
              </a:lnSpc>
              <a:spcBef>
                <a:spcPct val="0"/>
              </a:spcBef>
              <a:spcAft>
                <a:spcPts val="600"/>
              </a:spcAft>
              <a:buClr>
                <a:srgbClr val="404040"/>
              </a:buClr>
              <a:buSzPct val="70000"/>
              <a:buFont typeface="Arial" pitchFamily="34" charset="0"/>
              <a:buChar char="►"/>
              <a:tabLst/>
              <a:defRPr/>
            </a:pPr>
            <a:r>
              <a:rPr lang="en-US" sz="1400" err="1">
                <a:solidFill>
                  <a:srgbClr val="000000"/>
                </a:solidFill>
                <a:latin typeface="EYInterstate Light" panose="02000506000000020004" pitchFamily="2" charset="0"/>
              </a:rPr>
              <a:t>YellowBrick</a:t>
            </a:r>
            <a:endParaRPr lang="en-US" sz="1400">
              <a:solidFill>
                <a:srgbClr val="000000"/>
              </a:solidFill>
              <a:latin typeface="EYInterstate Light" panose="02000506000000020004" pitchFamily="2" charset="0"/>
            </a:endParaRPr>
          </a:p>
          <a:p>
            <a:pPr marL="182563" marR="0" lvl="0" indent="-182563" algn="l" defTabSz="914400" rtl="0" eaLnBrk="1" fontAlgn="base" latinLnBrk="0" hangingPunct="1">
              <a:lnSpc>
                <a:spcPct val="100000"/>
              </a:lnSpc>
              <a:spcBef>
                <a:spcPct val="0"/>
              </a:spcBef>
              <a:spcAft>
                <a:spcPts val="600"/>
              </a:spcAft>
              <a:buClr>
                <a:srgbClr val="404040"/>
              </a:buClr>
              <a:buSzPct val="70000"/>
              <a:buFont typeface="Arial" pitchFamily="34" charset="0"/>
              <a:buChar char="►"/>
              <a:tabLst/>
              <a:defRPr/>
            </a:pPr>
            <a:r>
              <a:rPr kumimoji="0" lang="en-US" sz="1400" b="0" i="0" u="none" strike="noStrike" kern="1200" cap="none" spc="0" normalizeH="0" baseline="0" noProof="0">
                <a:ln>
                  <a:noFill/>
                </a:ln>
                <a:solidFill>
                  <a:srgbClr val="000000"/>
                </a:solidFill>
                <a:effectLst/>
                <a:uLnTx/>
                <a:uFillTx/>
                <a:latin typeface="EYInterstate Light" panose="02000506000000020004" pitchFamily="2" charset="0"/>
              </a:rPr>
              <a:t>ELI5</a:t>
            </a:r>
          </a:p>
          <a:p>
            <a:pPr marL="182563" marR="0" lvl="0" indent="-182563" algn="l" defTabSz="914400" rtl="0" eaLnBrk="1" fontAlgn="base" latinLnBrk="0" hangingPunct="1">
              <a:lnSpc>
                <a:spcPct val="100000"/>
              </a:lnSpc>
              <a:spcBef>
                <a:spcPct val="0"/>
              </a:spcBef>
              <a:spcAft>
                <a:spcPts val="600"/>
              </a:spcAft>
              <a:buClr>
                <a:srgbClr val="404040"/>
              </a:buClr>
              <a:buSzPct val="70000"/>
              <a:buFont typeface="Arial" pitchFamily="34" charset="0"/>
              <a:buChar char="►"/>
              <a:tabLst/>
              <a:defRPr/>
            </a:pPr>
            <a:r>
              <a:rPr lang="en-US" sz="1400">
                <a:solidFill>
                  <a:srgbClr val="000000"/>
                </a:solidFill>
                <a:latin typeface="EYInterstate Light" panose="02000506000000020004" pitchFamily="2" charset="0"/>
              </a:rPr>
              <a:t>LIME</a:t>
            </a:r>
          </a:p>
          <a:p>
            <a:pPr marL="182563" marR="0" lvl="0" indent="-182563" algn="l" defTabSz="914400" rtl="0" eaLnBrk="1" fontAlgn="base" latinLnBrk="0" hangingPunct="1">
              <a:lnSpc>
                <a:spcPct val="100000"/>
              </a:lnSpc>
              <a:spcBef>
                <a:spcPct val="0"/>
              </a:spcBef>
              <a:spcAft>
                <a:spcPts val="600"/>
              </a:spcAft>
              <a:buClr>
                <a:srgbClr val="404040"/>
              </a:buClr>
              <a:buSzPct val="70000"/>
              <a:buFont typeface="Arial" pitchFamily="34" charset="0"/>
              <a:buChar char="►"/>
              <a:tabLst/>
              <a:defRPr/>
            </a:pPr>
            <a:r>
              <a:rPr kumimoji="0" lang="en-US" sz="1400" b="0" i="0" u="none" strike="noStrike" kern="1200" cap="none" spc="0" normalizeH="0" baseline="0" noProof="0" err="1">
                <a:ln>
                  <a:noFill/>
                </a:ln>
                <a:solidFill>
                  <a:srgbClr val="000000"/>
                </a:solidFill>
                <a:effectLst/>
                <a:uLnTx/>
                <a:uFillTx/>
                <a:latin typeface="EYInterstate Light" panose="02000506000000020004" pitchFamily="2" charset="0"/>
              </a:rPr>
              <a:t>MLxtend</a:t>
            </a:r>
            <a:endParaRPr kumimoji="0" lang="en-US" sz="1400" b="0" i="0" u="none" strike="noStrike" kern="1200" cap="none" spc="0" normalizeH="0" baseline="0" noProof="0">
              <a:ln>
                <a:noFill/>
              </a:ln>
              <a:solidFill>
                <a:srgbClr val="000000"/>
              </a:solidFill>
              <a:effectLst/>
              <a:uLnTx/>
              <a:uFillTx/>
              <a:latin typeface="EYInterstate Light" panose="02000506000000020004" pitchFamily="2" charset="0"/>
            </a:endParaRPr>
          </a:p>
          <a:p>
            <a:pPr marL="182563" marR="0" lvl="0" indent="-182563" algn="l" defTabSz="914400" rtl="0" eaLnBrk="1" fontAlgn="base" latinLnBrk="0" hangingPunct="1">
              <a:lnSpc>
                <a:spcPct val="100000"/>
              </a:lnSpc>
              <a:spcBef>
                <a:spcPct val="0"/>
              </a:spcBef>
              <a:spcAft>
                <a:spcPts val="600"/>
              </a:spcAft>
              <a:buClr>
                <a:srgbClr val="404040"/>
              </a:buClr>
              <a:buSzPct val="70000"/>
              <a:buFont typeface="Arial" pitchFamily="34" charset="0"/>
              <a:buChar char="►"/>
              <a:tabLst/>
              <a:defRPr/>
            </a:pPr>
            <a:r>
              <a:rPr lang="en-US" sz="1400" err="1">
                <a:solidFill>
                  <a:srgbClr val="000000"/>
                </a:solidFill>
                <a:latin typeface="EYInterstate Light" panose="02000506000000020004" pitchFamily="2" charset="0"/>
              </a:rPr>
              <a:t>FeatureTools</a:t>
            </a:r>
            <a:endParaRPr lang="en-US" sz="1400">
              <a:solidFill>
                <a:srgbClr val="000000"/>
              </a:solidFill>
              <a:latin typeface="EYInterstate Light" panose="02000506000000020004" pitchFamily="2" charset="0"/>
            </a:endParaRPr>
          </a:p>
          <a:p>
            <a:pPr marL="182563" marR="0" lvl="0" indent="-182563" algn="l" defTabSz="914400" rtl="0" eaLnBrk="1" fontAlgn="base" latinLnBrk="0" hangingPunct="1">
              <a:lnSpc>
                <a:spcPct val="100000"/>
              </a:lnSpc>
              <a:spcBef>
                <a:spcPct val="0"/>
              </a:spcBef>
              <a:spcAft>
                <a:spcPts val="600"/>
              </a:spcAft>
              <a:buClr>
                <a:srgbClr val="404040"/>
              </a:buClr>
              <a:buSzPct val="70000"/>
              <a:buFont typeface="Arial" pitchFamily="34" charset="0"/>
              <a:buChar char="►"/>
              <a:tabLst/>
              <a:defRPr/>
            </a:pPr>
            <a:r>
              <a:rPr kumimoji="0" lang="en-US" sz="1400" b="0" i="0" u="none" strike="noStrike" kern="1200" cap="none" spc="0" normalizeH="0" baseline="0" noProof="0" err="1">
                <a:ln>
                  <a:noFill/>
                </a:ln>
                <a:solidFill>
                  <a:srgbClr val="000000"/>
                </a:solidFill>
                <a:effectLst/>
                <a:uLnTx/>
                <a:uFillTx/>
                <a:latin typeface="EYInterstate Light" panose="02000506000000020004" pitchFamily="2" charset="0"/>
              </a:rPr>
              <a:t>Autofeat</a:t>
            </a:r>
            <a:endParaRPr kumimoji="0" lang="en-US" sz="1400" b="0" i="0" u="none" strike="noStrike" kern="1200" cap="none" spc="0" normalizeH="0" baseline="0" noProof="0">
              <a:ln>
                <a:noFill/>
              </a:ln>
              <a:solidFill>
                <a:srgbClr val="000000"/>
              </a:solidFill>
              <a:effectLst/>
              <a:uLnTx/>
              <a:uFillTx/>
              <a:latin typeface="EYInterstate Light" panose="02000506000000020004" pitchFamily="2" charset="0"/>
            </a:endParaRPr>
          </a:p>
        </p:txBody>
      </p:sp>
      <p:sp>
        <p:nvSpPr>
          <p:cNvPr id="4" name="TextBox 3">
            <a:extLst>
              <a:ext uri="{FF2B5EF4-FFF2-40B4-BE49-F238E27FC236}">
                <a16:creationId xmlns:a16="http://schemas.microsoft.com/office/drawing/2014/main" id="{77CCE739-3E0D-4F1E-A00F-E5195937286D}"/>
              </a:ext>
            </a:extLst>
          </p:cNvPr>
          <p:cNvSpPr txBox="1"/>
          <p:nvPr/>
        </p:nvSpPr>
        <p:spPr bwMode="gray">
          <a:xfrm>
            <a:off x="7878449" y="4131328"/>
            <a:ext cx="5114537" cy="448468"/>
          </a:xfrm>
          <a:prstGeom prst="roundRect">
            <a:avLst>
              <a:gd name="adj" fmla="val 50000"/>
            </a:avLst>
          </a:prstGeom>
          <a:solidFill>
            <a:srgbClr val="2C973E"/>
          </a:solidFill>
          <a:ln>
            <a:solidFill>
              <a:srgbClr val="2C973E"/>
            </a:solidFill>
          </a:ln>
        </p:spPr>
        <p:txBody>
          <a:bodyPr wrap="square" lIns="72000" tIns="36000" rIns="36000" bIns="36000" rtlCol="0" anchor="ctr">
            <a:spAutoFit/>
          </a:bodyPr>
          <a:lstStyle/>
          <a:p>
            <a:pPr marL="0" marR="0" lvl="0" indent="0" algn="l" defTabSz="914400" rtl="0" eaLnBrk="1" fontAlgn="base" latinLnBrk="0" hangingPunct="1">
              <a:lnSpc>
                <a:spcPct val="100000"/>
              </a:lnSpc>
              <a:spcBef>
                <a:spcPct val="0"/>
              </a:spcBef>
              <a:spcAft>
                <a:spcPct val="50000"/>
              </a:spcAft>
              <a:buClr>
                <a:srgbClr val="FFD200"/>
              </a:buClr>
              <a:buSzPct val="70000"/>
              <a:buFont typeface="Arial" charset="0"/>
              <a:buNone/>
              <a:tabLst/>
              <a:defRPr/>
            </a:pPr>
            <a:r>
              <a:rPr kumimoji="0" lang="en-GB" sz="1600" b="1" i="0" u="none" strike="noStrike" kern="1200" cap="none" spc="0" normalizeH="0" baseline="0" noProof="0" dirty="0">
                <a:ln>
                  <a:noFill/>
                </a:ln>
                <a:solidFill>
                  <a:srgbClr val="FFFFFF"/>
                </a:solidFill>
                <a:effectLst/>
                <a:uLnTx/>
                <a:uFillTx/>
                <a:latin typeface="EYInterstate" panose="02000503020000020004" pitchFamily="2" charset="0"/>
                <a:ea typeface="+mn-ea"/>
                <a:cs typeface="+mn-cs"/>
              </a:rPr>
              <a:t>Model building &amp; optimization</a:t>
            </a:r>
          </a:p>
        </p:txBody>
      </p:sp>
      <p:sp>
        <p:nvSpPr>
          <p:cNvPr id="6" name="Oval 5">
            <a:extLst>
              <a:ext uri="{FF2B5EF4-FFF2-40B4-BE49-F238E27FC236}">
                <a16:creationId xmlns:a16="http://schemas.microsoft.com/office/drawing/2014/main" id="{467611B1-4034-443C-8799-6DAD8D351D89}"/>
              </a:ext>
            </a:extLst>
          </p:cNvPr>
          <p:cNvSpPr/>
          <p:nvPr/>
        </p:nvSpPr>
        <p:spPr>
          <a:xfrm>
            <a:off x="9566063" y="2303893"/>
            <a:ext cx="1613771" cy="1539722"/>
          </a:xfrm>
          <a:prstGeom prst="ellipse">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base" latinLnBrk="0" hangingPunct="1">
              <a:lnSpc>
                <a:spcPct val="100000"/>
              </a:lnSpc>
              <a:spcBef>
                <a:spcPct val="0"/>
              </a:spcBef>
              <a:spcAft>
                <a:spcPct val="50000"/>
              </a:spcAft>
              <a:buClr>
                <a:srgbClr val="FFE600"/>
              </a:buClr>
              <a:buSzPct val="80000"/>
              <a:buFont typeface="Arial" charset="0"/>
              <a:buNone/>
              <a:tabLst/>
              <a:defRPr/>
            </a:pPr>
            <a:endParaRPr kumimoji="0" lang="en-GB" sz="1200" b="0" i="0" u="none" strike="noStrike" kern="1200" cap="none" spc="0" normalizeH="0" baseline="0" noProof="0">
              <a:ln>
                <a:noFill/>
              </a:ln>
              <a:solidFill>
                <a:srgbClr val="000000"/>
              </a:solidFill>
              <a:effectLst/>
              <a:uLnTx/>
              <a:uFillTx/>
              <a:latin typeface="EYInterstate"/>
              <a:ea typeface="+mn-ea"/>
              <a:cs typeface="+mn-cs"/>
            </a:endParaRPr>
          </a:p>
        </p:txBody>
      </p:sp>
      <p:sp>
        <p:nvSpPr>
          <p:cNvPr id="7" name="Oval 6">
            <a:extLst>
              <a:ext uri="{FF2B5EF4-FFF2-40B4-BE49-F238E27FC236}">
                <a16:creationId xmlns:a16="http://schemas.microsoft.com/office/drawing/2014/main" id="{FE14B445-587D-49CE-A6E9-D90B4F352164}"/>
              </a:ext>
            </a:extLst>
          </p:cNvPr>
          <p:cNvSpPr>
            <a:spLocks/>
          </p:cNvSpPr>
          <p:nvPr/>
        </p:nvSpPr>
        <p:spPr>
          <a:xfrm>
            <a:off x="9589938" y="2294167"/>
            <a:ext cx="1613771" cy="1563538"/>
          </a:xfrm>
          <a:prstGeom prst="ellipse">
            <a:avLst/>
          </a:prstGeom>
          <a:noFill/>
          <a:ln w="57150">
            <a:solidFill>
              <a:srgbClr val="2C973E"/>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marL="0" marR="0" lvl="0" indent="0" algn="ctr" defTabSz="685238" rtl="0" eaLnBrk="1" fontAlgn="base" latinLnBrk="0" hangingPunct="1">
              <a:lnSpc>
                <a:spcPct val="100000"/>
              </a:lnSpc>
              <a:spcBef>
                <a:spcPct val="0"/>
              </a:spcBef>
              <a:spcAft>
                <a:spcPts val="300"/>
              </a:spcAft>
              <a:buClr>
                <a:srgbClr val="FFE600"/>
              </a:buClr>
              <a:buSzPct val="80000"/>
              <a:buFont typeface="Arial" charset="0"/>
              <a:buNone/>
              <a:tabLst/>
              <a:defRPr/>
            </a:pPr>
            <a:endParaRPr kumimoji="0" lang="en-ZA" sz="2000" b="1" i="0" u="none" strike="noStrike" kern="1200" cap="none" spc="0" normalizeH="0" baseline="0" noProof="0">
              <a:ln>
                <a:noFill/>
              </a:ln>
              <a:solidFill>
                <a:srgbClr val="646464"/>
              </a:solidFill>
              <a:effectLst/>
              <a:uLnTx/>
              <a:uFillTx/>
              <a:latin typeface="EYInterstate"/>
              <a:ea typeface="+mn-ea"/>
              <a:cs typeface="+mn-cs"/>
            </a:endParaRPr>
          </a:p>
        </p:txBody>
      </p:sp>
      <p:sp>
        <p:nvSpPr>
          <p:cNvPr id="8" name="Rectangle 7">
            <a:extLst>
              <a:ext uri="{FF2B5EF4-FFF2-40B4-BE49-F238E27FC236}">
                <a16:creationId xmlns:a16="http://schemas.microsoft.com/office/drawing/2014/main" id="{85D9CDC4-0A23-4A90-B392-A8BF66B06DE7}"/>
              </a:ext>
            </a:extLst>
          </p:cNvPr>
          <p:cNvSpPr/>
          <p:nvPr/>
        </p:nvSpPr>
        <p:spPr bwMode="gray">
          <a:xfrm>
            <a:off x="1332559" y="4793609"/>
            <a:ext cx="3016157" cy="2482422"/>
          </a:xfrm>
          <a:prstGeom prst="rect">
            <a:avLst/>
          </a:prstGeom>
          <a:solidFill>
            <a:schemeClr val="tx2"/>
          </a:solidFill>
          <a:ln w="19050" cmpd="sng">
            <a:solidFill>
              <a:srgbClr val="00A3AE"/>
            </a:solidFill>
          </a:ln>
        </p:spPr>
        <p:style>
          <a:lnRef idx="2">
            <a:schemeClr val="accent1">
              <a:shade val="50000"/>
            </a:schemeClr>
          </a:lnRef>
          <a:fillRef idx="1">
            <a:schemeClr val="accent1"/>
          </a:fillRef>
          <a:effectRef idx="0">
            <a:schemeClr val="accent1"/>
          </a:effectRef>
          <a:fontRef idx="minor">
            <a:schemeClr val="lt1"/>
          </a:fontRef>
        </p:style>
        <p:txBody>
          <a:bodyPr lIns="71963" tIns="72000" rIns="71963" bIns="71963" numCol="2" rtlCol="0" anchor="t" anchorCtr="0">
            <a:noAutofit/>
          </a:bodyPr>
          <a:lstStyle/>
          <a:p>
            <a:pPr marL="182563" marR="0" lvl="0" indent="-182563" algn="l" defTabSz="914400" rtl="0" eaLnBrk="1" fontAlgn="base" latinLnBrk="0" hangingPunct="1">
              <a:lnSpc>
                <a:spcPct val="100000"/>
              </a:lnSpc>
              <a:spcBef>
                <a:spcPct val="0"/>
              </a:spcBef>
              <a:spcAft>
                <a:spcPts val="600"/>
              </a:spcAft>
              <a:buClr>
                <a:srgbClr val="404040"/>
              </a:buClr>
              <a:buSzPct val="70000"/>
              <a:buFont typeface="Arial" pitchFamily="34" charset="0"/>
              <a:buChar char="►"/>
              <a:tabLst/>
              <a:defRPr/>
            </a:pPr>
            <a:r>
              <a:rPr kumimoji="0" lang="en-US" sz="1400" b="0" i="0" u="none" strike="noStrike" kern="1200" cap="none" spc="0" normalizeH="0" baseline="0" noProof="0" err="1">
                <a:ln>
                  <a:noFill/>
                </a:ln>
                <a:solidFill>
                  <a:srgbClr val="000000"/>
                </a:solidFill>
                <a:effectLst/>
                <a:uLnTx/>
                <a:uFillTx/>
                <a:latin typeface="EYInterstate Light" panose="02000506000000020004" pitchFamily="2" charset="0"/>
              </a:rPr>
              <a:t>Numpy</a:t>
            </a:r>
            <a:endParaRPr kumimoji="0" lang="en-US" sz="1400" b="0" i="0" u="none" strike="noStrike" kern="1200" cap="none" spc="0" normalizeH="0" baseline="0" noProof="0">
              <a:ln>
                <a:noFill/>
              </a:ln>
              <a:solidFill>
                <a:srgbClr val="000000"/>
              </a:solidFill>
              <a:effectLst/>
              <a:uLnTx/>
              <a:uFillTx/>
              <a:latin typeface="EYInterstate Light" panose="02000506000000020004" pitchFamily="2" charset="0"/>
            </a:endParaRPr>
          </a:p>
          <a:p>
            <a:pPr marL="182563" marR="0" lvl="0" indent="-182563" algn="l" defTabSz="914400" rtl="0" eaLnBrk="1" fontAlgn="base" latinLnBrk="0" hangingPunct="1">
              <a:lnSpc>
                <a:spcPct val="100000"/>
              </a:lnSpc>
              <a:spcBef>
                <a:spcPct val="0"/>
              </a:spcBef>
              <a:spcAft>
                <a:spcPts val="600"/>
              </a:spcAft>
              <a:buClr>
                <a:srgbClr val="404040"/>
              </a:buClr>
              <a:buSzPct val="70000"/>
              <a:buFont typeface="Arial" pitchFamily="34" charset="0"/>
              <a:buChar char="►"/>
              <a:tabLst/>
              <a:defRPr/>
            </a:pPr>
            <a:r>
              <a:rPr lang="en-US" sz="1400">
                <a:solidFill>
                  <a:srgbClr val="000000"/>
                </a:solidFill>
                <a:latin typeface="EYInterstate Light" panose="02000506000000020004" pitchFamily="2" charset="0"/>
              </a:rPr>
              <a:t>Pandas</a:t>
            </a:r>
          </a:p>
          <a:p>
            <a:pPr marL="182563" marR="0" lvl="0" indent="-182563" algn="l" defTabSz="914400" rtl="0" eaLnBrk="1" fontAlgn="base" latinLnBrk="0" hangingPunct="1">
              <a:lnSpc>
                <a:spcPct val="100000"/>
              </a:lnSpc>
              <a:spcBef>
                <a:spcPct val="0"/>
              </a:spcBef>
              <a:spcAft>
                <a:spcPts val="600"/>
              </a:spcAft>
              <a:buClr>
                <a:srgbClr val="404040"/>
              </a:buClr>
              <a:buSzPct val="70000"/>
              <a:buFont typeface="Arial" pitchFamily="34" charset="0"/>
              <a:buChar char="►"/>
              <a:tabLst/>
              <a:defRPr/>
            </a:pPr>
            <a:r>
              <a:rPr kumimoji="0" lang="en-US" sz="1400" b="0" i="0" u="none" strike="noStrike" kern="1200" cap="none" spc="0" normalizeH="0" baseline="0" noProof="0" err="1">
                <a:ln>
                  <a:noFill/>
                </a:ln>
                <a:solidFill>
                  <a:srgbClr val="000000"/>
                </a:solidFill>
                <a:effectLst/>
                <a:uLnTx/>
                <a:uFillTx/>
                <a:latin typeface="EYInterstate Light" panose="02000506000000020004" pitchFamily="2" charset="0"/>
              </a:rPr>
              <a:t>Dask</a:t>
            </a:r>
            <a:endParaRPr kumimoji="0" lang="en-US" sz="1400" b="0" i="0" u="none" strike="noStrike" kern="1200" cap="none" spc="0" normalizeH="0" baseline="0" noProof="0">
              <a:ln>
                <a:noFill/>
              </a:ln>
              <a:solidFill>
                <a:srgbClr val="000000"/>
              </a:solidFill>
              <a:effectLst/>
              <a:uLnTx/>
              <a:uFillTx/>
              <a:latin typeface="EYInterstate Light" panose="02000506000000020004" pitchFamily="2" charset="0"/>
            </a:endParaRPr>
          </a:p>
          <a:p>
            <a:pPr marL="182563" marR="0" lvl="0" indent="-182563" algn="l" defTabSz="914400" rtl="0" eaLnBrk="1" fontAlgn="base" latinLnBrk="0" hangingPunct="1">
              <a:lnSpc>
                <a:spcPct val="100000"/>
              </a:lnSpc>
              <a:spcBef>
                <a:spcPct val="0"/>
              </a:spcBef>
              <a:spcAft>
                <a:spcPts val="600"/>
              </a:spcAft>
              <a:buClr>
                <a:srgbClr val="404040"/>
              </a:buClr>
              <a:buSzPct val="70000"/>
              <a:buFont typeface="Arial" pitchFamily="34" charset="0"/>
              <a:buChar char="►"/>
              <a:tabLst/>
              <a:defRPr/>
            </a:pPr>
            <a:r>
              <a:rPr lang="en-US" sz="1400">
                <a:solidFill>
                  <a:srgbClr val="000000"/>
                </a:solidFill>
                <a:latin typeface="EYInterstate Light" panose="02000506000000020004" pitchFamily="2" charset="0"/>
              </a:rPr>
              <a:t>Swifter</a:t>
            </a:r>
          </a:p>
          <a:p>
            <a:pPr marL="182563" marR="0" lvl="0" indent="-182563" algn="l" defTabSz="914400" rtl="0" eaLnBrk="1" fontAlgn="base" latinLnBrk="0" hangingPunct="1">
              <a:lnSpc>
                <a:spcPct val="100000"/>
              </a:lnSpc>
              <a:spcBef>
                <a:spcPct val="0"/>
              </a:spcBef>
              <a:spcAft>
                <a:spcPts val="600"/>
              </a:spcAft>
              <a:buClr>
                <a:srgbClr val="404040"/>
              </a:buClr>
              <a:buSzPct val="70000"/>
              <a:buFont typeface="Arial" pitchFamily="34" charset="0"/>
              <a:buChar char="►"/>
              <a:tabLst/>
              <a:defRPr/>
            </a:pPr>
            <a:r>
              <a:rPr lang="en-US" sz="1400" err="1">
                <a:solidFill>
                  <a:srgbClr val="000000"/>
                </a:solidFill>
                <a:latin typeface="EYInterstate Light" panose="02000506000000020004" pitchFamily="2" charset="0"/>
              </a:rPr>
              <a:t>PandaSQL</a:t>
            </a:r>
            <a:endParaRPr lang="en-US" sz="1400">
              <a:solidFill>
                <a:srgbClr val="000000"/>
              </a:solidFill>
              <a:latin typeface="EYInterstate Light" panose="02000506000000020004" pitchFamily="2" charset="0"/>
            </a:endParaRPr>
          </a:p>
          <a:p>
            <a:pPr marL="182563" marR="0" lvl="0" indent="-182563" algn="l" defTabSz="914400" rtl="0" eaLnBrk="1" fontAlgn="base" latinLnBrk="0" hangingPunct="1">
              <a:lnSpc>
                <a:spcPct val="100000"/>
              </a:lnSpc>
              <a:spcBef>
                <a:spcPct val="0"/>
              </a:spcBef>
              <a:spcAft>
                <a:spcPts val="600"/>
              </a:spcAft>
              <a:buClr>
                <a:srgbClr val="404040"/>
              </a:buClr>
              <a:buSzPct val="70000"/>
              <a:buFont typeface="Arial" pitchFamily="34" charset="0"/>
              <a:buChar char="►"/>
              <a:tabLst/>
              <a:defRPr/>
            </a:pPr>
            <a:r>
              <a:rPr lang="en-US" sz="1400">
                <a:solidFill>
                  <a:srgbClr val="000000"/>
                </a:solidFill>
                <a:latin typeface="EYInterstate Light" panose="02000506000000020004" pitchFamily="2" charset="0"/>
              </a:rPr>
              <a:t>Pickle </a:t>
            </a:r>
          </a:p>
          <a:p>
            <a:pPr marL="182563" marR="0" lvl="0" indent="-182563" algn="l" defTabSz="914400" rtl="0" eaLnBrk="1" fontAlgn="base" latinLnBrk="0" hangingPunct="1">
              <a:lnSpc>
                <a:spcPct val="100000"/>
              </a:lnSpc>
              <a:spcBef>
                <a:spcPct val="0"/>
              </a:spcBef>
              <a:spcAft>
                <a:spcPts val="600"/>
              </a:spcAft>
              <a:buClr>
                <a:srgbClr val="404040"/>
              </a:buClr>
              <a:buSzPct val="70000"/>
              <a:buFont typeface="Arial" pitchFamily="34" charset="0"/>
              <a:buChar char="►"/>
              <a:tabLst/>
              <a:defRPr/>
            </a:pPr>
            <a:r>
              <a:rPr lang="en-US" sz="1400" err="1">
                <a:solidFill>
                  <a:srgbClr val="000000"/>
                </a:solidFill>
                <a:latin typeface="EYInterstate Light" panose="02000506000000020004" pitchFamily="2" charset="0"/>
              </a:rPr>
              <a:t>Joblib</a:t>
            </a:r>
            <a:endParaRPr lang="en-US" sz="1400">
              <a:solidFill>
                <a:srgbClr val="000000"/>
              </a:solidFill>
              <a:latin typeface="EYInterstate Light" panose="02000506000000020004" pitchFamily="2" charset="0"/>
            </a:endParaRPr>
          </a:p>
          <a:p>
            <a:pPr marL="182563" marR="0" lvl="0" indent="-182563" algn="l" defTabSz="914400" rtl="0" eaLnBrk="1" fontAlgn="base" latinLnBrk="0" hangingPunct="1">
              <a:lnSpc>
                <a:spcPct val="100000"/>
              </a:lnSpc>
              <a:spcBef>
                <a:spcPct val="0"/>
              </a:spcBef>
              <a:spcAft>
                <a:spcPts val="600"/>
              </a:spcAft>
              <a:buClr>
                <a:srgbClr val="404040"/>
              </a:buClr>
              <a:buSzPct val="70000"/>
              <a:buFont typeface="Arial" pitchFamily="34" charset="0"/>
              <a:buChar char="►"/>
              <a:tabLst/>
              <a:defRPr/>
            </a:pPr>
            <a:r>
              <a:rPr lang="en-US" sz="1400" err="1">
                <a:solidFill>
                  <a:srgbClr val="000000"/>
                </a:solidFill>
                <a:latin typeface="EYInterstate Light" panose="02000506000000020004" pitchFamily="2" charset="0"/>
              </a:rPr>
              <a:t>Scrapy</a:t>
            </a:r>
            <a:endParaRPr lang="en-US" sz="1400">
              <a:solidFill>
                <a:srgbClr val="000000"/>
              </a:solidFill>
              <a:latin typeface="EYInterstate Light" panose="02000506000000020004" pitchFamily="2" charset="0"/>
            </a:endParaRPr>
          </a:p>
          <a:p>
            <a:pPr marL="182563" marR="0" lvl="0" indent="-182563" algn="l" defTabSz="914400" rtl="0" eaLnBrk="1" fontAlgn="base" latinLnBrk="0" hangingPunct="1">
              <a:lnSpc>
                <a:spcPct val="100000"/>
              </a:lnSpc>
              <a:spcBef>
                <a:spcPct val="0"/>
              </a:spcBef>
              <a:spcAft>
                <a:spcPts val="600"/>
              </a:spcAft>
              <a:buClr>
                <a:srgbClr val="404040"/>
              </a:buClr>
              <a:buSzPct val="70000"/>
              <a:buFont typeface="Arial" pitchFamily="34" charset="0"/>
              <a:buChar char="►"/>
              <a:tabLst/>
              <a:defRPr/>
            </a:pPr>
            <a:r>
              <a:rPr lang="en-US" sz="1400" err="1">
                <a:solidFill>
                  <a:srgbClr val="000000"/>
                </a:solidFill>
                <a:latin typeface="EYInterstate Light" panose="02000506000000020004" pitchFamily="2" charset="0"/>
              </a:rPr>
              <a:t>BeautifulSoup</a:t>
            </a:r>
            <a:endParaRPr lang="en-US" sz="1400">
              <a:solidFill>
                <a:srgbClr val="000000"/>
              </a:solidFill>
              <a:latin typeface="EYInterstate Light" panose="02000506000000020004" pitchFamily="2" charset="0"/>
            </a:endParaRPr>
          </a:p>
          <a:p>
            <a:pPr marL="182563" marR="0" lvl="0" indent="-182563" algn="l" defTabSz="914400" rtl="0" eaLnBrk="1" fontAlgn="base" latinLnBrk="0" hangingPunct="1">
              <a:lnSpc>
                <a:spcPct val="100000"/>
              </a:lnSpc>
              <a:spcBef>
                <a:spcPct val="0"/>
              </a:spcBef>
              <a:spcAft>
                <a:spcPts val="600"/>
              </a:spcAft>
              <a:buClr>
                <a:srgbClr val="404040"/>
              </a:buClr>
              <a:buSzPct val="70000"/>
              <a:buFont typeface="Arial" pitchFamily="34" charset="0"/>
              <a:buChar char="►"/>
              <a:tabLst/>
              <a:defRPr/>
            </a:pPr>
            <a:r>
              <a:rPr lang="en-US" sz="1400" err="1">
                <a:solidFill>
                  <a:srgbClr val="000000"/>
                </a:solidFill>
                <a:latin typeface="EYInterstate Light" panose="02000506000000020004" pitchFamily="2" charset="0"/>
              </a:rPr>
              <a:t>Tqdm</a:t>
            </a:r>
            <a:endParaRPr lang="en-US" sz="1400">
              <a:solidFill>
                <a:srgbClr val="000000"/>
              </a:solidFill>
              <a:latin typeface="EYInterstate Light" panose="02000506000000020004" pitchFamily="2" charset="0"/>
            </a:endParaRPr>
          </a:p>
          <a:p>
            <a:pPr marL="182563" marR="0" lvl="0" indent="-182563" algn="l" defTabSz="914400" rtl="0" eaLnBrk="1" fontAlgn="base" latinLnBrk="0" hangingPunct="1">
              <a:lnSpc>
                <a:spcPct val="100000"/>
              </a:lnSpc>
              <a:spcBef>
                <a:spcPct val="0"/>
              </a:spcBef>
              <a:spcAft>
                <a:spcPts val="600"/>
              </a:spcAft>
              <a:buClr>
                <a:srgbClr val="404040"/>
              </a:buClr>
              <a:buSzPct val="70000"/>
              <a:buFont typeface="Arial" pitchFamily="34" charset="0"/>
              <a:buChar char="►"/>
              <a:tabLst/>
              <a:defRPr/>
            </a:pPr>
            <a:r>
              <a:rPr lang="en-US" sz="1400" err="1">
                <a:solidFill>
                  <a:srgbClr val="000000"/>
                </a:solidFill>
                <a:latin typeface="EYInterstate Light" panose="02000506000000020004" pitchFamily="2" charset="0"/>
              </a:rPr>
              <a:t>Pylab</a:t>
            </a:r>
            <a:endParaRPr lang="en-US" sz="1400">
              <a:solidFill>
                <a:srgbClr val="000000"/>
              </a:solidFill>
              <a:latin typeface="EYInterstate Light" panose="02000506000000020004" pitchFamily="2" charset="0"/>
            </a:endParaRPr>
          </a:p>
          <a:p>
            <a:pPr marL="182563" marR="0" lvl="0" indent="-182563" algn="l" defTabSz="914400" rtl="0" eaLnBrk="1" fontAlgn="base" latinLnBrk="0" hangingPunct="1">
              <a:lnSpc>
                <a:spcPct val="100000"/>
              </a:lnSpc>
              <a:spcBef>
                <a:spcPct val="0"/>
              </a:spcBef>
              <a:spcAft>
                <a:spcPts val="600"/>
              </a:spcAft>
              <a:buClr>
                <a:srgbClr val="404040"/>
              </a:buClr>
              <a:buSzPct val="70000"/>
              <a:buFont typeface="Arial" pitchFamily="34" charset="0"/>
              <a:buChar char="►"/>
              <a:tabLst/>
              <a:defRPr/>
            </a:pPr>
            <a:endParaRPr lang="en-US" sz="1400">
              <a:solidFill>
                <a:srgbClr val="000000"/>
              </a:solidFill>
              <a:latin typeface="EYInterstate Light" panose="02000506000000020004" pitchFamily="2" charset="0"/>
            </a:endParaRPr>
          </a:p>
          <a:p>
            <a:pPr marL="182563" marR="0" lvl="0" indent="-182563" algn="l" defTabSz="914400" rtl="0" eaLnBrk="1" fontAlgn="base" latinLnBrk="0" hangingPunct="1">
              <a:lnSpc>
                <a:spcPct val="100000"/>
              </a:lnSpc>
              <a:spcBef>
                <a:spcPct val="0"/>
              </a:spcBef>
              <a:spcAft>
                <a:spcPts val="600"/>
              </a:spcAft>
              <a:buClr>
                <a:srgbClr val="404040"/>
              </a:buClr>
              <a:buSzPct val="70000"/>
              <a:buFont typeface="Arial" pitchFamily="34" charset="0"/>
              <a:buChar char="►"/>
              <a:tabLst/>
              <a:defRPr/>
            </a:pPr>
            <a:endParaRPr kumimoji="0" lang="en-US" sz="1400" b="0" i="0" u="none" strike="noStrike" kern="1200" cap="none" spc="0" normalizeH="0" baseline="0" noProof="0">
              <a:ln>
                <a:noFill/>
              </a:ln>
              <a:solidFill>
                <a:srgbClr val="000000"/>
              </a:solidFill>
              <a:effectLst/>
              <a:uLnTx/>
              <a:uFillTx/>
              <a:latin typeface="EYInterstate Light" panose="02000506000000020004" pitchFamily="2" charset="0"/>
            </a:endParaRPr>
          </a:p>
          <a:p>
            <a:pPr marL="182563" marR="0" lvl="0" indent="-182563" algn="l" defTabSz="914400" rtl="0" eaLnBrk="1" fontAlgn="base" latinLnBrk="0" hangingPunct="1">
              <a:lnSpc>
                <a:spcPct val="100000"/>
              </a:lnSpc>
              <a:spcBef>
                <a:spcPct val="0"/>
              </a:spcBef>
              <a:spcAft>
                <a:spcPts val="600"/>
              </a:spcAft>
              <a:buClr>
                <a:srgbClr val="404040"/>
              </a:buClr>
              <a:buSzPct val="70000"/>
              <a:buFont typeface="Arial" pitchFamily="34" charset="0"/>
              <a:buChar char="►"/>
              <a:tabLst/>
              <a:defRPr/>
            </a:pPr>
            <a:endParaRPr kumimoji="0" lang="en-US" sz="1400" b="0" i="0" u="none" strike="noStrike" kern="1200" cap="none" spc="0" normalizeH="0" baseline="0" noProof="0">
              <a:ln>
                <a:noFill/>
              </a:ln>
              <a:solidFill>
                <a:srgbClr val="000000"/>
              </a:solidFill>
              <a:effectLst/>
              <a:uLnTx/>
              <a:uFillTx/>
              <a:latin typeface="EYInterstate Light" panose="02000506000000020004" pitchFamily="2" charset="0"/>
            </a:endParaRPr>
          </a:p>
        </p:txBody>
      </p:sp>
      <p:sp>
        <p:nvSpPr>
          <p:cNvPr id="9" name="Rectangle 8">
            <a:extLst>
              <a:ext uri="{FF2B5EF4-FFF2-40B4-BE49-F238E27FC236}">
                <a16:creationId xmlns:a16="http://schemas.microsoft.com/office/drawing/2014/main" id="{915A6ED3-33E9-488F-8CB0-5F57FB492C17}"/>
              </a:ext>
            </a:extLst>
          </p:cNvPr>
          <p:cNvSpPr/>
          <p:nvPr/>
        </p:nvSpPr>
        <p:spPr bwMode="gray">
          <a:xfrm>
            <a:off x="4550736" y="4793608"/>
            <a:ext cx="3188015" cy="2482423"/>
          </a:xfrm>
          <a:prstGeom prst="rect">
            <a:avLst/>
          </a:prstGeom>
          <a:solidFill>
            <a:schemeClr val="tx2"/>
          </a:solidFill>
          <a:ln w="19050" cmpd="sng">
            <a:solidFill>
              <a:srgbClr val="91278F"/>
            </a:solidFill>
          </a:ln>
        </p:spPr>
        <p:style>
          <a:lnRef idx="2">
            <a:schemeClr val="accent1">
              <a:shade val="50000"/>
            </a:schemeClr>
          </a:lnRef>
          <a:fillRef idx="1">
            <a:schemeClr val="accent1"/>
          </a:fillRef>
          <a:effectRef idx="0">
            <a:schemeClr val="accent1"/>
          </a:effectRef>
          <a:fontRef idx="minor">
            <a:schemeClr val="lt1"/>
          </a:fontRef>
        </p:style>
        <p:txBody>
          <a:bodyPr lIns="71963" tIns="72000" rIns="71963" bIns="71963" numCol="2" rtlCol="0" anchor="t" anchorCtr="0">
            <a:noAutofit/>
          </a:bodyPr>
          <a:lstStyle/>
          <a:p>
            <a:pPr marL="182563" marR="0" lvl="0" indent="-182563" algn="l" defTabSz="914400" rtl="0" eaLnBrk="1" fontAlgn="base" latinLnBrk="0" hangingPunct="1">
              <a:lnSpc>
                <a:spcPct val="100000"/>
              </a:lnSpc>
              <a:spcBef>
                <a:spcPct val="0"/>
              </a:spcBef>
              <a:spcAft>
                <a:spcPts val="600"/>
              </a:spcAft>
              <a:buClr>
                <a:srgbClr val="404040"/>
              </a:buClr>
              <a:buSzPct val="70000"/>
              <a:buFont typeface="Arial" pitchFamily="34" charset="0"/>
              <a:buChar char="►"/>
              <a:tabLst/>
              <a:defRPr/>
            </a:pPr>
            <a:r>
              <a:rPr lang="en-US" sz="1400">
                <a:solidFill>
                  <a:srgbClr val="000000"/>
                </a:solidFill>
                <a:latin typeface="EYInterstate Light" panose="02000506000000020004" pitchFamily="2" charset="0"/>
              </a:rPr>
              <a:t>Seaborn </a:t>
            </a:r>
          </a:p>
          <a:p>
            <a:pPr marL="182563" marR="0" lvl="0" indent="-182563" algn="l" defTabSz="914400" rtl="0" eaLnBrk="1" fontAlgn="base" latinLnBrk="0" hangingPunct="1">
              <a:lnSpc>
                <a:spcPct val="100000"/>
              </a:lnSpc>
              <a:spcBef>
                <a:spcPct val="0"/>
              </a:spcBef>
              <a:spcAft>
                <a:spcPts val="600"/>
              </a:spcAft>
              <a:buClr>
                <a:srgbClr val="404040"/>
              </a:buClr>
              <a:buSzPct val="70000"/>
              <a:buFont typeface="Arial" pitchFamily="34" charset="0"/>
              <a:buChar char="►"/>
              <a:tabLst/>
              <a:defRPr/>
            </a:pPr>
            <a:r>
              <a:rPr lang="en-US" sz="1400" err="1">
                <a:solidFill>
                  <a:srgbClr val="000000"/>
                </a:solidFill>
                <a:latin typeface="EYInterstate Light" panose="02000506000000020004" pitchFamily="2" charset="0"/>
              </a:rPr>
              <a:t>Plotly</a:t>
            </a:r>
            <a:endParaRPr lang="en-US" sz="1400">
              <a:solidFill>
                <a:srgbClr val="000000"/>
              </a:solidFill>
              <a:latin typeface="EYInterstate Light" panose="02000506000000020004" pitchFamily="2" charset="0"/>
            </a:endParaRPr>
          </a:p>
          <a:p>
            <a:pPr marL="182563" marR="0" lvl="0" indent="-182563" algn="l" defTabSz="914400" rtl="0" eaLnBrk="1" fontAlgn="base" latinLnBrk="0" hangingPunct="1">
              <a:lnSpc>
                <a:spcPct val="100000"/>
              </a:lnSpc>
              <a:spcBef>
                <a:spcPct val="0"/>
              </a:spcBef>
              <a:spcAft>
                <a:spcPts val="600"/>
              </a:spcAft>
              <a:buClr>
                <a:srgbClr val="404040"/>
              </a:buClr>
              <a:buSzPct val="70000"/>
              <a:buFont typeface="Arial" pitchFamily="34" charset="0"/>
              <a:buChar char="►"/>
              <a:tabLst/>
              <a:defRPr/>
            </a:pPr>
            <a:r>
              <a:rPr lang="en-US" sz="1400">
                <a:solidFill>
                  <a:srgbClr val="000000"/>
                </a:solidFill>
                <a:latin typeface="EYInterstate Light" panose="02000506000000020004" pitchFamily="2" charset="0"/>
              </a:rPr>
              <a:t>d</a:t>
            </a:r>
            <a:r>
              <a:rPr kumimoji="0" lang="en-US" sz="1400" b="0" i="0" u="none" strike="noStrike" kern="1200" cap="none" spc="0" normalizeH="0" baseline="0" noProof="0" err="1">
                <a:ln>
                  <a:noFill/>
                </a:ln>
                <a:solidFill>
                  <a:srgbClr val="000000"/>
                </a:solidFill>
                <a:effectLst/>
                <a:uLnTx/>
                <a:uFillTx/>
                <a:latin typeface="EYInterstate Light" panose="02000506000000020004" pitchFamily="2" charset="0"/>
              </a:rPr>
              <a:t>abl</a:t>
            </a:r>
            <a:r>
              <a:rPr kumimoji="0" lang="en-US" sz="1400" b="0" i="0" u="none" strike="noStrike" kern="1200" cap="none" spc="0" normalizeH="0" baseline="0" noProof="0">
                <a:ln>
                  <a:noFill/>
                </a:ln>
                <a:solidFill>
                  <a:srgbClr val="000000"/>
                </a:solidFill>
                <a:effectLst/>
                <a:uLnTx/>
                <a:uFillTx/>
                <a:latin typeface="EYInterstate Light" panose="02000506000000020004" pitchFamily="2" charset="0"/>
              </a:rPr>
              <a:t> (Data Analysis Baseline Library)</a:t>
            </a:r>
          </a:p>
          <a:p>
            <a:pPr marL="182563" marR="0" lvl="0" indent="-182563" algn="l" defTabSz="914400" rtl="0" eaLnBrk="1" fontAlgn="base" latinLnBrk="0" hangingPunct="1">
              <a:lnSpc>
                <a:spcPct val="100000"/>
              </a:lnSpc>
              <a:spcBef>
                <a:spcPct val="0"/>
              </a:spcBef>
              <a:spcAft>
                <a:spcPts val="600"/>
              </a:spcAft>
              <a:buClr>
                <a:srgbClr val="404040"/>
              </a:buClr>
              <a:buSzPct val="70000"/>
              <a:buFont typeface="Arial" pitchFamily="34" charset="0"/>
              <a:buChar char="►"/>
              <a:tabLst/>
              <a:defRPr/>
            </a:pPr>
            <a:r>
              <a:rPr lang="en-US" sz="1400" err="1">
                <a:solidFill>
                  <a:srgbClr val="000000"/>
                </a:solidFill>
                <a:latin typeface="EYInterstate Light" panose="02000506000000020004" pitchFamily="2" charset="0"/>
              </a:rPr>
              <a:t>Missingno</a:t>
            </a:r>
            <a:endParaRPr lang="en-US" sz="1400">
              <a:solidFill>
                <a:srgbClr val="000000"/>
              </a:solidFill>
              <a:latin typeface="EYInterstate Light" panose="02000506000000020004" pitchFamily="2" charset="0"/>
            </a:endParaRPr>
          </a:p>
          <a:p>
            <a:pPr marL="182563" marR="0" lvl="0" indent="-182563" algn="l" defTabSz="914400" rtl="0" eaLnBrk="1" fontAlgn="base" latinLnBrk="0" hangingPunct="1">
              <a:lnSpc>
                <a:spcPct val="100000"/>
              </a:lnSpc>
              <a:spcBef>
                <a:spcPct val="0"/>
              </a:spcBef>
              <a:spcAft>
                <a:spcPts val="600"/>
              </a:spcAft>
              <a:buClr>
                <a:srgbClr val="404040"/>
              </a:buClr>
              <a:buSzPct val="70000"/>
              <a:buFont typeface="Arial" pitchFamily="34" charset="0"/>
              <a:buChar char="►"/>
              <a:tabLst/>
              <a:defRPr/>
            </a:pPr>
            <a:r>
              <a:rPr kumimoji="0" lang="en-US" sz="1400" b="0" i="0" u="none" strike="noStrike" kern="1200" cap="none" spc="0" normalizeH="0" baseline="0" noProof="0" err="1">
                <a:ln>
                  <a:noFill/>
                </a:ln>
                <a:solidFill>
                  <a:srgbClr val="000000"/>
                </a:solidFill>
                <a:effectLst/>
                <a:uLnTx/>
                <a:uFillTx/>
                <a:latin typeface="EYInterstate Light" panose="02000506000000020004" pitchFamily="2" charset="0"/>
              </a:rPr>
              <a:t>AutoViz</a:t>
            </a:r>
            <a:endParaRPr kumimoji="0" lang="en-US" sz="1400" b="0" i="0" u="none" strike="noStrike" kern="1200" cap="none" spc="0" normalizeH="0" baseline="0" noProof="0">
              <a:ln>
                <a:noFill/>
              </a:ln>
              <a:solidFill>
                <a:srgbClr val="000000"/>
              </a:solidFill>
              <a:effectLst/>
              <a:uLnTx/>
              <a:uFillTx/>
              <a:latin typeface="EYInterstate Light" panose="02000506000000020004" pitchFamily="2" charset="0"/>
            </a:endParaRPr>
          </a:p>
          <a:p>
            <a:pPr marL="182563" marR="0" lvl="0" indent="-182563" algn="l" defTabSz="914400" rtl="0" eaLnBrk="1" fontAlgn="base" latinLnBrk="0" hangingPunct="1">
              <a:lnSpc>
                <a:spcPct val="100000"/>
              </a:lnSpc>
              <a:spcBef>
                <a:spcPct val="0"/>
              </a:spcBef>
              <a:spcAft>
                <a:spcPts val="600"/>
              </a:spcAft>
              <a:buClr>
                <a:srgbClr val="404040"/>
              </a:buClr>
              <a:buSzPct val="70000"/>
              <a:buFont typeface="Arial" pitchFamily="34" charset="0"/>
              <a:buChar char="►"/>
              <a:tabLst/>
              <a:defRPr/>
            </a:pPr>
            <a:r>
              <a:rPr lang="en-US" sz="1400" err="1">
                <a:solidFill>
                  <a:srgbClr val="000000"/>
                </a:solidFill>
                <a:latin typeface="EYInterstate Light" panose="02000506000000020004" pitchFamily="2" charset="0"/>
              </a:rPr>
              <a:t>PyOD</a:t>
            </a:r>
            <a:endParaRPr lang="en-US" sz="1400">
              <a:solidFill>
                <a:srgbClr val="000000"/>
              </a:solidFill>
              <a:latin typeface="EYInterstate Light" panose="02000506000000020004" pitchFamily="2" charset="0"/>
            </a:endParaRPr>
          </a:p>
          <a:p>
            <a:pPr marL="182563" marR="0" lvl="0" indent="-182563" algn="l" defTabSz="914400" rtl="0" eaLnBrk="1" fontAlgn="base" latinLnBrk="0" hangingPunct="1">
              <a:lnSpc>
                <a:spcPct val="100000"/>
              </a:lnSpc>
              <a:spcBef>
                <a:spcPct val="0"/>
              </a:spcBef>
              <a:spcAft>
                <a:spcPts val="600"/>
              </a:spcAft>
              <a:buClr>
                <a:srgbClr val="404040"/>
              </a:buClr>
              <a:buSzPct val="70000"/>
              <a:buFont typeface="Arial" pitchFamily="34" charset="0"/>
              <a:buChar char="►"/>
              <a:tabLst/>
              <a:defRPr/>
            </a:pPr>
            <a:r>
              <a:rPr lang="en-US" sz="1400" err="1">
                <a:solidFill>
                  <a:srgbClr val="000000"/>
                </a:solidFill>
                <a:latin typeface="EYInterstate Light" panose="02000506000000020004" pitchFamily="2" charset="0"/>
              </a:rPr>
              <a:t>AutoImpute</a:t>
            </a:r>
            <a:endParaRPr lang="en-US" sz="1400">
              <a:solidFill>
                <a:srgbClr val="000000"/>
              </a:solidFill>
              <a:latin typeface="EYInterstate Light" panose="02000506000000020004" pitchFamily="2" charset="0"/>
            </a:endParaRPr>
          </a:p>
          <a:p>
            <a:pPr marL="182563" lvl="0" indent="-182563">
              <a:spcAft>
                <a:spcPts val="600"/>
              </a:spcAft>
              <a:buClr>
                <a:srgbClr val="404040"/>
              </a:buClr>
              <a:buSzPct val="70000"/>
              <a:buFont typeface="Arial" pitchFamily="34" charset="0"/>
              <a:buChar char="►"/>
            </a:pPr>
            <a:r>
              <a:rPr lang="en-US" sz="1400" err="1">
                <a:solidFill>
                  <a:srgbClr val="000000"/>
                </a:solidFill>
                <a:latin typeface="EYInterstate Light" panose="02000506000000020004" pitchFamily="2" charset="0"/>
              </a:rPr>
              <a:t>Tsfresh</a:t>
            </a:r>
            <a:endParaRPr kumimoji="0" lang="en-US" sz="1400" b="0" i="0" u="none" strike="noStrike" kern="1200" cap="none" spc="0" normalizeH="0" baseline="0" noProof="0">
              <a:ln>
                <a:noFill/>
              </a:ln>
              <a:solidFill>
                <a:srgbClr val="000000"/>
              </a:solidFill>
              <a:effectLst/>
              <a:uLnTx/>
              <a:uFillTx/>
              <a:latin typeface="EYInterstate Light" panose="02000506000000020004" pitchFamily="2" charset="0"/>
            </a:endParaRPr>
          </a:p>
          <a:p>
            <a:pPr marL="182563" marR="0" lvl="0" indent="-182563" algn="l" defTabSz="914400" rtl="0" eaLnBrk="1" fontAlgn="base" latinLnBrk="0" hangingPunct="1">
              <a:lnSpc>
                <a:spcPct val="100000"/>
              </a:lnSpc>
              <a:spcBef>
                <a:spcPct val="0"/>
              </a:spcBef>
              <a:spcAft>
                <a:spcPts val="600"/>
              </a:spcAft>
              <a:buClr>
                <a:srgbClr val="404040"/>
              </a:buClr>
              <a:buSzPct val="70000"/>
              <a:buFont typeface="Arial" pitchFamily="34" charset="0"/>
              <a:buChar char="►"/>
              <a:tabLst/>
              <a:defRPr/>
            </a:pPr>
            <a:endParaRPr kumimoji="0" lang="en-US" sz="1400" b="0" i="0" u="none" strike="noStrike" kern="1200" cap="none" spc="0" normalizeH="0" baseline="0" noProof="0">
              <a:ln>
                <a:noFill/>
              </a:ln>
              <a:solidFill>
                <a:srgbClr val="000000"/>
              </a:solidFill>
              <a:effectLst/>
              <a:uLnTx/>
              <a:uFillTx/>
              <a:latin typeface="EYInterstate Light" panose="02000506000000020004" pitchFamily="2" charset="0"/>
            </a:endParaRPr>
          </a:p>
          <a:p>
            <a:pPr marL="182563" marR="0" lvl="0" indent="-182563" algn="l" defTabSz="914400" rtl="0" eaLnBrk="1" fontAlgn="base" latinLnBrk="0" hangingPunct="1">
              <a:lnSpc>
                <a:spcPct val="100000"/>
              </a:lnSpc>
              <a:spcBef>
                <a:spcPct val="0"/>
              </a:spcBef>
              <a:spcAft>
                <a:spcPts val="600"/>
              </a:spcAft>
              <a:buClr>
                <a:srgbClr val="404040"/>
              </a:buClr>
              <a:buSzPct val="70000"/>
              <a:buFont typeface="Arial" pitchFamily="34" charset="0"/>
              <a:buChar char="►"/>
              <a:tabLst/>
              <a:defRPr/>
            </a:pPr>
            <a:endParaRPr kumimoji="0" lang="en-US" sz="1400" b="0" i="0" u="none" strike="noStrike" kern="1200" cap="none" spc="0" normalizeH="0" baseline="0" noProof="0">
              <a:ln>
                <a:noFill/>
              </a:ln>
              <a:solidFill>
                <a:srgbClr val="000000"/>
              </a:solidFill>
              <a:effectLst/>
              <a:uLnTx/>
              <a:uFillTx/>
              <a:latin typeface="EYInterstate Light" panose="02000506000000020004" pitchFamily="2" charset="0"/>
            </a:endParaRPr>
          </a:p>
        </p:txBody>
      </p:sp>
      <p:sp>
        <p:nvSpPr>
          <p:cNvPr id="11" name="TextBox 10">
            <a:extLst>
              <a:ext uri="{FF2B5EF4-FFF2-40B4-BE49-F238E27FC236}">
                <a16:creationId xmlns:a16="http://schemas.microsoft.com/office/drawing/2014/main" id="{66FB5248-F394-4905-BB1F-6C157E28FB65}"/>
              </a:ext>
            </a:extLst>
          </p:cNvPr>
          <p:cNvSpPr txBox="1"/>
          <p:nvPr/>
        </p:nvSpPr>
        <p:spPr bwMode="gray">
          <a:xfrm>
            <a:off x="1332559" y="4105808"/>
            <a:ext cx="3050051" cy="499506"/>
          </a:xfrm>
          <a:prstGeom prst="roundRect">
            <a:avLst>
              <a:gd name="adj" fmla="val 50000"/>
            </a:avLst>
          </a:prstGeom>
          <a:solidFill>
            <a:schemeClr val="accent5"/>
          </a:solidFill>
        </p:spPr>
        <p:txBody>
          <a:bodyPr wrap="square" lIns="71963" tIns="53972" rIns="71963" bIns="53972" rtlCol="0" anchor="ctr">
            <a:spAutoFit/>
          </a:bodyPr>
          <a:lstStyle/>
          <a:p>
            <a:pPr marL="0" marR="0" lvl="0" indent="0" algn="l" defTabSz="914400" rtl="0" eaLnBrk="1" fontAlgn="base" latinLnBrk="0" hangingPunct="1">
              <a:lnSpc>
                <a:spcPct val="100000"/>
              </a:lnSpc>
              <a:spcBef>
                <a:spcPct val="0"/>
              </a:spcBef>
              <a:spcAft>
                <a:spcPct val="50000"/>
              </a:spcAft>
              <a:buClr>
                <a:srgbClr val="FFD200"/>
              </a:buClr>
              <a:buSzPct val="70000"/>
              <a:buFont typeface="Arial" charset="0"/>
              <a:buNone/>
              <a:tabLst/>
              <a:defRPr/>
            </a:pPr>
            <a:r>
              <a:rPr kumimoji="0" lang="en-GB" sz="1600" b="1" i="0" u="none" strike="noStrike" kern="1200" cap="none" spc="0" normalizeH="0" baseline="0" noProof="0" dirty="0">
                <a:ln>
                  <a:noFill/>
                </a:ln>
                <a:solidFill>
                  <a:srgbClr val="FFFFFF"/>
                </a:solidFill>
                <a:effectLst/>
                <a:uLnTx/>
                <a:uFillTx/>
                <a:latin typeface="EYInterstate" panose="02000503020000020004" pitchFamily="2" charset="0"/>
                <a:ea typeface="+mn-ea"/>
                <a:cs typeface="+mn-cs"/>
              </a:rPr>
              <a:t>Data wrangling</a:t>
            </a:r>
          </a:p>
        </p:txBody>
      </p:sp>
      <p:sp>
        <p:nvSpPr>
          <p:cNvPr id="14" name="Oval 13">
            <a:extLst>
              <a:ext uri="{FF2B5EF4-FFF2-40B4-BE49-F238E27FC236}">
                <a16:creationId xmlns:a16="http://schemas.microsoft.com/office/drawing/2014/main" id="{A3CC324A-B2E2-418B-8E6A-C404A0FF4F4F}"/>
              </a:ext>
            </a:extLst>
          </p:cNvPr>
          <p:cNvSpPr/>
          <p:nvPr/>
        </p:nvSpPr>
        <p:spPr>
          <a:xfrm>
            <a:off x="1986902" y="2252893"/>
            <a:ext cx="1592818" cy="1543237"/>
          </a:xfrm>
          <a:prstGeom prst="ellipse">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base" latinLnBrk="0" hangingPunct="1">
              <a:lnSpc>
                <a:spcPct val="100000"/>
              </a:lnSpc>
              <a:spcBef>
                <a:spcPct val="0"/>
              </a:spcBef>
              <a:spcAft>
                <a:spcPct val="50000"/>
              </a:spcAft>
              <a:buClr>
                <a:srgbClr val="FFE600"/>
              </a:buClr>
              <a:buSzPct val="80000"/>
              <a:buFont typeface="Arial" charset="0"/>
              <a:buNone/>
              <a:tabLst/>
              <a:defRPr/>
            </a:pPr>
            <a:endParaRPr kumimoji="0" lang="en-GB" sz="1200" b="0" i="0" u="none" strike="noStrike" kern="1200" cap="none" spc="0" normalizeH="0" baseline="0" noProof="0">
              <a:ln>
                <a:noFill/>
              </a:ln>
              <a:solidFill>
                <a:srgbClr val="000000"/>
              </a:solidFill>
              <a:effectLst/>
              <a:uLnTx/>
              <a:uFillTx/>
              <a:latin typeface="EYInterstate"/>
              <a:ea typeface="+mn-ea"/>
              <a:cs typeface="+mn-cs"/>
            </a:endParaRPr>
          </a:p>
        </p:txBody>
      </p:sp>
      <p:sp>
        <p:nvSpPr>
          <p:cNvPr id="15" name="Oval 14">
            <a:extLst>
              <a:ext uri="{FF2B5EF4-FFF2-40B4-BE49-F238E27FC236}">
                <a16:creationId xmlns:a16="http://schemas.microsoft.com/office/drawing/2014/main" id="{3CBBB66E-44C3-4BFA-929B-03048150A78E}"/>
              </a:ext>
            </a:extLst>
          </p:cNvPr>
          <p:cNvSpPr>
            <a:spLocks/>
          </p:cNvSpPr>
          <p:nvPr/>
        </p:nvSpPr>
        <p:spPr>
          <a:xfrm>
            <a:off x="1986902" y="2260772"/>
            <a:ext cx="1613771" cy="1563538"/>
          </a:xfrm>
          <a:prstGeom prst="ellipse">
            <a:avLst/>
          </a:prstGeom>
          <a:noFill/>
          <a:ln w="571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marL="0" marR="0" lvl="0" indent="0" algn="ctr" defTabSz="685238" rtl="0" eaLnBrk="1" fontAlgn="base" latinLnBrk="0" hangingPunct="1">
              <a:lnSpc>
                <a:spcPct val="100000"/>
              </a:lnSpc>
              <a:spcBef>
                <a:spcPct val="0"/>
              </a:spcBef>
              <a:spcAft>
                <a:spcPts val="300"/>
              </a:spcAft>
              <a:buClr>
                <a:srgbClr val="FFE600"/>
              </a:buClr>
              <a:buSzPct val="80000"/>
              <a:buFont typeface="Arial" charset="0"/>
              <a:buNone/>
              <a:tabLst/>
              <a:defRPr/>
            </a:pPr>
            <a:endParaRPr kumimoji="0" lang="en-ZA" sz="2000" b="1" i="0" u="none" strike="noStrike" kern="1200" cap="none" spc="0" normalizeH="0" baseline="0" noProof="0">
              <a:ln>
                <a:noFill/>
              </a:ln>
              <a:solidFill>
                <a:srgbClr val="646464"/>
              </a:solidFill>
              <a:effectLst/>
              <a:uLnTx/>
              <a:uFillTx/>
              <a:latin typeface="EYInterstate"/>
              <a:ea typeface="+mn-ea"/>
              <a:cs typeface="+mn-cs"/>
            </a:endParaRPr>
          </a:p>
        </p:txBody>
      </p:sp>
      <p:sp>
        <p:nvSpPr>
          <p:cNvPr id="17" name="Oval 16">
            <a:extLst>
              <a:ext uri="{FF2B5EF4-FFF2-40B4-BE49-F238E27FC236}">
                <a16:creationId xmlns:a16="http://schemas.microsoft.com/office/drawing/2014/main" id="{86656C7A-179C-4D80-943B-3D050A63039B}"/>
              </a:ext>
            </a:extLst>
          </p:cNvPr>
          <p:cNvSpPr>
            <a:spLocks/>
          </p:cNvSpPr>
          <p:nvPr/>
        </p:nvSpPr>
        <p:spPr>
          <a:xfrm>
            <a:off x="5347952" y="2294167"/>
            <a:ext cx="1613771" cy="1563538"/>
          </a:xfrm>
          <a:prstGeom prst="ellipse">
            <a:avLst/>
          </a:prstGeom>
          <a:noFill/>
          <a:ln w="57150">
            <a:solidFill>
              <a:srgbClr val="91278F"/>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marL="0" marR="0" lvl="0" indent="0" algn="ctr" defTabSz="685238" rtl="0" eaLnBrk="1" fontAlgn="base" latinLnBrk="0" hangingPunct="1">
              <a:lnSpc>
                <a:spcPct val="100000"/>
              </a:lnSpc>
              <a:spcBef>
                <a:spcPct val="0"/>
              </a:spcBef>
              <a:spcAft>
                <a:spcPts val="300"/>
              </a:spcAft>
              <a:buClr>
                <a:srgbClr val="FFE600"/>
              </a:buClr>
              <a:buSzPct val="80000"/>
              <a:buFont typeface="Arial" charset="0"/>
              <a:buNone/>
              <a:tabLst/>
              <a:defRPr/>
            </a:pPr>
            <a:endParaRPr kumimoji="0" lang="en-ZA" sz="2000" b="1" i="0" u="none" strike="noStrike" kern="1200" cap="none" spc="0" normalizeH="0" baseline="0" noProof="0">
              <a:ln>
                <a:noFill/>
              </a:ln>
              <a:solidFill>
                <a:srgbClr val="646464"/>
              </a:solidFill>
              <a:effectLst/>
              <a:uLnTx/>
              <a:uFillTx/>
              <a:latin typeface="EYInterstate"/>
              <a:ea typeface="+mn-ea"/>
              <a:cs typeface="+mn-cs"/>
            </a:endParaRPr>
          </a:p>
        </p:txBody>
      </p:sp>
      <p:sp>
        <p:nvSpPr>
          <p:cNvPr id="47" name="TextBox 46">
            <a:extLst>
              <a:ext uri="{FF2B5EF4-FFF2-40B4-BE49-F238E27FC236}">
                <a16:creationId xmlns:a16="http://schemas.microsoft.com/office/drawing/2014/main" id="{F0E4EFD7-F893-412C-9E38-D784A404CFDF}"/>
              </a:ext>
            </a:extLst>
          </p:cNvPr>
          <p:cNvSpPr txBox="1"/>
          <p:nvPr/>
        </p:nvSpPr>
        <p:spPr bwMode="gray">
          <a:xfrm>
            <a:off x="4550736" y="4105808"/>
            <a:ext cx="3188015" cy="499506"/>
          </a:xfrm>
          <a:prstGeom prst="roundRect">
            <a:avLst>
              <a:gd name="adj" fmla="val 50000"/>
            </a:avLst>
          </a:prstGeom>
          <a:solidFill>
            <a:srgbClr val="91278F"/>
          </a:solidFill>
        </p:spPr>
        <p:txBody>
          <a:bodyPr wrap="square" lIns="71963" tIns="53972" rIns="71963" bIns="53972" rtlCol="0" anchor="ctr">
            <a:spAutoFit/>
          </a:bodyPr>
          <a:lstStyle/>
          <a:p>
            <a:pPr marL="0" marR="0" lvl="0" indent="0" algn="l" defTabSz="914400" rtl="0" eaLnBrk="1" fontAlgn="base" latinLnBrk="0" hangingPunct="1">
              <a:lnSpc>
                <a:spcPct val="100000"/>
              </a:lnSpc>
              <a:spcBef>
                <a:spcPct val="0"/>
              </a:spcBef>
              <a:spcAft>
                <a:spcPct val="50000"/>
              </a:spcAft>
              <a:buClr>
                <a:srgbClr val="FFD200"/>
              </a:buClr>
              <a:buSzPct val="70000"/>
              <a:buFont typeface="Arial" charset="0"/>
              <a:buNone/>
              <a:tabLst/>
              <a:defRPr/>
            </a:pPr>
            <a:r>
              <a:rPr kumimoji="0" lang="en-GB" sz="1600" b="1" i="0" u="none" strike="noStrike" kern="1200" cap="none" spc="0" normalizeH="0" baseline="0" noProof="0" dirty="0">
                <a:ln>
                  <a:noFill/>
                </a:ln>
                <a:solidFill>
                  <a:srgbClr val="FFFFFF"/>
                </a:solidFill>
                <a:effectLst/>
                <a:uLnTx/>
                <a:uFillTx/>
                <a:latin typeface="EYInterstate" panose="02000503020000020004" pitchFamily="2" charset="0"/>
                <a:ea typeface="+mn-ea"/>
                <a:cs typeface="+mn-cs"/>
              </a:rPr>
              <a:t>Exploratory analysis</a:t>
            </a:r>
          </a:p>
        </p:txBody>
      </p:sp>
      <p:pic>
        <p:nvPicPr>
          <p:cNvPr id="49" name="Picture 4" descr="omni channel Icon 2759977">
            <a:extLst>
              <a:ext uri="{FF2B5EF4-FFF2-40B4-BE49-F238E27FC236}">
                <a16:creationId xmlns:a16="http://schemas.microsoft.com/office/drawing/2014/main" id="{D429A9E4-4598-4F86-B125-D8083A905194}"/>
              </a:ext>
            </a:extLst>
          </p:cNvPr>
          <p:cNvPicPr>
            <a:picLocks noChangeAspect="1" noChangeArrowheads="1"/>
          </p:cNvPicPr>
          <p:nvPr/>
        </p:nvPicPr>
        <p:blipFill>
          <a:blip r:embed="rId2">
            <a:duotone>
              <a:schemeClr val="accent5">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264720" y="2492129"/>
            <a:ext cx="1062995" cy="1062995"/>
          </a:xfrm>
          <a:prstGeom prst="rect">
            <a:avLst/>
          </a:prstGeom>
          <a:noFill/>
          <a:extLst>
            <a:ext uri="{909E8E84-426E-40DD-AFC4-6F175D3DCCD1}">
              <a14:hiddenFill xmlns:a14="http://schemas.microsoft.com/office/drawing/2010/main">
                <a:solidFill>
                  <a:srgbClr val="FFFFFF"/>
                </a:solidFill>
              </a14:hiddenFill>
            </a:ext>
          </a:extLst>
        </p:spPr>
      </p:pic>
      <p:grpSp>
        <p:nvGrpSpPr>
          <p:cNvPr id="44" name="Group 43">
            <a:extLst>
              <a:ext uri="{FF2B5EF4-FFF2-40B4-BE49-F238E27FC236}">
                <a16:creationId xmlns:a16="http://schemas.microsoft.com/office/drawing/2014/main" id="{AEC02FD8-5371-4178-AEA2-B1269FEAB33A}"/>
              </a:ext>
            </a:extLst>
          </p:cNvPr>
          <p:cNvGrpSpPr/>
          <p:nvPr/>
        </p:nvGrpSpPr>
        <p:grpSpPr>
          <a:xfrm>
            <a:off x="5666210" y="2585932"/>
            <a:ext cx="996697" cy="977349"/>
            <a:chOff x="15144750" y="-912813"/>
            <a:chExt cx="2663825" cy="2663826"/>
          </a:xfrm>
          <a:solidFill>
            <a:srgbClr val="91278F"/>
          </a:solidFill>
        </p:grpSpPr>
        <p:sp>
          <p:nvSpPr>
            <p:cNvPr id="45" name="Freeform 132">
              <a:extLst>
                <a:ext uri="{FF2B5EF4-FFF2-40B4-BE49-F238E27FC236}">
                  <a16:creationId xmlns:a16="http://schemas.microsoft.com/office/drawing/2014/main" id="{BCA68F93-6357-41CD-9BA0-B9BCC539BD6B}"/>
                </a:ext>
              </a:extLst>
            </p:cNvPr>
            <p:cNvSpPr>
              <a:spLocks/>
            </p:cNvSpPr>
            <p:nvPr/>
          </p:nvSpPr>
          <p:spPr bwMode="auto">
            <a:xfrm>
              <a:off x="15144750" y="-912813"/>
              <a:ext cx="2438400" cy="2436813"/>
            </a:xfrm>
            <a:custGeom>
              <a:avLst/>
              <a:gdLst>
                <a:gd name="T0" fmla="*/ 521 w 648"/>
                <a:gd name="T1" fmla="*/ 390 h 648"/>
                <a:gd name="T2" fmla="*/ 473 w 648"/>
                <a:gd name="T3" fmla="*/ 189 h 648"/>
                <a:gd name="T4" fmla="*/ 130 w 648"/>
                <a:gd name="T5" fmla="*/ 273 h 648"/>
                <a:gd name="T6" fmla="*/ 377 w 648"/>
                <a:gd name="T7" fmla="*/ 518 h 648"/>
                <a:gd name="T8" fmla="*/ 433 w 648"/>
                <a:gd name="T9" fmla="*/ 570 h 648"/>
                <a:gd name="T10" fmla="*/ 394 w 648"/>
                <a:gd name="T11" fmla="*/ 592 h 648"/>
                <a:gd name="T12" fmla="*/ 359 w 648"/>
                <a:gd name="T13" fmla="*/ 647 h 648"/>
                <a:gd name="T14" fmla="*/ 267 w 648"/>
                <a:gd name="T15" fmla="*/ 628 h 648"/>
                <a:gd name="T16" fmla="*/ 245 w 648"/>
                <a:gd name="T17" fmla="*/ 581 h 648"/>
                <a:gd name="T18" fmla="*/ 185 w 648"/>
                <a:gd name="T19" fmla="*/ 563 h 648"/>
                <a:gd name="T20" fmla="*/ 117 w 648"/>
                <a:gd name="T21" fmla="*/ 575 h 648"/>
                <a:gd name="T22" fmla="*/ 69 w 648"/>
                <a:gd name="T23" fmla="*/ 497 h 648"/>
                <a:gd name="T24" fmla="*/ 86 w 648"/>
                <a:gd name="T25" fmla="*/ 449 h 648"/>
                <a:gd name="T26" fmla="*/ 56 w 648"/>
                <a:gd name="T27" fmla="*/ 394 h 648"/>
                <a:gd name="T28" fmla="*/ 0 w 648"/>
                <a:gd name="T29" fmla="*/ 356 h 648"/>
                <a:gd name="T30" fmla="*/ 20 w 648"/>
                <a:gd name="T31" fmla="*/ 266 h 648"/>
                <a:gd name="T32" fmla="*/ 67 w 648"/>
                <a:gd name="T33" fmla="*/ 245 h 648"/>
                <a:gd name="T34" fmla="*/ 86 w 648"/>
                <a:gd name="T35" fmla="*/ 185 h 648"/>
                <a:gd name="T36" fmla="*/ 73 w 648"/>
                <a:gd name="T37" fmla="*/ 118 h 648"/>
                <a:gd name="T38" fmla="*/ 149 w 648"/>
                <a:gd name="T39" fmla="*/ 68 h 648"/>
                <a:gd name="T40" fmla="*/ 199 w 648"/>
                <a:gd name="T41" fmla="*/ 86 h 648"/>
                <a:gd name="T42" fmla="*/ 254 w 648"/>
                <a:gd name="T43" fmla="*/ 57 h 648"/>
                <a:gd name="T44" fmla="*/ 291 w 648"/>
                <a:gd name="T45" fmla="*/ 0 h 648"/>
                <a:gd name="T46" fmla="*/ 382 w 648"/>
                <a:gd name="T47" fmla="*/ 19 h 648"/>
                <a:gd name="T48" fmla="*/ 403 w 648"/>
                <a:gd name="T49" fmla="*/ 67 h 648"/>
                <a:gd name="T50" fmla="*/ 463 w 648"/>
                <a:gd name="T51" fmla="*/ 86 h 648"/>
                <a:gd name="T52" fmla="*/ 530 w 648"/>
                <a:gd name="T53" fmla="*/ 72 h 648"/>
                <a:gd name="T54" fmla="*/ 578 w 648"/>
                <a:gd name="T55" fmla="*/ 153 h 648"/>
                <a:gd name="T56" fmla="*/ 562 w 648"/>
                <a:gd name="T57" fmla="*/ 198 h 648"/>
                <a:gd name="T58" fmla="*/ 591 w 648"/>
                <a:gd name="T59" fmla="*/ 253 h 648"/>
                <a:gd name="T60" fmla="*/ 648 w 648"/>
                <a:gd name="T61" fmla="*/ 292 h 648"/>
                <a:gd name="T62" fmla="*/ 628 w 648"/>
                <a:gd name="T63" fmla="*/ 382 h 648"/>
                <a:gd name="T64" fmla="*/ 580 w 648"/>
                <a:gd name="T65" fmla="*/ 404 h 6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48" h="648">
                  <a:moveTo>
                    <a:pt x="570" y="433"/>
                  </a:moveTo>
                  <a:cubicBezTo>
                    <a:pt x="552" y="418"/>
                    <a:pt x="536" y="404"/>
                    <a:pt x="521" y="390"/>
                  </a:cubicBezTo>
                  <a:cubicBezTo>
                    <a:pt x="518" y="387"/>
                    <a:pt x="517" y="381"/>
                    <a:pt x="518" y="377"/>
                  </a:cubicBezTo>
                  <a:cubicBezTo>
                    <a:pt x="536" y="306"/>
                    <a:pt x="522" y="242"/>
                    <a:pt x="473" y="189"/>
                  </a:cubicBezTo>
                  <a:cubicBezTo>
                    <a:pt x="420" y="132"/>
                    <a:pt x="354" y="111"/>
                    <a:pt x="278" y="128"/>
                  </a:cubicBezTo>
                  <a:cubicBezTo>
                    <a:pt x="201" y="147"/>
                    <a:pt x="150" y="196"/>
                    <a:pt x="130" y="273"/>
                  </a:cubicBezTo>
                  <a:cubicBezTo>
                    <a:pt x="99" y="388"/>
                    <a:pt x="173" y="501"/>
                    <a:pt x="290" y="522"/>
                  </a:cubicBezTo>
                  <a:cubicBezTo>
                    <a:pt x="319" y="527"/>
                    <a:pt x="348" y="526"/>
                    <a:pt x="377" y="518"/>
                  </a:cubicBezTo>
                  <a:cubicBezTo>
                    <a:pt x="383" y="516"/>
                    <a:pt x="387" y="517"/>
                    <a:pt x="392" y="522"/>
                  </a:cubicBezTo>
                  <a:cubicBezTo>
                    <a:pt x="405" y="538"/>
                    <a:pt x="419" y="553"/>
                    <a:pt x="433" y="570"/>
                  </a:cubicBezTo>
                  <a:cubicBezTo>
                    <a:pt x="423" y="573"/>
                    <a:pt x="414" y="577"/>
                    <a:pt x="405" y="580"/>
                  </a:cubicBezTo>
                  <a:cubicBezTo>
                    <a:pt x="399" y="582"/>
                    <a:pt x="396" y="585"/>
                    <a:pt x="394" y="592"/>
                  </a:cubicBezTo>
                  <a:cubicBezTo>
                    <a:pt x="391" y="604"/>
                    <a:pt x="386" y="616"/>
                    <a:pt x="382" y="628"/>
                  </a:cubicBezTo>
                  <a:cubicBezTo>
                    <a:pt x="379" y="640"/>
                    <a:pt x="371" y="647"/>
                    <a:pt x="359" y="647"/>
                  </a:cubicBezTo>
                  <a:cubicBezTo>
                    <a:pt x="336" y="648"/>
                    <a:pt x="314" y="647"/>
                    <a:pt x="292" y="647"/>
                  </a:cubicBezTo>
                  <a:cubicBezTo>
                    <a:pt x="279" y="647"/>
                    <a:pt x="271" y="640"/>
                    <a:pt x="267" y="628"/>
                  </a:cubicBezTo>
                  <a:cubicBezTo>
                    <a:pt x="262" y="616"/>
                    <a:pt x="259" y="603"/>
                    <a:pt x="254" y="591"/>
                  </a:cubicBezTo>
                  <a:cubicBezTo>
                    <a:pt x="253" y="587"/>
                    <a:pt x="249" y="583"/>
                    <a:pt x="245" y="581"/>
                  </a:cubicBezTo>
                  <a:cubicBezTo>
                    <a:pt x="230" y="574"/>
                    <a:pt x="215" y="568"/>
                    <a:pt x="199" y="562"/>
                  </a:cubicBezTo>
                  <a:cubicBezTo>
                    <a:pt x="195" y="561"/>
                    <a:pt x="189" y="561"/>
                    <a:pt x="185" y="563"/>
                  </a:cubicBezTo>
                  <a:cubicBezTo>
                    <a:pt x="174" y="567"/>
                    <a:pt x="163" y="574"/>
                    <a:pt x="152" y="579"/>
                  </a:cubicBezTo>
                  <a:cubicBezTo>
                    <a:pt x="139" y="586"/>
                    <a:pt x="127" y="585"/>
                    <a:pt x="117" y="575"/>
                  </a:cubicBezTo>
                  <a:cubicBezTo>
                    <a:pt x="102" y="560"/>
                    <a:pt x="87" y="546"/>
                    <a:pt x="73" y="531"/>
                  </a:cubicBezTo>
                  <a:cubicBezTo>
                    <a:pt x="63" y="520"/>
                    <a:pt x="62" y="510"/>
                    <a:pt x="69" y="497"/>
                  </a:cubicBezTo>
                  <a:cubicBezTo>
                    <a:pt x="75" y="486"/>
                    <a:pt x="81" y="475"/>
                    <a:pt x="86" y="463"/>
                  </a:cubicBezTo>
                  <a:cubicBezTo>
                    <a:pt x="88" y="459"/>
                    <a:pt x="87" y="453"/>
                    <a:pt x="86" y="449"/>
                  </a:cubicBezTo>
                  <a:cubicBezTo>
                    <a:pt x="80" y="434"/>
                    <a:pt x="73" y="420"/>
                    <a:pt x="68" y="405"/>
                  </a:cubicBezTo>
                  <a:cubicBezTo>
                    <a:pt x="65" y="399"/>
                    <a:pt x="62" y="395"/>
                    <a:pt x="56" y="394"/>
                  </a:cubicBezTo>
                  <a:cubicBezTo>
                    <a:pt x="44" y="390"/>
                    <a:pt x="32" y="386"/>
                    <a:pt x="20" y="382"/>
                  </a:cubicBezTo>
                  <a:cubicBezTo>
                    <a:pt x="8" y="378"/>
                    <a:pt x="1" y="370"/>
                    <a:pt x="0" y="356"/>
                  </a:cubicBezTo>
                  <a:cubicBezTo>
                    <a:pt x="0" y="335"/>
                    <a:pt x="0" y="313"/>
                    <a:pt x="0" y="291"/>
                  </a:cubicBezTo>
                  <a:cubicBezTo>
                    <a:pt x="0" y="278"/>
                    <a:pt x="8" y="270"/>
                    <a:pt x="20" y="266"/>
                  </a:cubicBezTo>
                  <a:cubicBezTo>
                    <a:pt x="32" y="262"/>
                    <a:pt x="45" y="258"/>
                    <a:pt x="57" y="254"/>
                  </a:cubicBezTo>
                  <a:cubicBezTo>
                    <a:pt x="61" y="252"/>
                    <a:pt x="65" y="248"/>
                    <a:pt x="67" y="245"/>
                  </a:cubicBezTo>
                  <a:cubicBezTo>
                    <a:pt x="74" y="229"/>
                    <a:pt x="80" y="214"/>
                    <a:pt x="86" y="198"/>
                  </a:cubicBezTo>
                  <a:cubicBezTo>
                    <a:pt x="87" y="194"/>
                    <a:pt x="87" y="189"/>
                    <a:pt x="86" y="185"/>
                  </a:cubicBezTo>
                  <a:cubicBezTo>
                    <a:pt x="81" y="174"/>
                    <a:pt x="75" y="163"/>
                    <a:pt x="69" y="153"/>
                  </a:cubicBezTo>
                  <a:cubicBezTo>
                    <a:pt x="63" y="140"/>
                    <a:pt x="63" y="128"/>
                    <a:pt x="73" y="118"/>
                  </a:cubicBezTo>
                  <a:cubicBezTo>
                    <a:pt x="88" y="102"/>
                    <a:pt x="103" y="86"/>
                    <a:pt x="120" y="71"/>
                  </a:cubicBezTo>
                  <a:cubicBezTo>
                    <a:pt x="128" y="63"/>
                    <a:pt x="139" y="63"/>
                    <a:pt x="149" y="68"/>
                  </a:cubicBezTo>
                  <a:cubicBezTo>
                    <a:pt x="161" y="73"/>
                    <a:pt x="172" y="80"/>
                    <a:pt x="184" y="85"/>
                  </a:cubicBezTo>
                  <a:cubicBezTo>
                    <a:pt x="188" y="87"/>
                    <a:pt x="194" y="87"/>
                    <a:pt x="199" y="86"/>
                  </a:cubicBezTo>
                  <a:cubicBezTo>
                    <a:pt x="214" y="80"/>
                    <a:pt x="229" y="74"/>
                    <a:pt x="244" y="67"/>
                  </a:cubicBezTo>
                  <a:cubicBezTo>
                    <a:pt x="248" y="65"/>
                    <a:pt x="252" y="61"/>
                    <a:pt x="254" y="57"/>
                  </a:cubicBezTo>
                  <a:cubicBezTo>
                    <a:pt x="258" y="45"/>
                    <a:pt x="262" y="32"/>
                    <a:pt x="266" y="20"/>
                  </a:cubicBezTo>
                  <a:cubicBezTo>
                    <a:pt x="270" y="8"/>
                    <a:pt x="278" y="1"/>
                    <a:pt x="291" y="0"/>
                  </a:cubicBezTo>
                  <a:cubicBezTo>
                    <a:pt x="313" y="0"/>
                    <a:pt x="335" y="0"/>
                    <a:pt x="357" y="0"/>
                  </a:cubicBezTo>
                  <a:cubicBezTo>
                    <a:pt x="370" y="0"/>
                    <a:pt x="378" y="8"/>
                    <a:pt x="382" y="19"/>
                  </a:cubicBezTo>
                  <a:cubicBezTo>
                    <a:pt x="386" y="32"/>
                    <a:pt x="390" y="45"/>
                    <a:pt x="395" y="58"/>
                  </a:cubicBezTo>
                  <a:cubicBezTo>
                    <a:pt x="396" y="61"/>
                    <a:pt x="400" y="65"/>
                    <a:pt x="403" y="67"/>
                  </a:cubicBezTo>
                  <a:cubicBezTo>
                    <a:pt x="418" y="73"/>
                    <a:pt x="434" y="80"/>
                    <a:pt x="449" y="86"/>
                  </a:cubicBezTo>
                  <a:cubicBezTo>
                    <a:pt x="453" y="87"/>
                    <a:pt x="459" y="87"/>
                    <a:pt x="463" y="86"/>
                  </a:cubicBezTo>
                  <a:cubicBezTo>
                    <a:pt x="475" y="80"/>
                    <a:pt x="486" y="73"/>
                    <a:pt x="498" y="68"/>
                  </a:cubicBezTo>
                  <a:cubicBezTo>
                    <a:pt x="509" y="62"/>
                    <a:pt x="521" y="63"/>
                    <a:pt x="530" y="72"/>
                  </a:cubicBezTo>
                  <a:cubicBezTo>
                    <a:pt x="545" y="86"/>
                    <a:pt x="560" y="101"/>
                    <a:pt x="575" y="117"/>
                  </a:cubicBezTo>
                  <a:cubicBezTo>
                    <a:pt x="585" y="128"/>
                    <a:pt x="586" y="140"/>
                    <a:pt x="578" y="153"/>
                  </a:cubicBezTo>
                  <a:cubicBezTo>
                    <a:pt x="573" y="164"/>
                    <a:pt x="567" y="174"/>
                    <a:pt x="562" y="185"/>
                  </a:cubicBezTo>
                  <a:cubicBezTo>
                    <a:pt x="561" y="188"/>
                    <a:pt x="561" y="194"/>
                    <a:pt x="562" y="198"/>
                  </a:cubicBezTo>
                  <a:cubicBezTo>
                    <a:pt x="568" y="214"/>
                    <a:pt x="574" y="229"/>
                    <a:pt x="581" y="244"/>
                  </a:cubicBezTo>
                  <a:cubicBezTo>
                    <a:pt x="583" y="248"/>
                    <a:pt x="587" y="252"/>
                    <a:pt x="591" y="253"/>
                  </a:cubicBezTo>
                  <a:cubicBezTo>
                    <a:pt x="603" y="258"/>
                    <a:pt x="615" y="261"/>
                    <a:pt x="627" y="265"/>
                  </a:cubicBezTo>
                  <a:cubicBezTo>
                    <a:pt x="640" y="270"/>
                    <a:pt x="648" y="278"/>
                    <a:pt x="648" y="292"/>
                  </a:cubicBezTo>
                  <a:cubicBezTo>
                    <a:pt x="648" y="314"/>
                    <a:pt x="648" y="336"/>
                    <a:pt x="647" y="359"/>
                  </a:cubicBezTo>
                  <a:cubicBezTo>
                    <a:pt x="647" y="371"/>
                    <a:pt x="639" y="378"/>
                    <a:pt x="628" y="382"/>
                  </a:cubicBezTo>
                  <a:cubicBezTo>
                    <a:pt x="616" y="386"/>
                    <a:pt x="604" y="390"/>
                    <a:pt x="591" y="393"/>
                  </a:cubicBezTo>
                  <a:cubicBezTo>
                    <a:pt x="585" y="395"/>
                    <a:pt x="582" y="398"/>
                    <a:pt x="580" y="404"/>
                  </a:cubicBezTo>
                  <a:cubicBezTo>
                    <a:pt x="578" y="414"/>
                    <a:pt x="574" y="422"/>
                    <a:pt x="570" y="4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50000"/>
                </a:spcAft>
                <a:buClr>
                  <a:srgbClr val="FFE600"/>
                </a:buClr>
                <a:buSzPct val="80000"/>
                <a:buFont typeface="Arial" charset="0"/>
                <a:buNone/>
                <a:tabLst/>
                <a:defRPr/>
              </a:pPr>
              <a:endParaRPr kumimoji="0" lang="en-GB" sz="900" b="0" i="0" u="none" strike="noStrike" kern="1200" cap="none" spc="0" normalizeH="0" baseline="0" noProof="0">
                <a:ln>
                  <a:noFill/>
                </a:ln>
                <a:solidFill>
                  <a:srgbClr val="000000"/>
                </a:solidFill>
                <a:effectLst/>
                <a:uLnTx/>
                <a:uFillTx/>
                <a:latin typeface="EYInterstate Light" pitchFamily="2" charset="0"/>
                <a:ea typeface="+mn-ea"/>
                <a:cs typeface="+mn-cs"/>
              </a:endParaRPr>
            </a:p>
          </p:txBody>
        </p:sp>
        <p:sp>
          <p:nvSpPr>
            <p:cNvPr id="46" name="Freeform 133">
              <a:extLst>
                <a:ext uri="{FF2B5EF4-FFF2-40B4-BE49-F238E27FC236}">
                  <a16:creationId xmlns:a16="http://schemas.microsoft.com/office/drawing/2014/main" id="{059F3531-D620-4AB0-BA55-BF27BEAEDA7F}"/>
                </a:ext>
              </a:extLst>
            </p:cNvPr>
            <p:cNvSpPr>
              <a:spLocks noEditPoints="1"/>
            </p:cNvSpPr>
            <p:nvPr/>
          </p:nvSpPr>
          <p:spPr bwMode="auto">
            <a:xfrm>
              <a:off x="15897225" y="-212725"/>
              <a:ext cx="1911350" cy="1963738"/>
            </a:xfrm>
            <a:custGeom>
              <a:avLst/>
              <a:gdLst>
                <a:gd name="T0" fmla="*/ 248 w 508"/>
                <a:gd name="T1" fmla="*/ 189 h 522"/>
                <a:gd name="T2" fmla="*/ 341 w 508"/>
                <a:gd name="T3" fmla="*/ 269 h 522"/>
                <a:gd name="T4" fmla="*/ 474 w 508"/>
                <a:gd name="T5" fmla="*/ 385 h 522"/>
                <a:gd name="T6" fmla="*/ 478 w 508"/>
                <a:gd name="T7" fmla="*/ 492 h 522"/>
                <a:gd name="T8" fmla="*/ 371 w 508"/>
                <a:gd name="T9" fmla="*/ 487 h 522"/>
                <a:gd name="T10" fmla="*/ 183 w 508"/>
                <a:gd name="T11" fmla="*/ 271 h 522"/>
                <a:gd name="T12" fmla="*/ 175 w 508"/>
                <a:gd name="T13" fmla="*/ 262 h 522"/>
                <a:gd name="T14" fmla="*/ 163 w 508"/>
                <a:gd name="T15" fmla="*/ 271 h 522"/>
                <a:gd name="T16" fmla="*/ 69 w 508"/>
                <a:gd name="T17" fmla="*/ 274 h 522"/>
                <a:gd name="T18" fmla="*/ 0 w 508"/>
                <a:gd name="T19" fmla="*/ 154 h 522"/>
                <a:gd name="T20" fmla="*/ 4 w 508"/>
                <a:gd name="T21" fmla="*/ 115 h 522"/>
                <a:gd name="T22" fmla="*/ 21 w 508"/>
                <a:gd name="T23" fmla="*/ 110 h 522"/>
                <a:gd name="T24" fmla="*/ 80 w 508"/>
                <a:gd name="T25" fmla="*/ 169 h 522"/>
                <a:gd name="T26" fmla="*/ 123 w 508"/>
                <a:gd name="T27" fmla="*/ 170 h 522"/>
                <a:gd name="T28" fmla="*/ 156 w 508"/>
                <a:gd name="T29" fmla="*/ 138 h 522"/>
                <a:gd name="T30" fmla="*/ 155 w 508"/>
                <a:gd name="T31" fmla="*/ 94 h 522"/>
                <a:gd name="T32" fmla="*/ 97 w 508"/>
                <a:gd name="T33" fmla="*/ 35 h 522"/>
                <a:gd name="T34" fmla="*/ 101 w 508"/>
                <a:gd name="T35" fmla="*/ 18 h 522"/>
                <a:gd name="T36" fmla="*/ 261 w 508"/>
                <a:gd name="T37" fmla="*/ 83 h 522"/>
                <a:gd name="T38" fmla="*/ 256 w 508"/>
                <a:gd name="T39" fmla="*/ 179 h 522"/>
                <a:gd name="T40" fmla="*/ 248 w 508"/>
                <a:gd name="T41" fmla="*/ 189 h 522"/>
                <a:gd name="T42" fmla="*/ 425 w 508"/>
                <a:gd name="T43" fmla="*/ 407 h 522"/>
                <a:gd name="T44" fmla="*/ 393 w 508"/>
                <a:gd name="T45" fmla="*/ 438 h 522"/>
                <a:gd name="T46" fmla="*/ 425 w 508"/>
                <a:gd name="T47" fmla="*/ 470 h 522"/>
                <a:gd name="T48" fmla="*/ 457 w 508"/>
                <a:gd name="T49" fmla="*/ 439 h 522"/>
                <a:gd name="T50" fmla="*/ 425 w 508"/>
                <a:gd name="T51" fmla="*/ 407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8" h="522">
                  <a:moveTo>
                    <a:pt x="248" y="189"/>
                  </a:moveTo>
                  <a:cubicBezTo>
                    <a:pt x="280" y="216"/>
                    <a:pt x="310" y="243"/>
                    <a:pt x="341" y="269"/>
                  </a:cubicBezTo>
                  <a:cubicBezTo>
                    <a:pt x="385" y="308"/>
                    <a:pt x="430" y="347"/>
                    <a:pt x="474" y="385"/>
                  </a:cubicBezTo>
                  <a:cubicBezTo>
                    <a:pt x="507" y="414"/>
                    <a:pt x="508" y="462"/>
                    <a:pt x="478" y="492"/>
                  </a:cubicBezTo>
                  <a:cubicBezTo>
                    <a:pt x="448" y="522"/>
                    <a:pt x="399" y="520"/>
                    <a:pt x="371" y="487"/>
                  </a:cubicBezTo>
                  <a:cubicBezTo>
                    <a:pt x="308" y="415"/>
                    <a:pt x="245" y="343"/>
                    <a:pt x="183" y="271"/>
                  </a:cubicBezTo>
                  <a:cubicBezTo>
                    <a:pt x="180" y="268"/>
                    <a:pt x="178" y="266"/>
                    <a:pt x="175" y="262"/>
                  </a:cubicBezTo>
                  <a:cubicBezTo>
                    <a:pt x="171" y="265"/>
                    <a:pt x="167" y="268"/>
                    <a:pt x="163" y="271"/>
                  </a:cubicBezTo>
                  <a:cubicBezTo>
                    <a:pt x="133" y="292"/>
                    <a:pt x="101" y="294"/>
                    <a:pt x="69" y="274"/>
                  </a:cubicBezTo>
                  <a:cubicBezTo>
                    <a:pt x="23" y="247"/>
                    <a:pt x="0" y="207"/>
                    <a:pt x="0" y="154"/>
                  </a:cubicBezTo>
                  <a:cubicBezTo>
                    <a:pt x="0" y="141"/>
                    <a:pt x="1" y="127"/>
                    <a:pt x="4" y="115"/>
                  </a:cubicBezTo>
                  <a:cubicBezTo>
                    <a:pt x="6" y="103"/>
                    <a:pt x="13" y="102"/>
                    <a:pt x="21" y="110"/>
                  </a:cubicBezTo>
                  <a:cubicBezTo>
                    <a:pt x="41" y="130"/>
                    <a:pt x="60" y="149"/>
                    <a:pt x="80" y="169"/>
                  </a:cubicBezTo>
                  <a:cubicBezTo>
                    <a:pt x="93" y="181"/>
                    <a:pt x="110" y="182"/>
                    <a:pt x="123" y="170"/>
                  </a:cubicBezTo>
                  <a:cubicBezTo>
                    <a:pt x="134" y="159"/>
                    <a:pt x="145" y="149"/>
                    <a:pt x="156" y="138"/>
                  </a:cubicBezTo>
                  <a:cubicBezTo>
                    <a:pt x="168" y="125"/>
                    <a:pt x="168" y="107"/>
                    <a:pt x="155" y="94"/>
                  </a:cubicBezTo>
                  <a:cubicBezTo>
                    <a:pt x="136" y="74"/>
                    <a:pt x="116" y="55"/>
                    <a:pt x="97" y="35"/>
                  </a:cubicBezTo>
                  <a:cubicBezTo>
                    <a:pt x="87" y="26"/>
                    <a:pt x="89" y="22"/>
                    <a:pt x="101" y="18"/>
                  </a:cubicBezTo>
                  <a:cubicBezTo>
                    <a:pt x="163" y="0"/>
                    <a:pt x="229" y="27"/>
                    <a:pt x="261" y="83"/>
                  </a:cubicBezTo>
                  <a:cubicBezTo>
                    <a:pt x="279" y="116"/>
                    <a:pt x="277" y="148"/>
                    <a:pt x="256" y="179"/>
                  </a:cubicBezTo>
                  <a:cubicBezTo>
                    <a:pt x="253" y="182"/>
                    <a:pt x="251" y="185"/>
                    <a:pt x="248" y="189"/>
                  </a:cubicBezTo>
                  <a:close/>
                  <a:moveTo>
                    <a:pt x="425" y="407"/>
                  </a:moveTo>
                  <a:cubicBezTo>
                    <a:pt x="407" y="407"/>
                    <a:pt x="393" y="421"/>
                    <a:pt x="393" y="438"/>
                  </a:cubicBezTo>
                  <a:cubicBezTo>
                    <a:pt x="393" y="456"/>
                    <a:pt x="407" y="470"/>
                    <a:pt x="425" y="470"/>
                  </a:cubicBezTo>
                  <a:cubicBezTo>
                    <a:pt x="442" y="470"/>
                    <a:pt x="456" y="456"/>
                    <a:pt x="457" y="439"/>
                  </a:cubicBezTo>
                  <a:cubicBezTo>
                    <a:pt x="457" y="421"/>
                    <a:pt x="443" y="407"/>
                    <a:pt x="425" y="40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50000"/>
                </a:spcAft>
                <a:buClr>
                  <a:srgbClr val="FFE600"/>
                </a:buClr>
                <a:buSzPct val="80000"/>
                <a:buFont typeface="Arial" charset="0"/>
                <a:buNone/>
                <a:tabLst/>
                <a:defRPr/>
              </a:pPr>
              <a:endParaRPr kumimoji="0" lang="en-GB" sz="900" b="0" i="0" u="none" strike="noStrike" kern="1200" cap="none" spc="0" normalizeH="0" baseline="0" noProof="0">
                <a:ln>
                  <a:noFill/>
                </a:ln>
                <a:solidFill>
                  <a:srgbClr val="000000"/>
                </a:solidFill>
                <a:effectLst/>
                <a:uLnTx/>
                <a:uFillTx/>
                <a:latin typeface="EYInterstate Light" pitchFamily="2" charset="0"/>
                <a:ea typeface="+mn-ea"/>
                <a:cs typeface="+mn-cs"/>
              </a:endParaRPr>
            </a:p>
          </p:txBody>
        </p:sp>
      </p:grpSp>
      <p:sp>
        <p:nvSpPr>
          <p:cNvPr id="48" name="Content Placeholder 10">
            <a:extLst>
              <a:ext uri="{FF2B5EF4-FFF2-40B4-BE49-F238E27FC236}">
                <a16:creationId xmlns:a16="http://schemas.microsoft.com/office/drawing/2014/main" id="{5596123E-6772-4E3D-8566-92C44EF639D1}"/>
              </a:ext>
            </a:extLst>
          </p:cNvPr>
          <p:cNvSpPr txBox="1">
            <a:spLocks/>
          </p:cNvSpPr>
          <p:nvPr/>
        </p:nvSpPr>
        <p:spPr>
          <a:xfrm>
            <a:off x="960091" y="1436467"/>
            <a:ext cx="11268855" cy="731437"/>
          </a:xfrm>
          <a:prstGeom prst="rect">
            <a:avLst/>
          </a:prstGeom>
        </p:spPr>
        <p:txBody>
          <a:bodyPr vert="horz" lIns="0" tIns="0" rIns="0" bIns="0" rtlCol="0" anchor="t" anchorCtr="0">
            <a:noAutofit/>
          </a:bodyPr>
          <a:lstStyle>
            <a:lvl1pPr marL="0" indent="0" algn="l" defTabSz="914400" rtl="0" eaLnBrk="1" latinLnBrk="0" hangingPunct="1">
              <a:spcBef>
                <a:spcPts val="0"/>
              </a:spcBef>
              <a:buClrTx/>
              <a:buSzPct val="70000"/>
              <a:buFont typeface="Arial" pitchFamily="34" charset="0"/>
              <a:buNone/>
              <a:defRPr sz="1200" b="1" kern="1200">
                <a:solidFill>
                  <a:schemeClr val="tx1"/>
                </a:solidFill>
                <a:latin typeface="+mn-lt"/>
                <a:ea typeface="+mn-ea"/>
                <a:cs typeface="+mn-cs"/>
              </a:defRPr>
            </a:lvl1pPr>
            <a:lvl2pPr marL="0" indent="0" algn="l" defTabSz="914400" rtl="0" eaLnBrk="1" latinLnBrk="0" hangingPunct="1">
              <a:spcBef>
                <a:spcPts val="0"/>
              </a:spcBef>
              <a:buClrTx/>
              <a:buSzPct val="70000"/>
              <a:buFont typeface="Arial" pitchFamily="34" charset="0"/>
              <a:buNone/>
              <a:defRPr sz="1100" b="1" kern="1200">
                <a:solidFill>
                  <a:schemeClr val="tx1"/>
                </a:solidFill>
                <a:latin typeface="+mn-lt"/>
                <a:ea typeface="+mn-ea"/>
                <a:cs typeface="+mn-cs"/>
              </a:defRPr>
            </a:lvl2pPr>
            <a:lvl3pPr marL="0" indent="0" algn="l" defTabSz="914400" rtl="0" eaLnBrk="1" latinLnBrk="0" hangingPunct="1">
              <a:spcBef>
                <a:spcPts val="0"/>
              </a:spcBef>
              <a:buClrTx/>
              <a:buSzPct val="70000"/>
              <a:buFont typeface="Arial" pitchFamily="34" charset="0"/>
              <a:buNone/>
              <a:defRPr sz="1050" b="1" kern="1200">
                <a:solidFill>
                  <a:schemeClr val="tx1"/>
                </a:solidFill>
                <a:latin typeface="+mn-lt"/>
                <a:ea typeface="+mn-ea"/>
                <a:cs typeface="+mn-cs"/>
              </a:defRPr>
            </a:lvl3pPr>
            <a:lvl4pPr marL="0" indent="0" algn="l" defTabSz="914400" rtl="0" eaLnBrk="1" latinLnBrk="0" hangingPunct="1">
              <a:spcBef>
                <a:spcPts val="0"/>
              </a:spcBef>
              <a:buClrTx/>
              <a:buSzPct val="70000"/>
              <a:buFont typeface="Arial" pitchFamily="34" charset="0"/>
              <a:buNone/>
              <a:defRPr sz="1000" b="1" kern="1200">
                <a:solidFill>
                  <a:schemeClr val="tx1"/>
                </a:solidFill>
                <a:latin typeface="+mn-lt"/>
                <a:ea typeface="+mn-ea"/>
                <a:cs typeface="+mn-cs"/>
              </a:defRPr>
            </a:lvl4pPr>
            <a:lvl5pPr marL="0" indent="0" algn="l" defTabSz="914400" rtl="0" eaLnBrk="1" latinLnBrk="0" hangingPunct="1">
              <a:spcBef>
                <a:spcPts val="0"/>
              </a:spcBef>
              <a:buClrTx/>
              <a:buSzPct val="70000"/>
              <a:buFont typeface="Arial" pitchFamily="34" charset="0"/>
              <a:buNone/>
              <a:defRPr sz="1000" b="1"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fontAlgn="auto">
              <a:spcAft>
                <a:spcPts val="0"/>
              </a:spcAft>
            </a:pPr>
            <a:r>
              <a:rPr lang="en-US" sz="1400" b="0" dirty="0">
                <a:latin typeface="EYInterstate Light"/>
              </a:rPr>
              <a:t>Based on your request please find below the potential option for the open-source software version and packages:</a:t>
            </a:r>
          </a:p>
          <a:p>
            <a:pPr lvl="0" fontAlgn="auto">
              <a:spcAft>
                <a:spcPts val="0"/>
              </a:spcAft>
            </a:pPr>
            <a:endParaRPr lang="en-US" sz="1400" b="0" dirty="0">
              <a:latin typeface="EYInterstate Light"/>
            </a:endParaRPr>
          </a:p>
          <a:p>
            <a:pPr lvl="0" fontAlgn="auto">
              <a:spcAft>
                <a:spcPts val="0"/>
              </a:spcAft>
            </a:pPr>
            <a:r>
              <a:rPr lang="en-US" sz="1400" dirty="0">
                <a:latin typeface="EYInterstate Light"/>
              </a:rPr>
              <a:t>Anaconda (x64) environment with Python 3 (version 3.7+)</a:t>
            </a:r>
            <a:r>
              <a:rPr lang="en-US" sz="1400" b="0" dirty="0">
                <a:latin typeface="EYInterstate Light"/>
              </a:rPr>
              <a:t>.  The packages can be found in the </a:t>
            </a:r>
            <a:r>
              <a:rPr lang="en-US" sz="1400" dirty="0">
                <a:latin typeface="EYInterstate Light"/>
              </a:rPr>
              <a:t>pip</a:t>
            </a:r>
            <a:r>
              <a:rPr lang="en-US" sz="1400" b="0" dirty="0">
                <a:latin typeface="EYInterstate Light"/>
              </a:rPr>
              <a:t> or </a:t>
            </a:r>
            <a:r>
              <a:rPr lang="en-US" sz="1400" dirty="0" err="1">
                <a:latin typeface="EYInterstate Light"/>
              </a:rPr>
              <a:t>conda</a:t>
            </a:r>
            <a:r>
              <a:rPr lang="en-US" sz="1400" dirty="0">
                <a:latin typeface="EYInterstate Light"/>
              </a:rPr>
              <a:t>-forge</a:t>
            </a:r>
            <a:r>
              <a:rPr lang="en-US" sz="1400" b="0" dirty="0">
                <a:latin typeface="EYInterstate Light"/>
              </a:rPr>
              <a:t> channels.</a:t>
            </a:r>
          </a:p>
        </p:txBody>
      </p:sp>
      <p:pic>
        <p:nvPicPr>
          <p:cNvPr id="38" name="Graphic 37" descr="Puzzle">
            <a:extLst>
              <a:ext uri="{FF2B5EF4-FFF2-40B4-BE49-F238E27FC236}">
                <a16:creationId xmlns:a16="http://schemas.microsoft.com/office/drawing/2014/main" id="{2AEB833A-8CE2-4505-BC9B-682FDF0D9CC9}"/>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830583" y="2541864"/>
            <a:ext cx="1129490" cy="1129490"/>
          </a:xfrm>
          <a:prstGeom prst="rect">
            <a:avLst/>
          </a:prstGeom>
        </p:spPr>
      </p:pic>
    </p:spTree>
    <p:extLst>
      <p:ext uri="{BB962C8B-B14F-4D97-AF65-F5344CB8AC3E}">
        <p14:creationId xmlns:p14="http://schemas.microsoft.com/office/powerpoint/2010/main" val="212583236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7A9C3EF-EC79-EF41-AEE2-C98A0561165D}"/>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6082" name="think-cell Slide" r:id="rId6" imgW="7772400" imgH="10058400" progId="TCLayout.ActiveDocument.1">
                  <p:embed/>
                </p:oleObj>
              </mc:Choice>
              <mc:Fallback>
                <p:oleObj name="think-cell Slide" r:id="rId6" imgW="7772400" imgH="10058400" progId="TCLayout.ActiveDocument.1">
                  <p:embed/>
                  <p:pic>
                    <p:nvPicPr>
                      <p:cNvPr id="4" name="Object 3" hidden="1">
                        <a:extLst>
                          <a:ext uri="{FF2B5EF4-FFF2-40B4-BE49-F238E27FC236}">
                            <a16:creationId xmlns:a16="http://schemas.microsoft.com/office/drawing/2014/main" id="{A7A9C3EF-EC79-EF41-AEE2-C98A0561165D}"/>
                          </a:ext>
                        </a:extLst>
                      </p:cNvPr>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7389429-FF38-8644-86AD-26B3FFE70C1E}"/>
              </a:ext>
            </a:extLst>
          </p:cNvPr>
          <p:cNvSpPr/>
          <p:nvPr>
            <p:custDataLst>
              <p:tags r:id="rId3"/>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marR="0" lvl="0" indent="0" algn="ctr" defTabSz="914400" rtl="0" eaLnBrk="1" fontAlgn="base" latinLnBrk="0" hangingPunct="1">
              <a:lnSpc>
                <a:spcPct val="100000"/>
              </a:lnSpc>
              <a:spcBef>
                <a:spcPct val="0"/>
              </a:spcBef>
              <a:spcAft>
                <a:spcPct val="50000"/>
              </a:spcAft>
              <a:buClr>
                <a:srgbClr val="FFE600"/>
              </a:buClr>
              <a:buSzPct val="80000"/>
              <a:buFont typeface="Arial" charset="0"/>
              <a:buNone/>
              <a:tabLst/>
              <a:defRPr/>
            </a:pPr>
            <a:endParaRPr kumimoji="0" lang="en-GB" sz="2400" b="1" i="0" u="none" strike="noStrike" kern="1200" cap="none" spc="0" normalizeH="0" baseline="0" noProof="0">
              <a:ln>
                <a:noFill/>
              </a:ln>
              <a:solidFill>
                <a:srgbClr val="646464"/>
              </a:solidFill>
              <a:effectLst/>
              <a:uLnTx/>
              <a:uFillTx/>
              <a:latin typeface="EYInterstate" panose="02000503020000020004" pitchFamily="2" charset="0"/>
              <a:ea typeface="+mn-ea"/>
              <a:cs typeface="+mn-cs"/>
              <a:sym typeface="EYInterstate" panose="02000503020000020004" pitchFamily="2" charset="0"/>
            </a:endParaRPr>
          </a:p>
        </p:txBody>
      </p:sp>
      <p:sp>
        <p:nvSpPr>
          <p:cNvPr id="2" name="Title 1">
            <a:extLst>
              <a:ext uri="{FF2B5EF4-FFF2-40B4-BE49-F238E27FC236}">
                <a16:creationId xmlns:a16="http://schemas.microsoft.com/office/drawing/2014/main" id="{C4C23136-0F1A-2043-A138-823BF069E3FE}"/>
              </a:ext>
            </a:extLst>
          </p:cNvPr>
          <p:cNvSpPr>
            <a:spLocks noGrp="1"/>
          </p:cNvSpPr>
          <p:nvPr>
            <p:ph type="title"/>
          </p:nvPr>
        </p:nvSpPr>
        <p:spPr/>
        <p:txBody>
          <a:bodyPr/>
          <a:lstStyle/>
          <a:p>
            <a:r>
              <a:rPr lang="en-GB">
                <a:solidFill>
                  <a:srgbClr val="FFFFFF"/>
                </a:solidFill>
              </a:rPr>
              <a:t>Table of Contents</a:t>
            </a:r>
            <a:endParaRPr lang="en-GB"/>
          </a:p>
        </p:txBody>
      </p:sp>
      <p:sp>
        <p:nvSpPr>
          <p:cNvPr id="5" name="Rectangle 4">
            <a:extLst>
              <a:ext uri="{FF2B5EF4-FFF2-40B4-BE49-F238E27FC236}">
                <a16:creationId xmlns:a16="http://schemas.microsoft.com/office/drawing/2014/main" id="{1A6C3D31-1A5E-F641-AEFF-8DE3943F771A}"/>
              </a:ext>
            </a:extLst>
          </p:cNvPr>
          <p:cNvSpPr/>
          <p:nvPr/>
        </p:nvSpPr>
        <p:spPr>
          <a:xfrm>
            <a:off x="943904" y="1906135"/>
            <a:ext cx="9791829" cy="4616648"/>
          </a:xfrm>
          <a:prstGeom prst="rect">
            <a:avLst/>
          </a:prstGeom>
        </p:spPr>
        <p:txBody>
          <a:bodyPr wrap="square" lIns="90000" anchor="t" anchorCtr="0">
            <a:spAutoFit/>
          </a:bodyPr>
          <a:lstStyle/>
          <a:p>
            <a:pPr marL="742950" lvl="3" indent="-742950" defTabSz="1042342">
              <a:spcAft>
                <a:spcPts val="1200"/>
              </a:spcAft>
              <a:buClr>
                <a:srgbClr val="FFE600"/>
              </a:buClr>
              <a:buSzPct val="100000"/>
              <a:buFont typeface="+mj-lt"/>
              <a:buAutoNum type="arabicPeriod"/>
              <a:defRPr/>
            </a:pPr>
            <a:r>
              <a:rPr lang="en-US" sz="2800" b="1" kern="0" dirty="0">
                <a:solidFill>
                  <a:srgbClr val="646464"/>
                </a:solidFill>
                <a:latin typeface="EYInterstate" panose="02000503020000020004" pitchFamily="2" charset="0"/>
              </a:rPr>
              <a:t>Our understanding of your needs</a:t>
            </a:r>
          </a:p>
          <a:p>
            <a:pPr marL="742950" marR="0" lvl="3" indent="-742950" algn="l" defTabSz="1042342" rtl="0" eaLnBrk="1" fontAlgn="base" latinLnBrk="0" hangingPunct="1">
              <a:lnSpc>
                <a:spcPct val="100000"/>
              </a:lnSpc>
              <a:spcBef>
                <a:spcPct val="0"/>
              </a:spcBef>
              <a:spcAft>
                <a:spcPts val="1200"/>
              </a:spcAft>
              <a:buClr>
                <a:srgbClr val="FFE600"/>
              </a:buClr>
              <a:buSzPct val="100000"/>
              <a:buFont typeface="+mj-lt"/>
              <a:buAutoNum type="arabicPeriod"/>
              <a:tabLst/>
              <a:defRPr/>
            </a:pPr>
            <a:r>
              <a:rPr lang="en-US" sz="2800" b="1" kern="0" dirty="0">
                <a:solidFill>
                  <a:srgbClr val="646464"/>
                </a:solidFill>
                <a:latin typeface="EYInterstate" panose="02000503020000020004" pitchFamily="2" charset="0"/>
              </a:rPr>
              <a:t>Our capabilities </a:t>
            </a:r>
          </a:p>
          <a:p>
            <a:pPr marL="742950" lvl="3" indent="-742950" defTabSz="1042342">
              <a:spcAft>
                <a:spcPts val="1200"/>
              </a:spcAft>
              <a:buClr>
                <a:srgbClr val="FFE600"/>
              </a:buClr>
              <a:buSzPct val="100000"/>
              <a:buFont typeface="+mj-lt"/>
              <a:buAutoNum type="arabicPeriod"/>
              <a:defRPr/>
            </a:pPr>
            <a:r>
              <a:rPr lang="en-US" sz="2800" b="1" kern="0" dirty="0">
                <a:solidFill>
                  <a:srgbClr val="646464"/>
                </a:solidFill>
                <a:latin typeface="EYInterstate" panose="02000503020000020004" pitchFamily="2" charset="0"/>
              </a:rPr>
              <a:t>Our approach</a:t>
            </a:r>
          </a:p>
          <a:p>
            <a:pPr marL="742950" marR="0" lvl="3" indent="-742950" defTabSz="1042342" eaLnBrk="1" latinLnBrk="0" hangingPunct="1">
              <a:lnSpc>
                <a:spcPct val="100000"/>
              </a:lnSpc>
              <a:spcAft>
                <a:spcPts val="1200"/>
              </a:spcAft>
              <a:buClr>
                <a:srgbClr val="FFE600"/>
              </a:buClr>
              <a:buSzPct val="100000"/>
              <a:buFont typeface="+mj-lt"/>
              <a:buAutoNum type="arabicPeriod"/>
              <a:tabLst/>
              <a:defRPr/>
            </a:pPr>
            <a:r>
              <a:rPr lang="en-US" sz="2800" b="1" kern="0" dirty="0">
                <a:solidFill>
                  <a:srgbClr val="FFE600"/>
                </a:solidFill>
                <a:latin typeface="EYInterstate" panose="02000503020000020004" pitchFamily="2" charset="0"/>
              </a:rPr>
              <a:t>Our delivery</a:t>
            </a:r>
          </a:p>
          <a:p>
            <a:pPr marL="742950" marR="0" lvl="3" indent="-742950" algn="l" defTabSz="1042342" rtl="0" eaLnBrk="1" fontAlgn="base" latinLnBrk="0" hangingPunct="1">
              <a:lnSpc>
                <a:spcPct val="100000"/>
              </a:lnSpc>
              <a:spcBef>
                <a:spcPct val="0"/>
              </a:spcBef>
              <a:spcAft>
                <a:spcPts val="1200"/>
              </a:spcAft>
              <a:buClr>
                <a:srgbClr val="FFE600"/>
              </a:buClr>
              <a:buSzPct val="100000"/>
              <a:buFont typeface="+mj-lt"/>
              <a:buAutoNum type="arabicPeriod"/>
              <a:tabLst/>
              <a:defRPr/>
            </a:pPr>
            <a:r>
              <a:rPr kumimoji="0" lang="en-US" sz="2800" b="1" i="0" u="none" strike="noStrike" kern="0" cap="none" spc="0" normalizeH="0" baseline="0" noProof="0" dirty="0">
                <a:ln>
                  <a:noFill/>
                </a:ln>
                <a:solidFill>
                  <a:srgbClr val="646464"/>
                </a:solidFill>
                <a:effectLst/>
                <a:uLnTx/>
                <a:uFillTx/>
                <a:latin typeface="EYInterstate" panose="02000503020000020004" pitchFamily="2" charset="0"/>
                <a:ea typeface="+mn-ea"/>
                <a:cs typeface="+mn-cs"/>
              </a:rPr>
              <a:t>Team structure</a:t>
            </a:r>
          </a:p>
          <a:p>
            <a:pPr marL="742950" lvl="3" indent="-742950" defTabSz="1042342">
              <a:spcAft>
                <a:spcPts val="1200"/>
              </a:spcAft>
              <a:buClr>
                <a:srgbClr val="FFE600"/>
              </a:buClr>
              <a:buSzPct val="100000"/>
              <a:buFont typeface="+mj-lt"/>
              <a:buAutoNum type="arabicPeriod"/>
              <a:defRPr/>
            </a:pPr>
            <a:r>
              <a:rPr lang="en-US" sz="2800" b="1" kern="0" dirty="0">
                <a:solidFill>
                  <a:srgbClr val="646464"/>
                </a:solidFill>
                <a:latin typeface="EYInterstate" panose="02000503020000020004" pitchFamily="2" charset="0"/>
              </a:rPr>
              <a:t>Our credentials</a:t>
            </a:r>
            <a:endParaRPr kumimoji="0" lang="en-US" sz="2800" b="1" i="0" u="none" strike="noStrike" kern="0" cap="none" spc="0" normalizeH="0" baseline="0" noProof="0" dirty="0">
              <a:ln>
                <a:noFill/>
              </a:ln>
              <a:solidFill>
                <a:srgbClr val="646464"/>
              </a:solidFill>
              <a:effectLst/>
              <a:uLnTx/>
              <a:uFillTx/>
              <a:latin typeface="EYInterstate" panose="02000503020000020004" pitchFamily="2" charset="0"/>
              <a:ea typeface="+mn-ea"/>
              <a:cs typeface="+mn-cs"/>
            </a:endParaRPr>
          </a:p>
          <a:p>
            <a:pPr marL="742950" lvl="3" indent="-742950" defTabSz="1042342">
              <a:spcAft>
                <a:spcPts val="1200"/>
              </a:spcAft>
              <a:buClr>
                <a:srgbClr val="FFE600"/>
              </a:buClr>
              <a:buSzPct val="100000"/>
              <a:buFont typeface="+mj-lt"/>
              <a:buAutoNum type="arabicPeriod"/>
              <a:defRPr/>
            </a:pPr>
            <a:r>
              <a:rPr lang="en-US" sz="2800" b="1" kern="0" dirty="0">
                <a:solidFill>
                  <a:srgbClr val="646464"/>
                </a:solidFill>
                <a:latin typeface="EYInterstate" panose="02000503020000020004" pitchFamily="2" charset="0"/>
              </a:rPr>
              <a:t>Our proposed fees</a:t>
            </a:r>
          </a:p>
          <a:p>
            <a:pPr marL="742950" lvl="3" indent="-742950" defTabSz="1042342">
              <a:spcAft>
                <a:spcPts val="1200"/>
              </a:spcAft>
              <a:buClr>
                <a:srgbClr val="FFE600"/>
              </a:buClr>
              <a:buSzPct val="100000"/>
              <a:buFont typeface="+mj-lt"/>
              <a:buAutoNum type="arabicPeriod"/>
              <a:defRPr/>
            </a:pPr>
            <a:r>
              <a:rPr kumimoji="0" lang="en-US" sz="2800" b="1" i="0" u="none" strike="noStrike" kern="0" cap="none" spc="0" normalizeH="0" baseline="0" noProof="0" dirty="0">
                <a:ln>
                  <a:noFill/>
                </a:ln>
                <a:solidFill>
                  <a:srgbClr val="646464"/>
                </a:solidFill>
                <a:effectLst/>
                <a:uLnTx/>
                <a:uFillTx/>
                <a:latin typeface="EYInterstate" panose="02000503020000020004" pitchFamily="2" charset="0"/>
                <a:ea typeface="+mn-ea"/>
                <a:cs typeface="+mn-cs"/>
              </a:rPr>
              <a:t>Appendix</a:t>
            </a:r>
          </a:p>
        </p:txBody>
      </p:sp>
      <p:grpSp>
        <p:nvGrpSpPr>
          <p:cNvPr id="10" name="Group 9">
            <a:extLst>
              <a:ext uri="{FF2B5EF4-FFF2-40B4-BE49-F238E27FC236}">
                <a16:creationId xmlns:a16="http://schemas.microsoft.com/office/drawing/2014/main" id="{A01F99EE-3BB0-4982-8CDA-0DB47603B60E}"/>
              </a:ext>
            </a:extLst>
          </p:cNvPr>
          <p:cNvGrpSpPr/>
          <p:nvPr/>
        </p:nvGrpSpPr>
        <p:grpSpPr>
          <a:xfrm>
            <a:off x="8631207" y="3780631"/>
            <a:ext cx="684000" cy="232949"/>
            <a:chOff x="9563141" y="2547476"/>
            <a:chExt cx="684000" cy="232949"/>
          </a:xfrm>
        </p:grpSpPr>
        <p:sp>
          <p:nvSpPr>
            <p:cNvPr id="11" name="Arrow: Chevron 3">
              <a:extLst>
                <a:ext uri="{FF2B5EF4-FFF2-40B4-BE49-F238E27FC236}">
                  <a16:creationId xmlns:a16="http://schemas.microsoft.com/office/drawing/2014/main" id="{D2BF9A0E-2389-4940-8496-513FE463B8AC}"/>
                </a:ext>
              </a:extLst>
            </p:cNvPr>
            <p:cNvSpPr/>
            <p:nvPr/>
          </p:nvSpPr>
          <p:spPr>
            <a:xfrm rot="10800000">
              <a:off x="9563141" y="2547476"/>
              <a:ext cx="276149" cy="232949"/>
            </a:xfrm>
            <a:prstGeom prst="chevron">
              <a:avLst/>
            </a:prstGeom>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50000"/>
                </a:spcAft>
                <a:buClr>
                  <a:srgbClr val="FFE600"/>
                </a:buClr>
                <a:buSzPct val="80000"/>
                <a:buFont typeface="Arial" charset="0"/>
                <a:buNone/>
                <a:tabLst/>
                <a:defRPr/>
              </a:pPr>
              <a:endParaRPr kumimoji="0" lang="en-US" sz="1400" b="1" i="0" u="none" strike="noStrike" kern="1200" cap="none" spc="0" normalizeH="0" baseline="0" noProof="0">
                <a:ln w="22225">
                  <a:solidFill>
                    <a:srgbClr val="FFE600"/>
                  </a:solidFill>
                  <a:prstDash val="solid"/>
                </a:ln>
                <a:solidFill>
                  <a:srgbClr val="FFE600">
                    <a:lumMod val="40000"/>
                    <a:lumOff val="60000"/>
                  </a:srgbClr>
                </a:solidFill>
                <a:effectLst/>
                <a:uLnTx/>
                <a:uFillTx/>
                <a:latin typeface="EYInterstate" panose="02000503020000020004" pitchFamily="2" charset="0"/>
                <a:ea typeface="+mn-ea"/>
                <a:cs typeface="+mn-cs"/>
              </a:endParaRPr>
            </a:p>
          </p:txBody>
        </p:sp>
        <p:sp>
          <p:nvSpPr>
            <p:cNvPr id="12" name="Arrow: Chevron 4">
              <a:extLst>
                <a:ext uri="{FF2B5EF4-FFF2-40B4-BE49-F238E27FC236}">
                  <a16:creationId xmlns:a16="http://schemas.microsoft.com/office/drawing/2014/main" id="{7E91B9B4-9770-48CB-9D95-B059104AA987}"/>
                </a:ext>
              </a:extLst>
            </p:cNvPr>
            <p:cNvSpPr/>
            <p:nvPr/>
          </p:nvSpPr>
          <p:spPr>
            <a:xfrm rot="10800000">
              <a:off x="9767067" y="2547476"/>
              <a:ext cx="276149" cy="232949"/>
            </a:xfrm>
            <a:prstGeom prst="chevron">
              <a:avLst/>
            </a:prstGeom>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50000"/>
                </a:spcAft>
                <a:buClr>
                  <a:srgbClr val="FFE600"/>
                </a:buClr>
                <a:buSzPct val="80000"/>
                <a:buFont typeface="Arial" charset="0"/>
                <a:buNone/>
                <a:tabLst/>
                <a:defRPr/>
              </a:pPr>
              <a:endParaRPr kumimoji="0" lang="en-US" sz="1400" b="1" i="0" u="none" strike="noStrike" kern="1200" cap="none" spc="0" normalizeH="0" baseline="0" noProof="0">
                <a:ln w="22225">
                  <a:solidFill>
                    <a:srgbClr val="FFE600"/>
                  </a:solidFill>
                  <a:prstDash val="solid"/>
                </a:ln>
                <a:solidFill>
                  <a:srgbClr val="FFE600">
                    <a:lumMod val="40000"/>
                    <a:lumOff val="60000"/>
                  </a:srgbClr>
                </a:solidFill>
                <a:effectLst/>
                <a:uLnTx/>
                <a:uFillTx/>
                <a:latin typeface="EYInterstate" panose="02000503020000020004" pitchFamily="2" charset="0"/>
                <a:ea typeface="+mn-ea"/>
                <a:cs typeface="+mn-cs"/>
              </a:endParaRPr>
            </a:p>
          </p:txBody>
        </p:sp>
        <p:sp>
          <p:nvSpPr>
            <p:cNvPr id="13" name="Arrow: Chevron 5">
              <a:extLst>
                <a:ext uri="{FF2B5EF4-FFF2-40B4-BE49-F238E27FC236}">
                  <a16:creationId xmlns:a16="http://schemas.microsoft.com/office/drawing/2014/main" id="{D7419B56-EA19-4F40-A31D-9C103AFC8EAC}"/>
                </a:ext>
              </a:extLst>
            </p:cNvPr>
            <p:cNvSpPr/>
            <p:nvPr/>
          </p:nvSpPr>
          <p:spPr>
            <a:xfrm rot="10800000">
              <a:off x="9970992" y="2547476"/>
              <a:ext cx="276149" cy="232949"/>
            </a:xfrm>
            <a:prstGeom prst="chevron">
              <a:avLst/>
            </a:prstGeom>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50000"/>
                </a:spcAft>
                <a:buClr>
                  <a:srgbClr val="FFE600"/>
                </a:buClr>
                <a:buSzPct val="80000"/>
                <a:buFont typeface="Arial" charset="0"/>
                <a:buNone/>
                <a:tabLst/>
                <a:defRPr/>
              </a:pPr>
              <a:endParaRPr kumimoji="0" lang="en-US" sz="1400" b="1" i="0" u="none" strike="noStrike" kern="1200" cap="none" spc="0" normalizeH="0" baseline="0" noProof="0">
                <a:ln w="22225">
                  <a:solidFill>
                    <a:srgbClr val="FFE600"/>
                  </a:solidFill>
                  <a:prstDash val="solid"/>
                </a:ln>
                <a:solidFill>
                  <a:srgbClr val="FFE600">
                    <a:lumMod val="40000"/>
                    <a:lumOff val="60000"/>
                  </a:srgbClr>
                </a:solidFill>
                <a:effectLst/>
                <a:uLnTx/>
                <a:uFillTx/>
                <a:latin typeface="EYInterstate" panose="02000503020000020004" pitchFamily="2" charset="0"/>
                <a:ea typeface="+mn-ea"/>
                <a:cs typeface="+mn-cs"/>
              </a:endParaRPr>
            </a:p>
          </p:txBody>
        </p:sp>
      </p:grpSp>
    </p:spTree>
    <p:extLst>
      <p:ext uri="{BB962C8B-B14F-4D97-AF65-F5344CB8AC3E}">
        <p14:creationId xmlns:p14="http://schemas.microsoft.com/office/powerpoint/2010/main" val="234365181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54DFFD-76C7-40BF-9429-1291B71C8590}"/>
              </a:ext>
            </a:extLst>
          </p:cNvPr>
          <p:cNvSpPr>
            <a:spLocks noGrp="1"/>
          </p:cNvSpPr>
          <p:nvPr>
            <p:ph type="title"/>
          </p:nvPr>
        </p:nvSpPr>
        <p:spPr/>
        <p:txBody>
          <a:bodyPr/>
          <a:lstStyle/>
          <a:p>
            <a:r>
              <a:rPr lang="en-US" dirty="0"/>
              <a:t>Project timeline</a:t>
            </a:r>
          </a:p>
        </p:txBody>
      </p:sp>
      <p:graphicFrame>
        <p:nvGraphicFramePr>
          <p:cNvPr id="3" name="Table 2">
            <a:extLst>
              <a:ext uri="{FF2B5EF4-FFF2-40B4-BE49-F238E27FC236}">
                <a16:creationId xmlns:a16="http://schemas.microsoft.com/office/drawing/2014/main" id="{ECDD2965-B64D-4618-A18C-FAF484DAD8E4}"/>
              </a:ext>
            </a:extLst>
          </p:cNvPr>
          <p:cNvGraphicFramePr>
            <a:graphicFrameLocks noGrp="1"/>
          </p:cNvGraphicFramePr>
          <p:nvPr>
            <p:extLst>
              <p:ext uri="{D42A27DB-BD31-4B8C-83A1-F6EECF244321}">
                <p14:modId xmlns:p14="http://schemas.microsoft.com/office/powerpoint/2010/main" val="3062953775"/>
              </p:ext>
            </p:extLst>
          </p:nvPr>
        </p:nvGraphicFramePr>
        <p:xfrm>
          <a:off x="690083" y="1629154"/>
          <a:ext cx="12062784" cy="5636034"/>
        </p:xfrm>
        <a:graphic>
          <a:graphicData uri="http://schemas.openxmlformats.org/drawingml/2006/table">
            <a:tbl>
              <a:tblPr/>
              <a:tblGrid>
                <a:gridCol w="951441">
                  <a:extLst>
                    <a:ext uri="{9D8B030D-6E8A-4147-A177-3AD203B41FA5}">
                      <a16:colId xmlns:a16="http://schemas.microsoft.com/office/drawing/2014/main" val="3125493676"/>
                    </a:ext>
                  </a:extLst>
                </a:gridCol>
                <a:gridCol w="1958583">
                  <a:extLst>
                    <a:ext uri="{9D8B030D-6E8A-4147-A177-3AD203B41FA5}">
                      <a16:colId xmlns:a16="http://schemas.microsoft.com/office/drawing/2014/main" val="1028723268"/>
                    </a:ext>
                  </a:extLst>
                </a:gridCol>
                <a:gridCol w="2910024">
                  <a:extLst>
                    <a:ext uri="{9D8B030D-6E8A-4147-A177-3AD203B41FA5}">
                      <a16:colId xmlns:a16="http://schemas.microsoft.com/office/drawing/2014/main" val="1998155736"/>
                    </a:ext>
                  </a:extLst>
                </a:gridCol>
                <a:gridCol w="780342">
                  <a:extLst>
                    <a:ext uri="{9D8B030D-6E8A-4147-A177-3AD203B41FA5}">
                      <a16:colId xmlns:a16="http://schemas.microsoft.com/office/drawing/2014/main" val="4055143385"/>
                    </a:ext>
                  </a:extLst>
                </a:gridCol>
                <a:gridCol w="780342">
                  <a:extLst>
                    <a:ext uri="{9D8B030D-6E8A-4147-A177-3AD203B41FA5}">
                      <a16:colId xmlns:a16="http://schemas.microsoft.com/office/drawing/2014/main" val="2060803131"/>
                    </a:ext>
                  </a:extLst>
                </a:gridCol>
                <a:gridCol w="780342">
                  <a:extLst>
                    <a:ext uri="{9D8B030D-6E8A-4147-A177-3AD203B41FA5}">
                      <a16:colId xmlns:a16="http://schemas.microsoft.com/office/drawing/2014/main" val="270207956"/>
                    </a:ext>
                  </a:extLst>
                </a:gridCol>
                <a:gridCol w="780342">
                  <a:extLst>
                    <a:ext uri="{9D8B030D-6E8A-4147-A177-3AD203B41FA5}">
                      <a16:colId xmlns:a16="http://schemas.microsoft.com/office/drawing/2014/main" val="2903498952"/>
                    </a:ext>
                  </a:extLst>
                </a:gridCol>
                <a:gridCol w="780342">
                  <a:extLst>
                    <a:ext uri="{9D8B030D-6E8A-4147-A177-3AD203B41FA5}">
                      <a16:colId xmlns:a16="http://schemas.microsoft.com/office/drawing/2014/main" val="1372639634"/>
                    </a:ext>
                  </a:extLst>
                </a:gridCol>
                <a:gridCol w="780342">
                  <a:extLst>
                    <a:ext uri="{9D8B030D-6E8A-4147-A177-3AD203B41FA5}">
                      <a16:colId xmlns:a16="http://schemas.microsoft.com/office/drawing/2014/main" val="2900054766"/>
                    </a:ext>
                  </a:extLst>
                </a:gridCol>
                <a:gridCol w="780342">
                  <a:extLst>
                    <a:ext uri="{9D8B030D-6E8A-4147-A177-3AD203B41FA5}">
                      <a16:colId xmlns:a16="http://schemas.microsoft.com/office/drawing/2014/main" val="126256844"/>
                    </a:ext>
                  </a:extLst>
                </a:gridCol>
                <a:gridCol w="780342">
                  <a:extLst>
                    <a:ext uri="{9D8B030D-6E8A-4147-A177-3AD203B41FA5}">
                      <a16:colId xmlns:a16="http://schemas.microsoft.com/office/drawing/2014/main" val="1262809037"/>
                    </a:ext>
                  </a:extLst>
                </a:gridCol>
              </a:tblGrid>
              <a:tr h="501203">
                <a:tc gridSpan="2">
                  <a:txBody>
                    <a:bodyPr/>
                    <a:lstStyle/>
                    <a:p>
                      <a:pPr algn="l" fontAlgn="b"/>
                      <a:endParaRPr lang="en-US" sz="1100" b="0" i="0" u="none" strike="noStrike" dirty="0">
                        <a:solidFill>
                          <a:srgbClr val="000000"/>
                        </a:solidFill>
                        <a:effectLst/>
                        <a:latin typeface="Calibri" panose="020F0502020204030204" pitchFamily="34" charset="0"/>
                      </a:endParaRPr>
                    </a:p>
                  </a:txBody>
                  <a:tcPr marL="9421" marR="9421" marT="9421" marB="0" anchor="b">
                    <a:lnL>
                      <a:noFill/>
                    </a:lnL>
                    <a:lnR>
                      <a:noFill/>
                    </a:lnR>
                    <a:lnT>
                      <a:noFill/>
                    </a:lnT>
                    <a:lnB w="19050" cap="flat" cmpd="sng" algn="ctr">
                      <a:solidFill>
                        <a:schemeClr val="tx1"/>
                      </a:solidFill>
                      <a:prstDash val="solid"/>
                      <a:round/>
                      <a:headEnd type="none" w="med" len="med"/>
                      <a:tailEnd type="none" w="med" len="med"/>
                    </a:lnB>
                  </a:tcPr>
                </a:tc>
                <a:tc hMerge="1">
                  <a:txBody>
                    <a:bodyPr/>
                    <a:lstStyle/>
                    <a:p>
                      <a:pPr algn="l" fontAlgn="b"/>
                      <a:endParaRPr lang="en-US" sz="1100" b="0" i="0" u="none" strike="noStrike">
                        <a:solidFill>
                          <a:srgbClr val="000000"/>
                        </a:solidFill>
                        <a:effectLst/>
                        <a:latin typeface="Calibri" panose="020F0502020204030204" pitchFamily="34" charset="0"/>
                      </a:endParaRPr>
                    </a:p>
                  </a:txBody>
                  <a:tcPr marL="9421" marR="9421" marT="9421"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l" fontAlgn="b"/>
                      <a:endParaRPr lang="en-US" sz="1100" b="0" i="0" u="none" strike="noStrike">
                        <a:solidFill>
                          <a:srgbClr val="000000"/>
                        </a:solidFill>
                        <a:effectLst/>
                        <a:latin typeface="Calibri" panose="020F0502020204030204" pitchFamily="34" charset="0"/>
                      </a:endParaRPr>
                    </a:p>
                  </a:txBody>
                  <a:tcPr marL="9421" marR="9421" marT="9421" marB="0" anchor="b">
                    <a:lnL>
                      <a:noFill/>
                    </a:lnL>
                    <a:lnR w="12700" cap="flat" cmpd="sng" algn="ctr">
                      <a:solidFill>
                        <a:srgbClr val="000000"/>
                      </a:solidFill>
                      <a:prstDash val="solid"/>
                      <a:round/>
                      <a:headEnd type="none" w="med" len="med"/>
                      <a:tailEnd type="none" w="med" len="med"/>
                    </a:lnR>
                    <a:lnT>
                      <a:noFill/>
                    </a:lnT>
                    <a:lnB w="19050" cap="flat" cmpd="sng" algn="ctr">
                      <a:solidFill>
                        <a:schemeClr val="tx1"/>
                      </a:solidFill>
                      <a:prstDash val="solid"/>
                      <a:round/>
                      <a:headEnd type="none" w="med" len="med"/>
                      <a:tailEnd type="none" w="med" len="med"/>
                    </a:lnB>
                  </a:tcPr>
                </a:tc>
                <a:tc gridSpan="3">
                  <a:txBody>
                    <a:bodyPr/>
                    <a:lstStyle/>
                    <a:p>
                      <a:pPr algn="ctr" fontAlgn="ctr"/>
                      <a:r>
                        <a:rPr lang="en-US" sz="1200" b="0" i="0" u="none" strike="noStrike" dirty="0">
                          <a:solidFill>
                            <a:srgbClr val="000000"/>
                          </a:solidFill>
                          <a:effectLst/>
                          <a:latin typeface="EYInterstate" panose="02000503020000020004" pitchFamily="2" charset="0"/>
                        </a:rPr>
                        <a:t>Stage 1: Data quality assessment</a:t>
                      </a:r>
                    </a:p>
                  </a:txBody>
                  <a:tcPr marL="9421" marR="9421" marT="942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accent2"/>
                    </a:solidFill>
                  </a:tcPr>
                </a:tc>
                <a:tc hMerge="1">
                  <a:txBody>
                    <a:bodyPr/>
                    <a:lstStyle/>
                    <a:p>
                      <a:endParaRPr lang="en-US"/>
                    </a:p>
                  </a:txBody>
                  <a:tcPr/>
                </a:tc>
                <a:tc hMerge="1">
                  <a:txBody>
                    <a:bodyPr/>
                    <a:lstStyle/>
                    <a:p>
                      <a:endParaRPr lang="en-US"/>
                    </a:p>
                  </a:txBody>
                  <a:tcPr/>
                </a:tc>
                <a:tc gridSpan="5">
                  <a:txBody>
                    <a:bodyPr/>
                    <a:lstStyle/>
                    <a:p>
                      <a:pPr algn="ctr" fontAlgn="ctr"/>
                      <a:r>
                        <a:rPr lang="en-US" sz="1200" b="0" i="0" u="none" strike="noStrike" dirty="0">
                          <a:solidFill>
                            <a:srgbClr val="000000"/>
                          </a:solidFill>
                          <a:effectLst/>
                          <a:latin typeface="EYInterstate" panose="02000503020000020004" pitchFamily="2" charset="0"/>
                        </a:rPr>
                        <a:t>Stage 2: Propensity model development</a:t>
                      </a:r>
                    </a:p>
                  </a:txBody>
                  <a:tcPr marL="9421" marR="9421" marT="942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accent2"/>
                    </a:solidFill>
                  </a:tcPr>
                </a:tc>
                <a:tc hMerge="1">
                  <a:txBody>
                    <a:bodyPr/>
                    <a:lstStyle/>
                    <a:p>
                      <a:endParaRPr lang="en-US"/>
                    </a:p>
                  </a:txBody>
                  <a:tcPr/>
                </a:tc>
                <a:tc hMerge="1">
                  <a:txBody>
                    <a:bodyPr/>
                    <a:lstStyle/>
                    <a:p>
                      <a:endParaRPr lang="en-US"/>
                    </a:p>
                  </a:txBody>
                  <a:tcPr/>
                </a:tc>
                <a:tc hMerge="1">
                  <a:txBody>
                    <a:bodyPr/>
                    <a:lstStyle/>
                    <a:p>
                      <a:pPr algn="ctr" fontAlgn="ctr"/>
                      <a:endParaRPr lang="en-US" sz="1100" b="0" i="0" u="none" strike="noStrike">
                        <a:solidFill>
                          <a:srgbClr val="000000"/>
                        </a:solidFill>
                        <a:effectLst/>
                        <a:latin typeface="EYInterstate" panose="02000503020000020004" pitchFamily="2" charset="0"/>
                      </a:endParaRPr>
                    </a:p>
                  </a:txBody>
                  <a:tcPr marL="9421" marR="9421" marT="942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solidFill>
                  </a:tcPr>
                </a:tc>
                <a:tc hMerge="1">
                  <a:txBody>
                    <a:bodyPr/>
                    <a:lstStyle/>
                    <a:p>
                      <a:endParaRPr lang="en-US"/>
                    </a:p>
                  </a:txBody>
                  <a:tcPr/>
                </a:tc>
                <a:extLst>
                  <a:ext uri="{0D108BD9-81ED-4DB2-BD59-A6C34878D82A}">
                    <a16:rowId xmlns:a16="http://schemas.microsoft.com/office/drawing/2014/main" val="1646321960"/>
                  </a:ext>
                </a:extLst>
              </a:tr>
              <a:tr h="291830">
                <a:tc gridSpan="3">
                  <a:txBody>
                    <a:bodyPr/>
                    <a:lstStyle/>
                    <a:p>
                      <a:pPr algn="ctr" rtl="0" fontAlgn="ctr"/>
                      <a:r>
                        <a:rPr lang="en-US" sz="1400" b="1" i="0" u="none" strike="noStrike">
                          <a:solidFill>
                            <a:srgbClr val="FFFFFF"/>
                          </a:solidFill>
                          <a:effectLst/>
                          <a:latin typeface="EYInterstate" panose="02000503020000020004" pitchFamily="2" charset="0"/>
                        </a:rPr>
                        <a:t>Month (2020)</a:t>
                      </a:r>
                    </a:p>
                  </a:txBody>
                  <a:tcPr marL="9421" marR="9421" marT="9421" marB="0" anchor="ctr">
                    <a:lnL w="1905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646464"/>
                    </a:solidFill>
                  </a:tcPr>
                </a:tc>
                <a:tc hMerge="1">
                  <a:txBody>
                    <a:bodyPr/>
                    <a:lstStyle/>
                    <a:p>
                      <a:endParaRPr lang="en-US"/>
                    </a:p>
                  </a:txBody>
                  <a:tcPr/>
                </a:tc>
                <a:tc hMerge="1">
                  <a:txBody>
                    <a:bodyPr/>
                    <a:lstStyle/>
                    <a:p>
                      <a:endParaRPr lang="en-US"/>
                    </a:p>
                  </a:txBody>
                  <a:tcPr/>
                </a:tc>
                <a:tc gridSpan="2">
                  <a:txBody>
                    <a:bodyPr/>
                    <a:lstStyle/>
                    <a:p>
                      <a:pPr algn="ctr" rtl="0" fontAlgn="ctr"/>
                      <a:r>
                        <a:rPr lang="en-US" sz="1100" b="1" i="0" u="none" strike="noStrike">
                          <a:solidFill>
                            <a:srgbClr val="FFFFFF"/>
                          </a:solidFill>
                          <a:effectLst/>
                          <a:latin typeface="EYInterstate" panose="02000503020000020004" pitchFamily="2" charset="0"/>
                        </a:rPr>
                        <a:t>July</a:t>
                      </a:r>
                    </a:p>
                  </a:txBody>
                  <a:tcPr marL="9421" marR="9421" marT="942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646464"/>
                    </a:solidFill>
                  </a:tcPr>
                </a:tc>
                <a:tc hMerge="1">
                  <a:txBody>
                    <a:bodyPr/>
                    <a:lstStyle/>
                    <a:p>
                      <a:endParaRPr lang="en-US"/>
                    </a:p>
                  </a:txBody>
                  <a:tcPr/>
                </a:tc>
                <a:tc gridSpan="4">
                  <a:txBody>
                    <a:bodyPr/>
                    <a:lstStyle/>
                    <a:p>
                      <a:pPr algn="ctr" rtl="0" fontAlgn="ctr"/>
                      <a:r>
                        <a:rPr lang="en-US" sz="1100" b="1" i="0" u="none" strike="noStrike">
                          <a:solidFill>
                            <a:srgbClr val="FFFFFF"/>
                          </a:solidFill>
                          <a:effectLst/>
                          <a:latin typeface="EYInterstate" panose="02000503020000020004" pitchFamily="2" charset="0"/>
                        </a:rPr>
                        <a:t>August</a:t>
                      </a:r>
                    </a:p>
                  </a:txBody>
                  <a:tcPr marL="9421" marR="9421" marT="942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646464"/>
                    </a:solidFill>
                  </a:tcPr>
                </a:tc>
                <a:tc hMerge="1">
                  <a:txBody>
                    <a:bodyPr/>
                    <a:lstStyle/>
                    <a:p>
                      <a:endParaRPr lang="en-US"/>
                    </a:p>
                  </a:txBody>
                  <a:tcPr/>
                </a:tc>
                <a:tc hMerge="1">
                  <a:txBody>
                    <a:bodyPr/>
                    <a:lstStyle/>
                    <a:p>
                      <a:endParaRPr lang="en-US"/>
                    </a:p>
                  </a:txBody>
                  <a:tcPr/>
                </a:tc>
                <a:tc hMerge="1">
                  <a:txBody>
                    <a:bodyPr/>
                    <a:lstStyle/>
                    <a:p>
                      <a:endParaRPr lang="en-US"/>
                    </a:p>
                  </a:txBody>
                  <a:tcPr/>
                </a:tc>
                <a:tc gridSpan="2">
                  <a:txBody>
                    <a:bodyPr/>
                    <a:lstStyle/>
                    <a:p>
                      <a:pPr algn="ctr" rtl="0" fontAlgn="ctr"/>
                      <a:r>
                        <a:rPr lang="en-US" sz="1100" b="1" i="0" u="none" strike="noStrike">
                          <a:solidFill>
                            <a:srgbClr val="FFFFFF"/>
                          </a:solidFill>
                          <a:effectLst/>
                          <a:latin typeface="EYInterstate" panose="02000503020000020004" pitchFamily="2" charset="0"/>
                        </a:rPr>
                        <a:t>September</a:t>
                      </a:r>
                    </a:p>
                  </a:txBody>
                  <a:tcPr marL="9421" marR="9421" marT="9421" marB="0" anchor="ctr">
                    <a:lnL w="12700" cap="flat" cmpd="sng" algn="ctr">
                      <a:solidFill>
                        <a:srgbClr val="000000"/>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646464"/>
                    </a:solidFill>
                  </a:tcPr>
                </a:tc>
                <a:tc hMerge="1">
                  <a:txBody>
                    <a:bodyPr/>
                    <a:lstStyle/>
                    <a:p>
                      <a:endParaRPr lang="en-US"/>
                    </a:p>
                  </a:txBody>
                  <a:tcPr/>
                </a:tc>
                <a:extLst>
                  <a:ext uri="{0D108BD9-81ED-4DB2-BD59-A6C34878D82A}">
                    <a16:rowId xmlns:a16="http://schemas.microsoft.com/office/drawing/2014/main" val="3787892285"/>
                  </a:ext>
                </a:extLst>
              </a:tr>
              <a:tr h="369651">
                <a:tc gridSpan="3">
                  <a:txBody>
                    <a:bodyPr/>
                    <a:lstStyle/>
                    <a:p>
                      <a:pPr algn="ctr" rtl="0" fontAlgn="ctr"/>
                      <a:r>
                        <a:rPr lang="en-US" sz="1400" b="1" i="0" u="none" strike="noStrike">
                          <a:solidFill>
                            <a:srgbClr val="000000"/>
                          </a:solidFill>
                          <a:effectLst/>
                          <a:latin typeface="EYInterstate" panose="02000503020000020004" pitchFamily="2" charset="0"/>
                        </a:rPr>
                        <a:t>Key Activities</a:t>
                      </a:r>
                    </a:p>
                  </a:txBody>
                  <a:tcPr marL="9421" marR="9421" marT="9421" marB="0" anchor="ctr">
                    <a:lnL w="1905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a:txBody>
                    <a:bodyPr/>
                    <a:lstStyle/>
                    <a:p>
                      <a:pPr algn="ctr" rtl="0" fontAlgn="ctr"/>
                      <a:r>
                        <a:rPr lang="en-US" sz="1200" b="1" i="0" u="none" strike="noStrike" kern="1200">
                          <a:solidFill>
                            <a:srgbClr val="646464"/>
                          </a:solidFill>
                          <a:effectLst/>
                          <a:latin typeface="EYInterstate" panose="02000503020000020004" pitchFamily="2" charset="0"/>
                          <a:ea typeface="+mn-ea"/>
                          <a:cs typeface="+mn-cs"/>
                        </a:rPr>
                        <a:t>W1</a:t>
                      </a:r>
                    </a:p>
                  </a:txBody>
                  <a:tcPr marL="9421" marR="9421" marT="942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1200" b="1" i="0" u="none" strike="noStrike" kern="1200">
                          <a:solidFill>
                            <a:srgbClr val="646464"/>
                          </a:solidFill>
                          <a:effectLst/>
                          <a:latin typeface="EYInterstate" panose="02000503020000020004" pitchFamily="2" charset="0"/>
                          <a:ea typeface="+mn-ea"/>
                          <a:cs typeface="+mn-cs"/>
                        </a:rPr>
                        <a:t>W2</a:t>
                      </a:r>
                    </a:p>
                  </a:txBody>
                  <a:tcPr marL="9421" marR="9421" marT="942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1200" b="1" i="0" u="none" strike="noStrike" kern="1200">
                          <a:solidFill>
                            <a:srgbClr val="646464"/>
                          </a:solidFill>
                          <a:effectLst/>
                          <a:latin typeface="EYInterstate" panose="02000503020000020004" pitchFamily="2" charset="0"/>
                          <a:ea typeface="+mn-ea"/>
                          <a:cs typeface="+mn-cs"/>
                        </a:rPr>
                        <a:t>W3</a:t>
                      </a:r>
                    </a:p>
                  </a:txBody>
                  <a:tcPr marL="9421" marR="9421" marT="942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1200" b="1" i="0" u="none" strike="noStrike" kern="1200">
                          <a:solidFill>
                            <a:srgbClr val="646464"/>
                          </a:solidFill>
                          <a:effectLst/>
                          <a:latin typeface="EYInterstate" panose="02000503020000020004" pitchFamily="2" charset="0"/>
                          <a:ea typeface="+mn-ea"/>
                          <a:cs typeface="+mn-cs"/>
                        </a:rPr>
                        <a:t>W4</a:t>
                      </a:r>
                    </a:p>
                  </a:txBody>
                  <a:tcPr marL="9421" marR="9421" marT="942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1200" b="1" i="0" u="none" strike="noStrike" kern="1200">
                          <a:solidFill>
                            <a:srgbClr val="646464"/>
                          </a:solidFill>
                          <a:effectLst/>
                          <a:latin typeface="EYInterstate" panose="02000503020000020004" pitchFamily="2" charset="0"/>
                          <a:ea typeface="+mn-ea"/>
                          <a:cs typeface="+mn-cs"/>
                        </a:rPr>
                        <a:t>W5</a:t>
                      </a:r>
                    </a:p>
                  </a:txBody>
                  <a:tcPr marL="9421" marR="9421" marT="942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1200" b="1" i="0" u="none" strike="noStrike" kern="1200">
                          <a:solidFill>
                            <a:srgbClr val="646464"/>
                          </a:solidFill>
                          <a:effectLst/>
                          <a:latin typeface="EYInterstate" panose="02000503020000020004" pitchFamily="2" charset="0"/>
                          <a:ea typeface="+mn-ea"/>
                          <a:cs typeface="+mn-cs"/>
                        </a:rPr>
                        <a:t>W6</a:t>
                      </a:r>
                    </a:p>
                  </a:txBody>
                  <a:tcPr marL="9421" marR="9421" marT="942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1200" b="1" i="0" u="none" strike="noStrike" kern="1200">
                          <a:solidFill>
                            <a:srgbClr val="646464"/>
                          </a:solidFill>
                          <a:effectLst/>
                          <a:latin typeface="EYInterstate" panose="02000503020000020004" pitchFamily="2" charset="0"/>
                          <a:ea typeface="+mn-ea"/>
                          <a:cs typeface="+mn-cs"/>
                        </a:rPr>
                        <a:t>W7</a:t>
                      </a:r>
                    </a:p>
                  </a:txBody>
                  <a:tcPr marL="9421" marR="9421" marT="942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1200" b="1" i="0" u="none" strike="noStrike" kern="1200">
                          <a:solidFill>
                            <a:srgbClr val="646464"/>
                          </a:solidFill>
                          <a:effectLst/>
                          <a:latin typeface="EYInterstate" panose="02000503020000020004" pitchFamily="2" charset="0"/>
                          <a:ea typeface="+mn-ea"/>
                          <a:cs typeface="+mn-cs"/>
                        </a:rPr>
                        <a:t>W8</a:t>
                      </a:r>
                    </a:p>
                  </a:txBody>
                  <a:tcPr marL="9421" marR="9421" marT="9421" marB="0" anchor="ctr">
                    <a:lnL w="12700" cap="flat" cmpd="sng" algn="ctr">
                      <a:solidFill>
                        <a:srgbClr val="000000"/>
                      </a:solidFill>
                      <a:prstDash val="solid"/>
                      <a:round/>
                      <a:headEnd type="none" w="med" len="med"/>
                      <a:tailEnd type="none" w="med" len="med"/>
                    </a:lnL>
                    <a:lnR w="1905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462233962"/>
                  </a:ext>
                </a:extLst>
              </a:tr>
              <a:tr h="319525">
                <a:tc gridSpan="3">
                  <a:txBody>
                    <a:bodyPr/>
                    <a:lstStyle/>
                    <a:p>
                      <a:pPr lvl="2" algn="l" rtl="0" fontAlgn="ctr"/>
                      <a:r>
                        <a:rPr lang="en-US" sz="1100" b="0" i="0" u="none" strike="noStrike">
                          <a:solidFill>
                            <a:srgbClr val="000000"/>
                          </a:solidFill>
                          <a:effectLst/>
                          <a:latin typeface="EYInterstate" panose="02000503020000020004" pitchFamily="2" charset="0"/>
                        </a:rPr>
                        <a:t>Work Stream Management</a:t>
                      </a:r>
                    </a:p>
                  </a:txBody>
                  <a:tcPr marL="9421" marR="9421" marT="9421" marB="0" anchor="ctr">
                    <a:lnL w="1905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hMerge="1">
                  <a:txBody>
                    <a:bodyPr/>
                    <a:lstStyle/>
                    <a:p>
                      <a:pPr algn="ctr" rtl="0" fontAlgn="ctr"/>
                      <a:endParaRPr lang="en-US" sz="1100" b="0" i="0" u="none" strike="noStrike">
                        <a:solidFill>
                          <a:srgbClr val="000000"/>
                        </a:solidFill>
                        <a:effectLst/>
                        <a:latin typeface="EYInterstate" panose="02000503020000020004" pitchFamily="2" charset="0"/>
                      </a:endParaRPr>
                    </a:p>
                  </a:txBody>
                  <a:tcPr marL="9421" marR="9421" marT="9421"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hMerge="1">
                  <a:txBody>
                    <a:bodyPr/>
                    <a:lstStyle/>
                    <a:p>
                      <a:endParaRPr lang="en-US"/>
                    </a:p>
                  </a:txBody>
                  <a:tcPr/>
                </a:tc>
                <a:tc>
                  <a:txBody>
                    <a:bodyPr/>
                    <a:lstStyle/>
                    <a:p>
                      <a:pPr algn="ctr" rtl="0" fontAlgn="ctr"/>
                      <a:endParaRPr lang="en-US" sz="1000" b="0" i="0" u="none" strike="noStrike">
                        <a:solidFill>
                          <a:srgbClr val="000000"/>
                        </a:solidFill>
                        <a:effectLst/>
                        <a:latin typeface="EYInterstate" panose="02000503020000020004" pitchFamily="2" charset="0"/>
                      </a:endParaRPr>
                    </a:p>
                  </a:txBody>
                  <a:tcPr marL="9421" marR="9421" marT="9421" marB="0" anchor="ctr">
                    <a:lnL w="12700" cap="flat" cmpd="sng" algn="ctr">
                      <a:solidFill>
                        <a:srgbClr val="000000"/>
                      </a:solidFill>
                      <a:prstDash val="solid"/>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lumMod val="20000"/>
                        <a:lumOff val="80000"/>
                      </a:schemeClr>
                    </a:solidFill>
                  </a:tcPr>
                </a:tc>
                <a:tc>
                  <a:txBody>
                    <a:bodyPr/>
                    <a:lstStyle/>
                    <a:p>
                      <a:pPr algn="ctr" rtl="0" fontAlgn="ctr"/>
                      <a:endParaRPr lang="en-US" sz="1000" b="0" i="0" u="none" strike="noStrike">
                        <a:solidFill>
                          <a:srgbClr val="000000"/>
                        </a:solidFill>
                        <a:effectLst/>
                        <a:latin typeface="EYInterstate" panose="02000503020000020004" pitchFamily="2" charset="0"/>
                      </a:endParaRPr>
                    </a:p>
                  </a:txBody>
                  <a:tcPr marL="9421" marR="9421" marT="9421"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lumMod val="20000"/>
                        <a:lumOff val="80000"/>
                      </a:schemeClr>
                    </a:solidFill>
                  </a:tcPr>
                </a:tc>
                <a:tc>
                  <a:txBody>
                    <a:bodyPr/>
                    <a:lstStyle/>
                    <a:p>
                      <a:pPr algn="ctr" rtl="0" fontAlgn="ctr"/>
                      <a:endParaRPr lang="en-US" sz="1000" b="0" i="0" u="none" strike="noStrike">
                        <a:solidFill>
                          <a:srgbClr val="000000"/>
                        </a:solidFill>
                        <a:effectLst/>
                        <a:latin typeface="EYInterstate" panose="02000503020000020004" pitchFamily="2" charset="0"/>
                      </a:endParaRPr>
                    </a:p>
                  </a:txBody>
                  <a:tcPr marL="9421" marR="9421" marT="9421" marB="0" anchor="ctr">
                    <a:lnL w="12700" cap="flat" cmpd="sng" algn="ctr">
                      <a:solidFill>
                        <a:schemeClr val="tx1"/>
                      </a:solidFill>
                      <a:prstDash val="sysDot"/>
                      <a:round/>
                      <a:headEnd type="none" w="med" len="med"/>
                      <a:tailEnd type="none" w="med" len="med"/>
                    </a:lnL>
                    <a:lnR w="190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lumMod val="20000"/>
                        <a:lumOff val="80000"/>
                      </a:schemeClr>
                    </a:solidFill>
                  </a:tcPr>
                </a:tc>
                <a:tc>
                  <a:txBody>
                    <a:bodyPr/>
                    <a:lstStyle/>
                    <a:p>
                      <a:pPr algn="ctr" rtl="0" fontAlgn="ctr"/>
                      <a:endParaRPr lang="en-US" sz="1000" b="0" i="0" u="none" strike="noStrike">
                        <a:solidFill>
                          <a:srgbClr val="000000"/>
                        </a:solidFill>
                        <a:effectLst/>
                        <a:latin typeface="EYInterstate" panose="02000503020000020004" pitchFamily="2" charset="0"/>
                      </a:endParaRPr>
                    </a:p>
                  </a:txBody>
                  <a:tcPr marL="9421" marR="9421" marT="9421" marB="0" anchor="ctr">
                    <a:lnL w="19050" cap="flat" cmpd="sng" algn="ctr">
                      <a:solidFill>
                        <a:srgbClr val="000000"/>
                      </a:solidFill>
                      <a:prstDash val="solid"/>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lumMod val="20000"/>
                        <a:lumOff val="80000"/>
                      </a:schemeClr>
                    </a:solidFill>
                  </a:tcPr>
                </a:tc>
                <a:tc>
                  <a:txBody>
                    <a:bodyPr/>
                    <a:lstStyle/>
                    <a:p>
                      <a:pPr algn="ctr" rtl="0" fontAlgn="ctr"/>
                      <a:endParaRPr lang="en-US" sz="1000" b="0" i="0" u="none" strike="noStrike">
                        <a:solidFill>
                          <a:srgbClr val="000000"/>
                        </a:solidFill>
                        <a:effectLst/>
                        <a:latin typeface="EYInterstate" panose="02000503020000020004" pitchFamily="2" charset="0"/>
                      </a:endParaRPr>
                    </a:p>
                  </a:txBody>
                  <a:tcPr marL="9421" marR="9421" marT="9421"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lumMod val="20000"/>
                        <a:lumOff val="80000"/>
                      </a:schemeClr>
                    </a:solidFill>
                  </a:tcPr>
                </a:tc>
                <a:tc>
                  <a:txBody>
                    <a:bodyPr/>
                    <a:lstStyle/>
                    <a:p>
                      <a:pPr algn="ctr" rtl="0" fontAlgn="ctr"/>
                      <a:endParaRPr lang="en-US" sz="1000" b="0" i="0" u="none" strike="noStrike">
                        <a:solidFill>
                          <a:srgbClr val="000000"/>
                        </a:solidFill>
                        <a:effectLst/>
                        <a:latin typeface="EYInterstate" panose="02000503020000020004" pitchFamily="2" charset="0"/>
                      </a:endParaRPr>
                    </a:p>
                  </a:txBody>
                  <a:tcPr marL="9421" marR="9421" marT="9421"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lumMod val="20000"/>
                        <a:lumOff val="80000"/>
                      </a:schemeClr>
                    </a:solidFill>
                  </a:tcPr>
                </a:tc>
                <a:tc>
                  <a:txBody>
                    <a:bodyPr/>
                    <a:lstStyle/>
                    <a:p>
                      <a:pPr algn="ctr" rtl="0" fontAlgn="ctr"/>
                      <a:endParaRPr lang="en-US" sz="1000" b="0" i="0" u="none" strike="noStrike">
                        <a:solidFill>
                          <a:srgbClr val="000000"/>
                        </a:solidFill>
                        <a:effectLst/>
                        <a:latin typeface="EYInterstate" panose="02000503020000020004" pitchFamily="2" charset="0"/>
                      </a:endParaRPr>
                    </a:p>
                  </a:txBody>
                  <a:tcPr marL="9421" marR="9421" marT="9421"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lumMod val="20000"/>
                        <a:lumOff val="80000"/>
                      </a:schemeClr>
                    </a:solidFill>
                  </a:tcPr>
                </a:tc>
                <a:tc>
                  <a:txBody>
                    <a:bodyPr/>
                    <a:lstStyle/>
                    <a:p>
                      <a:pPr algn="ctr" rtl="0" fontAlgn="ctr"/>
                      <a:endParaRPr lang="en-US" sz="1000" b="0" i="0" u="none" strike="noStrike">
                        <a:solidFill>
                          <a:srgbClr val="000000"/>
                        </a:solidFill>
                        <a:effectLst/>
                        <a:latin typeface="EYInterstate" panose="02000503020000020004" pitchFamily="2" charset="0"/>
                      </a:endParaRPr>
                    </a:p>
                  </a:txBody>
                  <a:tcPr marL="9421" marR="9421" marT="9421" marB="0" anchor="ctr">
                    <a:lnL w="12700" cap="flat" cmpd="sng" algn="ctr">
                      <a:solidFill>
                        <a:schemeClr val="tx1"/>
                      </a:solidFill>
                      <a:prstDash val="sysDot"/>
                      <a:round/>
                      <a:headEnd type="none" w="med" len="med"/>
                      <a:tailEnd type="none" w="med" len="med"/>
                    </a:lnL>
                    <a:lnR w="1905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3598174860"/>
                  </a:ext>
                </a:extLst>
              </a:tr>
              <a:tr h="319525">
                <a:tc rowSpan="3">
                  <a:txBody>
                    <a:bodyPr/>
                    <a:lstStyle/>
                    <a:p>
                      <a:pPr algn="ctr" rtl="0" fontAlgn="ctr"/>
                      <a:r>
                        <a:rPr lang="en-US" sz="1200" b="0" i="0" u="none" strike="noStrike" dirty="0">
                          <a:solidFill>
                            <a:srgbClr val="000000"/>
                          </a:solidFill>
                          <a:effectLst/>
                          <a:latin typeface="EYInterstate" panose="02000503020000020004" pitchFamily="2" charset="0"/>
                        </a:rPr>
                        <a:t>Stage 1: Data quality assessment</a:t>
                      </a:r>
                    </a:p>
                  </a:txBody>
                  <a:tcPr marL="9421" marR="9421" marT="9421" marB="0" anchor="ctr">
                    <a:lnL w="1905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solidFill>
                  </a:tcPr>
                </a:tc>
                <a:tc gridSpan="2">
                  <a:txBody>
                    <a:bodyPr/>
                    <a:lstStyle/>
                    <a:p>
                      <a:pPr lvl="1" algn="l" rtl="0" fontAlgn="ctr"/>
                      <a:r>
                        <a:rPr lang="en-US" sz="1100" b="0" i="0" u="none" strike="noStrike" kern="1200">
                          <a:solidFill>
                            <a:srgbClr val="000000"/>
                          </a:solidFill>
                          <a:effectLst/>
                          <a:latin typeface="EYInterstate" panose="02000503020000020004" pitchFamily="2" charset="0"/>
                          <a:ea typeface="+mn-ea"/>
                          <a:cs typeface="+mn-cs"/>
                        </a:rPr>
                        <a:t>Data understanding</a:t>
                      </a:r>
                    </a:p>
                  </a:txBody>
                  <a:tcPr marL="9421" marR="9421" marT="9421"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hMerge="1">
                  <a:txBody>
                    <a:bodyPr/>
                    <a:lstStyle/>
                    <a:p>
                      <a:pPr algn="l" rtl="0" fontAlgn="ctr"/>
                      <a:r>
                        <a:rPr lang="en-US" sz="1000" b="0" i="0" u="none" strike="noStrike">
                          <a:solidFill>
                            <a:srgbClr val="000000"/>
                          </a:solidFill>
                          <a:effectLst/>
                          <a:latin typeface="EYInterstate" panose="02000503020000020004" pitchFamily="2" charset="0"/>
                        </a:rPr>
                        <a:t>Data Understanding &amp; Requirement Gathering</a:t>
                      </a:r>
                    </a:p>
                  </a:txBody>
                  <a:tcPr marL="9421" marR="9421" marT="9421"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endParaRPr lang="en-US" sz="1000" b="0" i="0" u="none" strike="noStrike">
                        <a:solidFill>
                          <a:srgbClr val="000000"/>
                        </a:solidFill>
                        <a:effectLst/>
                        <a:latin typeface="EYInterstate" panose="02000503020000020004" pitchFamily="2" charset="0"/>
                      </a:endParaRPr>
                    </a:p>
                  </a:txBody>
                  <a:tcPr marL="9421" marR="9421" marT="9421" marB="0" anchor="ctr">
                    <a:lnL w="12700" cap="flat" cmpd="sng" algn="ctr">
                      <a:solidFill>
                        <a:srgbClr val="000000"/>
                      </a:solidFill>
                      <a:prstDash val="solid"/>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ysDot"/>
                      <a:round/>
                      <a:headEnd type="none" w="med" len="med"/>
                      <a:tailEnd type="none" w="med" len="med"/>
                    </a:lnB>
                    <a:solidFill>
                      <a:schemeClr val="accent2">
                        <a:lumMod val="20000"/>
                        <a:lumOff val="80000"/>
                      </a:schemeClr>
                    </a:solidFill>
                  </a:tcPr>
                </a:tc>
                <a:tc>
                  <a:txBody>
                    <a:bodyPr/>
                    <a:lstStyle/>
                    <a:p>
                      <a:pPr algn="ctr" rtl="0" fontAlgn="ctr"/>
                      <a:endParaRPr lang="en-US" sz="1000" b="0" i="0" u="none" strike="noStrike">
                        <a:solidFill>
                          <a:srgbClr val="000000"/>
                        </a:solidFill>
                        <a:effectLst/>
                        <a:latin typeface="EYInterstate" panose="02000503020000020004" pitchFamily="2" charset="0"/>
                      </a:endParaRPr>
                    </a:p>
                  </a:txBody>
                  <a:tcPr marL="9421" marR="9421" marT="9421"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ysDot"/>
                      <a:round/>
                      <a:headEnd type="none" w="med" len="med"/>
                      <a:tailEnd type="none" w="med" len="med"/>
                    </a:lnB>
                    <a:solidFill>
                      <a:schemeClr val="accent2">
                        <a:lumMod val="20000"/>
                        <a:lumOff val="80000"/>
                      </a:schemeClr>
                    </a:solidFill>
                  </a:tcPr>
                </a:tc>
                <a:tc>
                  <a:txBody>
                    <a:bodyPr/>
                    <a:lstStyle/>
                    <a:p>
                      <a:pPr algn="ctr" rtl="0" fontAlgn="ctr"/>
                      <a:endParaRPr lang="en-US" sz="1000" b="0" i="0" u="none" strike="noStrike">
                        <a:solidFill>
                          <a:srgbClr val="000000"/>
                        </a:solidFill>
                        <a:effectLst/>
                        <a:latin typeface="EYInterstate" panose="02000503020000020004" pitchFamily="2" charset="0"/>
                      </a:endParaRPr>
                    </a:p>
                  </a:txBody>
                  <a:tcPr marL="9421" marR="9421" marT="9421" marB="0" anchor="ctr">
                    <a:lnL w="12700" cap="flat" cmpd="sng" algn="ctr">
                      <a:solidFill>
                        <a:schemeClr val="tx1"/>
                      </a:solidFill>
                      <a:prstDash val="sysDot"/>
                      <a:round/>
                      <a:headEnd type="none" w="med" len="med"/>
                      <a:tailEnd type="none" w="med" len="med"/>
                    </a:lnL>
                    <a:lnR w="190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algn="ctr" rtl="0" fontAlgn="ctr"/>
                      <a:endParaRPr lang="en-US" sz="1000" b="0" i="0" u="none" strike="noStrike">
                        <a:solidFill>
                          <a:srgbClr val="000000"/>
                        </a:solidFill>
                        <a:effectLst/>
                        <a:latin typeface="EYInterstate" panose="02000503020000020004" pitchFamily="2" charset="0"/>
                      </a:endParaRPr>
                    </a:p>
                  </a:txBody>
                  <a:tcPr marL="9421" marR="9421" marT="9421" marB="0" anchor="ctr">
                    <a:lnL w="19050" cap="flat" cmpd="sng" algn="ctr">
                      <a:solidFill>
                        <a:srgbClr val="000000"/>
                      </a:solidFill>
                      <a:prstDash val="solid"/>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algn="ctr" rtl="0" fontAlgn="ctr"/>
                      <a:endParaRPr lang="en-US" sz="1000" b="0" i="0" u="none" strike="noStrike">
                        <a:solidFill>
                          <a:srgbClr val="000000"/>
                        </a:solidFill>
                        <a:effectLst/>
                        <a:latin typeface="EYInterstate" panose="02000503020000020004" pitchFamily="2" charset="0"/>
                      </a:endParaRPr>
                    </a:p>
                  </a:txBody>
                  <a:tcPr marL="9421" marR="9421" marT="9421"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algn="ctr" rtl="0" fontAlgn="ctr"/>
                      <a:endParaRPr lang="en-US" sz="1000" b="0" i="0" u="none" strike="noStrike">
                        <a:solidFill>
                          <a:srgbClr val="000000"/>
                        </a:solidFill>
                        <a:effectLst/>
                        <a:latin typeface="EYInterstate" panose="02000503020000020004" pitchFamily="2" charset="0"/>
                      </a:endParaRPr>
                    </a:p>
                  </a:txBody>
                  <a:tcPr marL="9421" marR="9421" marT="9421"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algn="ctr" rtl="0" fontAlgn="ctr"/>
                      <a:endParaRPr lang="en-US" sz="1000" b="0" i="0" u="none" strike="noStrike">
                        <a:solidFill>
                          <a:srgbClr val="000000"/>
                        </a:solidFill>
                        <a:effectLst/>
                        <a:latin typeface="EYInterstate" panose="02000503020000020004" pitchFamily="2" charset="0"/>
                      </a:endParaRPr>
                    </a:p>
                  </a:txBody>
                  <a:tcPr marL="9421" marR="9421" marT="9421"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algn="ctr" rtl="0" fontAlgn="ctr"/>
                      <a:endParaRPr lang="en-US" sz="1000" b="0" i="0" u="none" strike="noStrike">
                        <a:solidFill>
                          <a:srgbClr val="000000"/>
                        </a:solidFill>
                        <a:effectLst/>
                        <a:latin typeface="EYInterstate" panose="02000503020000020004" pitchFamily="2" charset="0"/>
                      </a:endParaRPr>
                    </a:p>
                  </a:txBody>
                  <a:tcPr marL="9421" marR="9421" marT="9421" marB="0" anchor="ctr">
                    <a:lnL w="12700" cap="flat" cmpd="sng" algn="ctr">
                      <a:solidFill>
                        <a:schemeClr val="tx1"/>
                      </a:solidFill>
                      <a:prstDash val="sysDot"/>
                      <a:round/>
                      <a:headEnd type="none" w="med" len="med"/>
                      <a:tailEnd type="none" w="med" len="med"/>
                    </a:lnL>
                    <a:lnR w="1905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ysDot"/>
                      <a:round/>
                      <a:headEnd type="none" w="med" len="med"/>
                      <a:tailEnd type="none" w="med" len="med"/>
                    </a:lnB>
                    <a:noFill/>
                  </a:tcPr>
                </a:tc>
                <a:extLst>
                  <a:ext uri="{0D108BD9-81ED-4DB2-BD59-A6C34878D82A}">
                    <a16:rowId xmlns:a16="http://schemas.microsoft.com/office/drawing/2014/main" val="452643510"/>
                  </a:ext>
                </a:extLst>
              </a:tr>
              <a:tr h="319525">
                <a:tc vMerge="1">
                  <a:txBody>
                    <a:bodyPr/>
                    <a:lstStyle/>
                    <a:p>
                      <a:endParaRPr lang="en-US"/>
                    </a:p>
                  </a:txBody>
                  <a:tcPr>
                    <a:lnT w="12700" cap="flat" cmpd="sng" algn="ctr">
                      <a:solidFill>
                        <a:srgbClr val="000000"/>
                      </a:solidFill>
                      <a:prstDash val="solid"/>
                      <a:round/>
                      <a:headEnd type="none" w="med" len="med"/>
                      <a:tailEnd type="none" w="med" len="med"/>
                    </a:lnT>
                  </a:tcPr>
                </a:tc>
                <a:tc gridSpan="2">
                  <a:txBody>
                    <a:bodyPr/>
                    <a:lstStyle/>
                    <a:p>
                      <a:pPr lvl="1" algn="l"/>
                      <a:r>
                        <a:rPr lang="en-US" sz="1100" b="0" i="0" u="none" strike="noStrike" kern="1200">
                          <a:solidFill>
                            <a:srgbClr val="000000"/>
                          </a:solidFill>
                          <a:effectLst/>
                          <a:latin typeface="EYInterstate" panose="02000503020000020004" pitchFamily="2" charset="0"/>
                          <a:ea typeface="+mn-ea"/>
                          <a:cs typeface="+mn-cs"/>
                        </a:rPr>
                        <a:t>Data consolidation &amp; aggregation</a:t>
                      </a:r>
                    </a:p>
                  </a:txBody>
                  <a:tcPr marL="9421" marR="9421" marT="9421" marB="0" anchor="ctr">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l" rtl="0" fontAlgn="ctr"/>
                      <a:r>
                        <a:rPr lang="en-US" sz="1000" b="0" i="0" u="none" strike="noStrike">
                          <a:solidFill>
                            <a:srgbClr val="000000"/>
                          </a:solidFill>
                          <a:effectLst/>
                          <a:latin typeface="EYInterstate" panose="02000503020000020004" pitchFamily="2" charset="0"/>
                        </a:rPr>
                        <a:t>Data Extraction &amp; Aggregation</a:t>
                      </a:r>
                    </a:p>
                  </a:txBody>
                  <a:tcPr marL="9421" marR="9421" marT="9421"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endParaRPr lang="en-US" sz="1000" b="0" i="0" u="none" strike="noStrike" dirty="0">
                        <a:solidFill>
                          <a:srgbClr val="000000"/>
                        </a:solidFill>
                        <a:effectLst/>
                        <a:latin typeface="EYInterstate" panose="02000503020000020004" pitchFamily="2" charset="0"/>
                      </a:endParaRPr>
                    </a:p>
                  </a:txBody>
                  <a:tcPr marL="9421" marR="9421" marT="9421" marB="0" anchor="ctr">
                    <a:lnL w="12700" cap="flat" cmpd="sng" algn="ctr">
                      <a:solidFill>
                        <a:srgbClr val="000000"/>
                      </a:solidFill>
                      <a:prstDash val="solid"/>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algn="ctr" rtl="0" fontAlgn="ctr"/>
                      <a:endParaRPr lang="en-US" sz="1000" b="0" i="0" u="none" strike="noStrike">
                        <a:solidFill>
                          <a:srgbClr val="000000"/>
                        </a:solidFill>
                        <a:effectLst/>
                        <a:latin typeface="EYInterstate" panose="02000503020000020004" pitchFamily="2" charset="0"/>
                      </a:endParaRPr>
                    </a:p>
                  </a:txBody>
                  <a:tcPr marL="9421" marR="9421" marT="9421"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accent2">
                        <a:lumMod val="20000"/>
                        <a:lumOff val="80000"/>
                      </a:schemeClr>
                    </a:solidFill>
                  </a:tcPr>
                </a:tc>
                <a:tc>
                  <a:txBody>
                    <a:bodyPr/>
                    <a:lstStyle/>
                    <a:p>
                      <a:pPr algn="ctr" rtl="0" fontAlgn="ctr"/>
                      <a:endParaRPr lang="en-US" sz="1000" b="0" i="0" u="none" strike="noStrike" dirty="0">
                        <a:solidFill>
                          <a:srgbClr val="000000"/>
                        </a:solidFill>
                        <a:effectLst/>
                        <a:latin typeface="EYInterstate" panose="02000503020000020004" pitchFamily="2" charset="0"/>
                      </a:endParaRPr>
                    </a:p>
                  </a:txBody>
                  <a:tcPr marL="9421" marR="9421" marT="9421" marB="0" anchor="ctr">
                    <a:lnL w="12700" cap="flat" cmpd="sng" algn="ctr">
                      <a:solidFill>
                        <a:schemeClr val="tx1"/>
                      </a:solidFill>
                      <a:prstDash val="sysDot"/>
                      <a:round/>
                      <a:headEnd type="none" w="med" len="med"/>
                      <a:tailEnd type="none" w="med" len="med"/>
                    </a:lnL>
                    <a:lnR w="19050" cap="flat" cmpd="sng" algn="ctr">
                      <a:solidFill>
                        <a:srgbClr val="000000"/>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accent2">
                        <a:lumMod val="20000"/>
                        <a:lumOff val="80000"/>
                      </a:schemeClr>
                    </a:solidFill>
                  </a:tcPr>
                </a:tc>
                <a:tc>
                  <a:txBody>
                    <a:bodyPr/>
                    <a:lstStyle/>
                    <a:p>
                      <a:pPr algn="ctr" rtl="0" fontAlgn="ctr"/>
                      <a:endParaRPr lang="en-US" sz="1000" b="0" i="0" u="none" strike="noStrike">
                        <a:solidFill>
                          <a:srgbClr val="000000"/>
                        </a:solidFill>
                        <a:effectLst/>
                        <a:latin typeface="EYInterstate" panose="02000503020000020004" pitchFamily="2" charset="0"/>
                      </a:endParaRPr>
                    </a:p>
                  </a:txBody>
                  <a:tcPr marL="9421" marR="9421" marT="9421" marB="0" anchor="ctr">
                    <a:lnL w="19050" cap="flat" cmpd="sng" algn="ctr">
                      <a:solidFill>
                        <a:srgbClr val="000000"/>
                      </a:solidFill>
                      <a:prstDash val="solid"/>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algn="ctr" rtl="0" fontAlgn="ctr"/>
                      <a:endParaRPr lang="en-US" sz="1000" b="0" i="0" u="none" strike="noStrike">
                        <a:solidFill>
                          <a:srgbClr val="000000"/>
                        </a:solidFill>
                        <a:effectLst/>
                        <a:latin typeface="EYInterstate" panose="02000503020000020004" pitchFamily="2" charset="0"/>
                      </a:endParaRPr>
                    </a:p>
                  </a:txBody>
                  <a:tcPr marL="9421" marR="9421" marT="9421"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algn="ctr" rtl="0" fontAlgn="ctr"/>
                      <a:endParaRPr lang="en-US" sz="1000" b="0" i="0" u="none" strike="noStrike">
                        <a:solidFill>
                          <a:srgbClr val="000000"/>
                        </a:solidFill>
                        <a:effectLst/>
                        <a:latin typeface="EYInterstate" panose="02000503020000020004" pitchFamily="2" charset="0"/>
                      </a:endParaRPr>
                    </a:p>
                  </a:txBody>
                  <a:tcPr marL="9421" marR="9421" marT="9421"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algn="ctr" rtl="0" fontAlgn="ctr"/>
                      <a:endParaRPr lang="en-US" sz="1000" b="0" i="0" u="none" strike="noStrike">
                        <a:solidFill>
                          <a:srgbClr val="000000"/>
                        </a:solidFill>
                        <a:effectLst/>
                        <a:latin typeface="EYInterstate" panose="02000503020000020004" pitchFamily="2" charset="0"/>
                      </a:endParaRPr>
                    </a:p>
                  </a:txBody>
                  <a:tcPr marL="9421" marR="9421" marT="9421"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algn="ctr" rtl="0" fontAlgn="ctr"/>
                      <a:endParaRPr lang="en-US" sz="1000" b="0" i="0" u="none" strike="noStrike">
                        <a:solidFill>
                          <a:srgbClr val="000000"/>
                        </a:solidFill>
                        <a:effectLst/>
                        <a:latin typeface="EYInterstate" panose="02000503020000020004" pitchFamily="2" charset="0"/>
                      </a:endParaRPr>
                    </a:p>
                  </a:txBody>
                  <a:tcPr marL="9421" marR="9421" marT="9421" marB="0" anchor="ctr">
                    <a:lnL w="12700" cap="flat" cmpd="sng" algn="ctr">
                      <a:solidFill>
                        <a:schemeClr val="tx1"/>
                      </a:solidFill>
                      <a:prstDash val="sysDot"/>
                      <a:round/>
                      <a:headEnd type="none" w="med" len="med"/>
                      <a:tailEnd type="none" w="med" len="med"/>
                    </a:lnL>
                    <a:lnR w="1905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extLst>
                  <a:ext uri="{0D108BD9-81ED-4DB2-BD59-A6C34878D82A}">
                    <a16:rowId xmlns:a16="http://schemas.microsoft.com/office/drawing/2014/main" val="1583150058"/>
                  </a:ext>
                </a:extLst>
              </a:tr>
              <a:tr h="319525">
                <a:tc vMerge="1">
                  <a:txBody>
                    <a:bodyPr/>
                    <a:lstStyle/>
                    <a:p>
                      <a:endParaRPr lang="en-US"/>
                    </a:p>
                  </a:txBody>
                  <a:tcPr/>
                </a:tc>
                <a:tc gridSpan="2">
                  <a:txBody>
                    <a:bodyPr/>
                    <a:lstStyle/>
                    <a:p>
                      <a:pPr lvl="1" algn="l"/>
                      <a:r>
                        <a:rPr lang="en-US" sz="1100" b="0" i="0" u="none" strike="noStrike" kern="1200">
                          <a:solidFill>
                            <a:srgbClr val="000000"/>
                          </a:solidFill>
                          <a:effectLst/>
                          <a:latin typeface="EYInterstate" panose="02000503020000020004" pitchFamily="2" charset="0"/>
                          <a:ea typeface="+mn-ea"/>
                          <a:cs typeface="+mn-cs"/>
                        </a:rPr>
                        <a:t>Data quality assessment</a:t>
                      </a:r>
                    </a:p>
                  </a:txBody>
                  <a:tcPr marL="9421" marR="9421" marT="9421"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pPr algn="l" rtl="0" fontAlgn="ctr"/>
                      <a:r>
                        <a:rPr lang="en-US" sz="1000" b="0" i="0" u="none" strike="noStrike">
                          <a:solidFill>
                            <a:srgbClr val="000000"/>
                          </a:solidFill>
                          <a:effectLst/>
                          <a:latin typeface="EYInterstate" panose="02000503020000020004" pitchFamily="2" charset="0"/>
                        </a:rPr>
                        <a:t>Data Quality Checks</a:t>
                      </a:r>
                    </a:p>
                  </a:txBody>
                  <a:tcPr marL="9421" marR="9421" marT="9421"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endParaRPr lang="en-US" sz="1000" b="0" i="0" u="none" strike="noStrike">
                        <a:solidFill>
                          <a:srgbClr val="000000"/>
                        </a:solidFill>
                        <a:effectLst/>
                        <a:latin typeface="EYInterstate" panose="02000503020000020004" pitchFamily="2" charset="0"/>
                      </a:endParaRPr>
                    </a:p>
                  </a:txBody>
                  <a:tcPr marL="9421" marR="9421" marT="9421" marB="0" anchor="ctr">
                    <a:lnL w="12700" cap="flat" cmpd="sng" algn="ctr">
                      <a:solidFill>
                        <a:srgbClr val="000000"/>
                      </a:solidFill>
                      <a:prstDash val="solid"/>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rtl="0" fontAlgn="ctr"/>
                      <a:endParaRPr lang="en-US" sz="1000" b="0" i="0" u="none" strike="noStrike">
                        <a:solidFill>
                          <a:srgbClr val="000000"/>
                        </a:solidFill>
                        <a:effectLst/>
                        <a:latin typeface="EYInterstate" panose="02000503020000020004" pitchFamily="2" charset="0"/>
                      </a:endParaRPr>
                    </a:p>
                  </a:txBody>
                  <a:tcPr marL="9421" marR="9421" marT="9421"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rtl="0" fontAlgn="ctr"/>
                      <a:endParaRPr lang="en-US" sz="1000" b="0" i="0" u="none" strike="noStrike">
                        <a:solidFill>
                          <a:srgbClr val="000000"/>
                        </a:solidFill>
                        <a:effectLst/>
                        <a:latin typeface="EYInterstate" panose="02000503020000020004" pitchFamily="2" charset="0"/>
                      </a:endParaRPr>
                    </a:p>
                  </a:txBody>
                  <a:tcPr marL="9421" marR="9421" marT="9421" marB="0" anchor="ctr">
                    <a:lnL w="12700" cap="flat" cmpd="sng" algn="ctr">
                      <a:solidFill>
                        <a:schemeClr val="tx1"/>
                      </a:solidFill>
                      <a:prstDash val="sysDot"/>
                      <a:round/>
                      <a:headEnd type="none" w="med" len="med"/>
                      <a:tailEnd type="none" w="med" len="med"/>
                    </a:lnL>
                    <a:lnR w="19050" cap="flat" cmpd="sng" algn="ctr">
                      <a:solidFill>
                        <a:srgbClr val="000000"/>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rgbClr val="000000"/>
                      </a:solidFill>
                      <a:prstDash val="solid"/>
                      <a:round/>
                      <a:headEnd type="none" w="med" len="med"/>
                      <a:tailEnd type="none" w="med" len="med"/>
                    </a:lnB>
                    <a:solidFill>
                      <a:schemeClr val="accent2">
                        <a:lumMod val="20000"/>
                        <a:lumOff val="80000"/>
                      </a:schemeClr>
                    </a:solidFill>
                  </a:tcPr>
                </a:tc>
                <a:tc>
                  <a:txBody>
                    <a:bodyPr/>
                    <a:lstStyle/>
                    <a:p>
                      <a:pPr algn="ctr" rtl="0" fontAlgn="ctr"/>
                      <a:endParaRPr lang="en-US" sz="1000" b="0" i="0" u="none" strike="noStrike">
                        <a:solidFill>
                          <a:srgbClr val="000000"/>
                        </a:solidFill>
                        <a:effectLst/>
                        <a:latin typeface="EYInterstate" panose="02000503020000020004" pitchFamily="2" charset="0"/>
                      </a:endParaRPr>
                    </a:p>
                  </a:txBody>
                  <a:tcPr marL="9421" marR="9421" marT="9421" marB="0" anchor="ctr">
                    <a:lnL w="19050" cap="flat" cmpd="sng" algn="ctr">
                      <a:solidFill>
                        <a:srgbClr val="000000"/>
                      </a:solidFill>
                      <a:prstDash val="solid"/>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rtl="0" fontAlgn="ctr"/>
                      <a:endParaRPr lang="en-US" sz="1000" b="0" i="0" u="none" strike="noStrike">
                        <a:solidFill>
                          <a:srgbClr val="000000"/>
                        </a:solidFill>
                        <a:effectLst/>
                        <a:latin typeface="EYInterstate" panose="02000503020000020004" pitchFamily="2" charset="0"/>
                      </a:endParaRPr>
                    </a:p>
                  </a:txBody>
                  <a:tcPr marL="9421" marR="9421" marT="9421"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rtl="0" fontAlgn="ctr"/>
                      <a:endParaRPr lang="en-US" sz="1000" b="0" i="0" u="none" strike="noStrike">
                        <a:solidFill>
                          <a:srgbClr val="000000"/>
                        </a:solidFill>
                        <a:effectLst/>
                        <a:latin typeface="EYInterstate" panose="02000503020000020004" pitchFamily="2" charset="0"/>
                      </a:endParaRPr>
                    </a:p>
                  </a:txBody>
                  <a:tcPr marL="9421" marR="9421" marT="9421"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rtl="0" fontAlgn="ctr"/>
                      <a:endParaRPr lang="en-US" sz="1000" b="0" i="0" u="none" strike="noStrike">
                        <a:solidFill>
                          <a:srgbClr val="000000"/>
                        </a:solidFill>
                        <a:effectLst/>
                        <a:latin typeface="EYInterstate" panose="02000503020000020004" pitchFamily="2" charset="0"/>
                      </a:endParaRPr>
                    </a:p>
                  </a:txBody>
                  <a:tcPr marL="9421" marR="9421" marT="9421"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rtl="0" fontAlgn="ctr"/>
                      <a:endParaRPr lang="en-US" sz="1000" b="0" i="0" u="none" strike="noStrike">
                        <a:solidFill>
                          <a:srgbClr val="000000"/>
                        </a:solidFill>
                        <a:effectLst/>
                        <a:latin typeface="EYInterstate" panose="02000503020000020004" pitchFamily="2" charset="0"/>
                      </a:endParaRPr>
                    </a:p>
                  </a:txBody>
                  <a:tcPr marL="9421" marR="9421" marT="9421" marB="0" anchor="ctr">
                    <a:lnL w="12700" cap="flat" cmpd="sng" algn="ctr">
                      <a:solidFill>
                        <a:schemeClr val="tx1"/>
                      </a:solidFill>
                      <a:prstDash val="sysDot"/>
                      <a:round/>
                      <a:headEnd type="none" w="med" len="med"/>
                      <a:tailEnd type="none" w="med" len="med"/>
                    </a:lnL>
                    <a:lnR w="1905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925736895"/>
                  </a:ext>
                </a:extLst>
              </a:tr>
              <a:tr h="319525">
                <a:tc rowSpan="10">
                  <a:txBody>
                    <a:bodyPr/>
                    <a:lstStyle/>
                    <a:p>
                      <a:pPr algn="ctr" rtl="0" fontAlgn="ctr"/>
                      <a:r>
                        <a:rPr lang="en-US" sz="1200" b="0" i="0" u="none" strike="noStrike" dirty="0">
                          <a:solidFill>
                            <a:srgbClr val="000000"/>
                          </a:solidFill>
                          <a:effectLst/>
                          <a:latin typeface="EYInterstate" panose="02000503020000020004" pitchFamily="2" charset="0"/>
                        </a:rPr>
                        <a:t>Stage 2: Propensity model development</a:t>
                      </a:r>
                    </a:p>
                  </a:txBody>
                  <a:tcPr marL="9421" marR="9421" marT="9421" marB="0" anchor="ctr">
                    <a:lnL w="1905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accent2"/>
                    </a:solidFill>
                  </a:tcPr>
                </a:tc>
                <a:tc gridSpan="2">
                  <a:txBody>
                    <a:bodyPr/>
                    <a:lstStyle/>
                    <a:p>
                      <a:pPr marL="633367" lvl="1" algn="l" defTabSz="1266737" rtl="0" eaLnBrk="1" fontAlgn="ctr" latinLnBrk="0" hangingPunct="1"/>
                      <a:r>
                        <a:rPr lang="en-US" sz="1100" b="0" i="0" u="none" strike="noStrike" kern="1200" dirty="0">
                          <a:solidFill>
                            <a:srgbClr val="000000"/>
                          </a:solidFill>
                          <a:effectLst/>
                          <a:latin typeface="EYInterstate" panose="02000503020000020004" pitchFamily="2" charset="0"/>
                          <a:ea typeface="+mn-ea"/>
                          <a:cs typeface="+mn-cs"/>
                        </a:rPr>
                        <a:t>Model data preparation with exclusion and event definition</a:t>
                      </a:r>
                    </a:p>
                  </a:txBody>
                  <a:tcPr marL="9421" marR="9421" marT="9421"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hMerge="1">
                  <a:txBody>
                    <a:bodyPr/>
                    <a:lstStyle/>
                    <a:p>
                      <a:pPr algn="l" rtl="0" fontAlgn="ctr"/>
                      <a:r>
                        <a:rPr lang="en-US" sz="1000" b="0" i="0" u="none" strike="noStrike">
                          <a:solidFill>
                            <a:srgbClr val="000000"/>
                          </a:solidFill>
                          <a:effectLst/>
                          <a:latin typeface="EYInterstate" panose="02000503020000020004" pitchFamily="2" charset="0"/>
                        </a:rPr>
                        <a:t>Feature Engineering</a:t>
                      </a:r>
                    </a:p>
                  </a:txBody>
                  <a:tcPr marL="9421" marR="9421" marT="9421"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endParaRPr lang="en-US" sz="1000" b="0" i="0" u="none" strike="noStrike">
                        <a:solidFill>
                          <a:srgbClr val="000000"/>
                        </a:solidFill>
                        <a:effectLst/>
                        <a:latin typeface="EYInterstate" panose="02000503020000020004" pitchFamily="2" charset="0"/>
                      </a:endParaRPr>
                    </a:p>
                  </a:txBody>
                  <a:tcPr marL="9421" marR="9421" marT="9421" marB="0" anchor="ctr">
                    <a:lnL w="12700" cap="flat" cmpd="sng" algn="ctr">
                      <a:solidFill>
                        <a:srgbClr val="000000"/>
                      </a:solidFill>
                      <a:prstDash val="solid"/>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algn="ctr" rtl="0" fontAlgn="ctr"/>
                      <a:endParaRPr lang="en-US" sz="1000" b="0" i="0" u="none" strike="noStrike">
                        <a:solidFill>
                          <a:srgbClr val="000000"/>
                        </a:solidFill>
                        <a:effectLst/>
                        <a:latin typeface="EYInterstate" panose="02000503020000020004" pitchFamily="2" charset="0"/>
                      </a:endParaRPr>
                    </a:p>
                  </a:txBody>
                  <a:tcPr marL="9421" marR="9421" marT="9421"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algn="ctr" rtl="0" fontAlgn="ctr"/>
                      <a:endParaRPr lang="en-US" sz="1000" b="0" i="0" u="none" strike="noStrike">
                        <a:solidFill>
                          <a:srgbClr val="000000"/>
                        </a:solidFill>
                        <a:effectLst/>
                        <a:latin typeface="EYInterstate" panose="02000503020000020004" pitchFamily="2" charset="0"/>
                      </a:endParaRPr>
                    </a:p>
                  </a:txBody>
                  <a:tcPr marL="9421" marR="9421" marT="9421" marB="0" anchor="ctr">
                    <a:lnL w="12700" cap="flat" cmpd="sng" algn="ctr">
                      <a:solidFill>
                        <a:schemeClr val="tx1"/>
                      </a:solidFill>
                      <a:prstDash val="sysDot"/>
                      <a:round/>
                      <a:headEnd type="none" w="med" len="med"/>
                      <a:tailEnd type="none" w="med" len="med"/>
                    </a:lnL>
                    <a:lnR w="190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algn="ctr" rtl="0" fontAlgn="ctr"/>
                      <a:endParaRPr lang="en-US" sz="1000" b="0" i="0" u="none" strike="noStrike">
                        <a:solidFill>
                          <a:srgbClr val="000000"/>
                        </a:solidFill>
                        <a:effectLst/>
                        <a:latin typeface="EYInterstate" panose="02000503020000020004" pitchFamily="2" charset="0"/>
                      </a:endParaRPr>
                    </a:p>
                  </a:txBody>
                  <a:tcPr marL="9421" marR="9421" marT="9421" marB="0" anchor="ctr">
                    <a:lnL w="19050" cap="flat" cmpd="sng" algn="ctr">
                      <a:solidFill>
                        <a:srgbClr val="000000"/>
                      </a:solidFill>
                      <a:prstDash val="solid"/>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ysDot"/>
                      <a:round/>
                      <a:headEnd type="none" w="med" len="med"/>
                      <a:tailEnd type="none" w="med" len="med"/>
                    </a:lnB>
                    <a:solidFill>
                      <a:schemeClr val="accent2">
                        <a:lumMod val="20000"/>
                        <a:lumOff val="80000"/>
                      </a:schemeClr>
                    </a:solidFill>
                  </a:tcPr>
                </a:tc>
                <a:tc>
                  <a:txBody>
                    <a:bodyPr/>
                    <a:lstStyle/>
                    <a:p>
                      <a:pPr algn="ctr" rtl="0" fontAlgn="ctr"/>
                      <a:endParaRPr lang="en-US" sz="1000" b="0" i="0" u="none" strike="noStrike">
                        <a:solidFill>
                          <a:srgbClr val="000000"/>
                        </a:solidFill>
                        <a:effectLst/>
                        <a:latin typeface="EYInterstate" panose="02000503020000020004" pitchFamily="2" charset="0"/>
                      </a:endParaRPr>
                    </a:p>
                  </a:txBody>
                  <a:tcPr marL="9421" marR="9421" marT="9421"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algn="ctr" rtl="0" fontAlgn="ctr"/>
                      <a:endParaRPr lang="en-US" sz="1000" b="0" i="0" u="none" strike="noStrike">
                        <a:solidFill>
                          <a:srgbClr val="000000"/>
                        </a:solidFill>
                        <a:effectLst/>
                        <a:latin typeface="EYInterstate" panose="02000503020000020004" pitchFamily="2" charset="0"/>
                      </a:endParaRPr>
                    </a:p>
                  </a:txBody>
                  <a:tcPr marL="9421" marR="9421" marT="9421"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algn="ctr" rtl="0" fontAlgn="ctr"/>
                      <a:endParaRPr lang="en-US" sz="1000" b="0" i="0" u="none" strike="noStrike">
                        <a:solidFill>
                          <a:srgbClr val="000000"/>
                        </a:solidFill>
                        <a:effectLst/>
                        <a:latin typeface="EYInterstate" panose="02000503020000020004" pitchFamily="2" charset="0"/>
                      </a:endParaRPr>
                    </a:p>
                  </a:txBody>
                  <a:tcPr marL="9421" marR="9421" marT="9421"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algn="ctr" rtl="0" fontAlgn="ctr"/>
                      <a:endParaRPr lang="en-US" sz="1000" b="0" i="0" u="none" strike="noStrike">
                        <a:solidFill>
                          <a:srgbClr val="000000"/>
                        </a:solidFill>
                        <a:effectLst/>
                        <a:latin typeface="EYInterstate" panose="02000503020000020004" pitchFamily="2" charset="0"/>
                      </a:endParaRPr>
                    </a:p>
                  </a:txBody>
                  <a:tcPr marL="9421" marR="9421" marT="9421" marB="0" anchor="ctr">
                    <a:lnL w="12700" cap="flat" cmpd="sng" algn="ctr">
                      <a:solidFill>
                        <a:schemeClr val="tx1"/>
                      </a:solidFill>
                      <a:prstDash val="sysDot"/>
                      <a:round/>
                      <a:headEnd type="none" w="med" len="med"/>
                      <a:tailEnd type="none" w="med" len="med"/>
                    </a:lnL>
                    <a:lnR w="1905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ysDot"/>
                      <a:round/>
                      <a:headEnd type="none" w="med" len="med"/>
                      <a:tailEnd type="none" w="med" len="med"/>
                    </a:lnB>
                    <a:noFill/>
                  </a:tcPr>
                </a:tc>
                <a:extLst>
                  <a:ext uri="{0D108BD9-81ED-4DB2-BD59-A6C34878D82A}">
                    <a16:rowId xmlns:a16="http://schemas.microsoft.com/office/drawing/2014/main" val="3976154643"/>
                  </a:ext>
                </a:extLst>
              </a:tr>
              <a:tr h="319525">
                <a:tc vMerge="1">
                  <a:txBody>
                    <a:bodyPr/>
                    <a:lstStyle/>
                    <a:p>
                      <a:endParaRPr lang="en-US"/>
                    </a:p>
                  </a:txBody>
                  <a:tcPr/>
                </a:tc>
                <a:tc gridSpan="2">
                  <a:txBody>
                    <a:bodyPr/>
                    <a:lstStyle/>
                    <a:p>
                      <a:pPr lvl="1" algn="l"/>
                      <a:r>
                        <a:rPr lang="en-US" sz="1100" b="0" i="0" u="none" strike="noStrike" kern="1200">
                          <a:solidFill>
                            <a:srgbClr val="000000"/>
                          </a:solidFill>
                          <a:effectLst/>
                          <a:latin typeface="EYInterstate" panose="02000503020000020004" pitchFamily="2" charset="0"/>
                          <a:ea typeface="+mn-ea"/>
                          <a:cs typeface="+mn-cs"/>
                        </a:rPr>
                        <a:t>Data cleansing through imputation and outlier treatment</a:t>
                      </a:r>
                    </a:p>
                  </a:txBody>
                  <a:tcPr marL="9421" marR="9421" marT="9421"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l" rtl="0" fontAlgn="ctr"/>
                      <a:r>
                        <a:rPr lang="en-US" sz="1000" b="0" i="0" u="none" strike="noStrike">
                          <a:solidFill>
                            <a:srgbClr val="000000"/>
                          </a:solidFill>
                          <a:effectLst/>
                          <a:latin typeface="EYInterstate" panose="02000503020000020004" pitchFamily="2" charset="0"/>
                        </a:rPr>
                        <a:t>Exploratory Analysis &amp; Feature Selection</a:t>
                      </a:r>
                    </a:p>
                  </a:txBody>
                  <a:tcPr marL="9421" marR="9421" marT="9421"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endParaRPr lang="en-US" sz="1000" b="0" i="0" u="none" strike="noStrike">
                        <a:solidFill>
                          <a:srgbClr val="000000"/>
                        </a:solidFill>
                        <a:effectLst/>
                        <a:latin typeface="EYInterstate" panose="02000503020000020004" pitchFamily="2" charset="0"/>
                      </a:endParaRPr>
                    </a:p>
                  </a:txBody>
                  <a:tcPr marL="9421" marR="9421" marT="9421" marB="0" anchor="ctr">
                    <a:lnL w="12700" cap="flat" cmpd="sng" algn="ctr">
                      <a:solidFill>
                        <a:srgbClr val="000000"/>
                      </a:solidFill>
                      <a:prstDash val="solid"/>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algn="ctr" rtl="0" fontAlgn="ctr"/>
                      <a:endParaRPr lang="en-US" sz="1000" b="0" i="0" u="none" strike="noStrike">
                        <a:solidFill>
                          <a:srgbClr val="000000"/>
                        </a:solidFill>
                        <a:effectLst/>
                        <a:latin typeface="EYInterstate" panose="02000503020000020004" pitchFamily="2" charset="0"/>
                      </a:endParaRPr>
                    </a:p>
                  </a:txBody>
                  <a:tcPr marL="9421" marR="9421" marT="9421"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algn="ctr" rtl="0" fontAlgn="ctr"/>
                      <a:endParaRPr lang="en-US" sz="1000" b="0" i="0" u="none" strike="noStrike">
                        <a:solidFill>
                          <a:srgbClr val="000000"/>
                        </a:solidFill>
                        <a:effectLst/>
                        <a:latin typeface="EYInterstate" panose="02000503020000020004" pitchFamily="2" charset="0"/>
                      </a:endParaRPr>
                    </a:p>
                  </a:txBody>
                  <a:tcPr marL="9421" marR="9421" marT="9421" marB="0" anchor="ctr">
                    <a:lnL w="12700" cap="flat" cmpd="sng" algn="ctr">
                      <a:solidFill>
                        <a:schemeClr val="tx1"/>
                      </a:solidFill>
                      <a:prstDash val="sysDot"/>
                      <a:round/>
                      <a:headEnd type="none" w="med" len="med"/>
                      <a:tailEnd type="none" w="med" len="med"/>
                    </a:lnL>
                    <a:lnR w="19050" cap="flat" cmpd="sng" algn="ctr">
                      <a:solidFill>
                        <a:srgbClr val="000000"/>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algn="ctr" rtl="0" fontAlgn="ctr"/>
                      <a:endParaRPr lang="en-US" sz="1000" b="0" i="0" u="none" strike="noStrike">
                        <a:solidFill>
                          <a:srgbClr val="000000"/>
                        </a:solidFill>
                        <a:effectLst/>
                        <a:latin typeface="EYInterstate" panose="02000503020000020004" pitchFamily="2" charset="0"/>
                      </a:endParaRPr>
                    </a:p>
                  </a:txBody>
                  <a:tcPr marL="9421" marR="9421" marT="9421" marB="0" anchor="ctr">
                    <a:lnL w="19050" cap="flat" cmpd="sng" algn="ctr">
                      <a:solidFill>
                        <a:srgbClr val="000000"/>
                      </a:solidFill>
                      <a:prstDash val="solid"/>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accent2">
                        <a:lumMod val="20000"/>
                        <a:lumOff val="80000"/>
                      </a:schemeClr>
                    </a:solidFill>
                  </a:tcPr>
                </a:tc>
                <a:tc>
                  <a:txBody>
                    <a:bodyPr/>
                    <a:lstStyle/>
                    <a:p>
                      <a:pPr algn="ctr" rtl="0" fontAlgn="ctr"/>
                      <a:endParaRPr lang="en-US" sz="1000" b="0" i="0" u="none" strike="noStrike">
                        <a:solidFill>
                          <a:srgbClr val="000000"/>
                        </a:solidFill>
                        <a:effectLst/>
                        <a:latin typeface="EYInterstate" panose="02000503020000020004" pitchFamily="2" charset="0"/>
                      </a:endParaRPr>
                    </a:p>
                  </a:txBody>
                  <a:tcPr marL="9421" marR="9421" marT="9421"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algn="ctr" rtl="0" fontAlgn="ctr"/>
                      <a:endParaRPr lang="en-US" sz="1000" b="0" i="0" u="none" strike="noStrike">
                        <a:solidFill>
                          <a:srgbClr val="000000"/>
                        </a:solidFill>
                        <a:effectLst/>
                        <a:latin typeface="EYInterstate" panose="02000503020000020004" pitchFamily="2" charset="0"/>
                      </a:endParaRPr>
                    </a:p>
                  </a:txBody>
                  <a:tcPr marL="9421" marR="9421" marT="9421"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algn="ctr" rtl="0" fontAlgn="ctr"/>
                      <a:endParaRPr lang="en-US" sz="1000" b="0" i="0" u="none" strike="noStrike">
                        <a:solidFill>
                          <a:srgbClr val="000000"/>
                        </a:solidFill>
                        <a:effectLst/>
                        <a:latin typeface="EYInterstate" panose="02000503020000020004" pitchFamily="2" charset="0"/>
                      </a:endParaRPr>
                    </a:p>
                  </a:txBody>
                  <a:tcPr marL="9421" marR="9421" marT="9421"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algn="ctr" rtl="0" fontAlgn="ctr"/>
                      <a:endParaRPr lang="en-US" sz="1000" b="0" i="0" u="none" strike="noStrike">
                        <a:solidFill>
                          <a:srgbClr val="000000"/>
                        </a:solidFill>
                        <a:effectLst/>
                        <a:latin typeface="EYInterstate" panose="02000503020000020004" pitchFamily="2" charset="0"/>
                      </a:endParaRPr>
                    </a:p>
                  </a:txBody>
                  <a:tcPr marL="9421" marR="9421" marT="9421" marB="0" anchor="ctr">
                    <a:lnL w="12700" cap="flat" cmpd="sng" algn="ctr">
                      <a:solidFill>
                        <a:schemeClr val="tx1"/>
                      </a:solidFill>
                      <a:prstDash val="sysDot"/>
                      <a:round/>
                      <a:headEnd type="none" w="med" len="med"/>
                      <a:tailEnd type="none" w="med" len="med"/>
                    </a:lnL>
                    <a:lnR w="1905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extLst>
                  <a:ext uri="{0D108BD9-81ED-4DB2-BD59-A6C34878D82A}">
                    <a16:rowId xmlns:a16="http://schemas.microsoft.com/office/drawing/2014/main" val="1005797753"/>
                  </a:ext>
                </a:extLst>
              </a:tr>
              <a:tr h="319525">
                <a:tc vMerge="1">
                  <a:txBody>
                    <a:bodyPr/>
                    <a:lstStyle/>
                    <a:p>
                      <a:endParaRPr lang="en-US"/>
                    </a:p>
                  </a:txBody>
                  <a:tcPr/>
                </a:tc>
                <a:tc gridSpan="2">
                  <a:txBody>
                    <a:bodyPr/>
                    <a:lstStyle/>
                    <a:p>
                      <a:pPr lvl="1" algn="l"/>
                      <a:r>
                        <a:rPr lang="en-US" sz="1100" b="0" i="0" u="none" strike="noStrike" kern="1200">
                          <a:solidFill>
                            <a:srgbClr val="000000"/>
                          </a:solidFill>
                          <a:effectLst/>
                          <a:latin typeface="EYInterstate" panose="02000503020000020004" pitchFamily="2" charset="0"/>
                          <a:ea typeface="+mn-ea"/>
                          <a:cs typeface="+mn-cs"/>
                        </a:rPr>
                        <a:t>Data distribution checks with hypothesis testing </a:t>
                      </a:r>
                    </a:p>
                  </a:txBody>
                  <a:tcPr marL="9421" marR="9421" marT="9421"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l" rtl="0" fontAlgn="ctr"/>
                      <a:r>
                        <a:rPr lang="en-US" sz="1000" b="0" i="0" u="none" strike="noStrike">
                          <a:solidFill>
                            <a:srgbClr val="000000"/>
                          </a:solidFill>
                          <a:effectLst/>
                          <a:latin typeface="EYInterstate" panose="02000503020000020004" pitchFamily="2" charset="0"/>
                        </a:rPr>
                        <a:t>Model Hyper-parameter Tuning</a:t>
                      </a:r>
                    </a:p>
                  </a:txBody>
                  <a:tcPr marL="9421" marR="9421" marT="9421"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endParaRPr lang="en-US" sz="1000" b="0" i="0" u="none" strike="noStrike">
                        <a:solidFill>
                          <a:srgbClr val="000000"/>
                        </a:solidFill>
                        <a:effectLst/>
                        <a:latin typeface="EYInterstate" panose="02000503020000020004" pitchFamily="2" charset="0"/>
                      </a:endParaRPr>
                    </a:p>
                  </a:txBody>
                  <a:tcPr marL="9421" marR="9421" marT="9421" marB="0" anchor="ctr">
                    <a:lnL w="12700" cap="flat" cmpd="sng" algn="ctr">
                      <a:solidFill>
                        <a:srgbClr val="000000"/>
                      </a:solidFill>
                      <a:prstDash val="solid"/>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algn="ctr" rtl="0" fontAlgn="ctr"/>
                      <a:endParaRPr lang="en-US" sz="1000" b="0" i="0" u="none" strike="noStrike">
                        <a:solidFill>
                          <a:srgbClr val="000000"/>
                        </a:solidFill>
                        <a:effectLst/>
                        <a:latin typeface="EYInterstate" panose="02000503020000020004" pitchFamily="2" charset="0"/>
                      </a:endParaRPr>
                    </a:p>
                  </a:txBody>
                  <a:tcPr marL="9421" marR="9421" marT="9421"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algn="ctr" rtl="0" fontAlgn="ctr"/>
                      <a:endParaRPr lang="en-US" sz="1000" b="0" i="0" u="none" strike="noStrike">
                        <a:solidFill>
                          <a:srgbClr val="000000"/>
                        </a:solidFill>
                        <a:effectLst/>
                        <a:latin typeface="EYInterstate" panose="02000503020000020004" pitchFamily="2" charset="0"/>
                      </a:endParaRPr>
                    </a:p>
                  </a:txBody>
                  <a:tcPr marL="9421" marR="9421" marT="9421" marB="0" anchor="ctr">
                    <a:lnL w="12700" cap="flat" cmpd="sng" algn="ctr">
                      <a:solidFill>
                        <a:schemeClr val="tx1"/>
                      </a:solidFill>
                      <a:prstDash val="sysDot"/>
                      <a:round/>
                      <a:headEnd type="none" w="med" len="med"/>
                      <a:tailEnd type="none" w="med" len="med"/>
                    </a:lnL>
                    <a:lnR w="19050" cap="flat" cmpd="sng" algn="ctr">
                      <a:solidFill>
                        <a:srgbClr val="000000"/>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algn="ctr" rtl="0" fontAlgn="ctr"/>
                      <a:endParaRPr lang="en-US" sz="1000" b="0" i="0" u="none" strike="noStrike">
                        <a:solidFill>
                          <a:srgbClr val="000000"/>
                        </a:solidFill>
                        <a:effectLst/>
                        <a:latin typeface="EYInterstate" panose="02000503020000020004" pitchFamily="2" charset="0"/>
                      </a:endParaRPr>
                    </a:p>
                  </a:txBody>
                  <a:tcPr marL="9421" marR="9421" marT="9421" marB="0" anchor="ctr">
                    <a:lnL w="19050" cap="flat" cmpd="sng" algn="ctr">
                      <a:solidFill>
                        <a:srgbClr val="000000"/>
                      </a:solidFill>
                      <a:prstDash val="solid"/>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accent2">
                        <a:lumMod val="20000"/>
                        <a:lumOff val="80000"/>
                      </a:schemeClr>
                    </a:solidFill>
                  </a:tcPr>
                </a:tc>
                <a:tc>
                  <a:txBody>
                    <a:bodyPr/>
                    <a:lstStyle/>
                    <a:p>
                      <a:pPr algn="ctr" rtl="0" fontAlgn="ctr"/>
                      <a:endParaRPr lang="en-US" sz="1000" b="0" i="0" u="none" strike="noStrike" dirty="0">
                        <a:solidFill>
                          <a:srgbClr val="000000"/>
                        </a:solidFill>
                        <a:effectLst/>
                        <a:latin typeface="EYInterstate" panose="02000503020000020004" pitchFamily="2" charset="0"/>
                      </a:endParaRPr>
                    </a:p>
                  </a:txBody>
                  <a:tcPr marL="9421" marR="9421" marT="9421"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accent2">
                        <a:lumMod val="20000"/>
                        <a:lumOff val="80000"/>
                      </a:schemeClr>
                    </a:solidFill>
                  </a:tcPr>
                </a:tc>
                <a:tc>
                  <a:txBody>
                    <a:bodyPr/>
                    <a:lstStyle/>
                    <a:p>
                      <a:pPr algn="ctr" rtl="0" fontAlgn="ctr"/>
                      <a:endParaRPr lang="en-US" sz="1000" b="0" i="0" u="none" strike="noStrike">
                        <a:solidFill>
                          <a:srgbClr val="000000"/>
                        </a:solidFill>
                        <a:effectLst/>
                        <a:latin typeface="EYInterstate" panose="02000503020000020004" pitchFamily="2" charset="0"/>
                      </a:endParaRPr>
                    </a:p>
                  </a:txBody>
                  <a:tcPr marL="9421" marR="9421" marT="9421"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algn="ctr" rtl="0" fontAlgn="ctr"/>
                      <a:endParaRPr lang="en-US" sz="1000" b="0" i="0" u="none" strike="noStrike">
                        <a:solidFill>
                          <a:srgbClr val="000000"/>
                        </a:solidFill>
                        <a:effectLst/>
                        <a:latin typeface="EYInterstate" panose="02000503020000020004" pitchFamily="2" charset="0"/>
                      </a:endParaRPr>
                    </a:p>
                  </a:txBody>
                  <a:tcPr marL="9421" marR="9421" marT="9421"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algn="ctr" rtl="0" fontAlgn="ctr"/>
                      <a:endParaRPr lang="en-US" sz="1000" b="0" i="0" u="none" strike="noStrike">
                        <a:solidFill>
                          <a:srgbClr val="000000"/>
                        </a:solidFill>
                        <a:effectLst/>
                        <a:latin typeface="EYInterstate" panose="02000503020000020004" pitchFamily="2" charset="0"/>
                      </a:endParaRPr>
                    </a:p>
                  </a:txBody>
                  <a:tcPr marL="9421" marR="9421" marT="9421" marB="0" anchor="ctr">
                    <a:lnL w="12700" cap="flat" cmpd="sng" algn="ctr">
                      <a:solidFill>
                        <a:schemeClr val="tx1"/>
                      </a:solidFill>
                      <a:prstDash val="sysDot"/>
                      <a:round/>
                      <a:headEnd type="none" w="med" len="med"/>
                      <a:tailEnd type="none" w="med" len="med"/>
                    </a:lnL>
                    <a:lnR w="1905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extLst>
                  <a:ext uri="{0D108BD9-81ED-4DB2-BD59-A6C34878D82A}">
                    <a16:rowId xmlns:a16="http://schemas.microsoft.com/office/drawing/2014/main" val="3417031132"/>
                  </a:ext>
                </a:extLst>
              </a:tr>
              <a:tr h="319525">
                <a:tc vMerge="1">
                  <a:txBody>
                    <a:bodyPr/>
                    <a:lstStyle/>
                    <a:p>
                      <a:pPr algn="ctr" rtl="0" fontAlgn="ctr"/>
                      <a:endParaRPr lang="en-US" sz="1100" b="0" i="0" u="none" strike="noStrike">
                        <a:solidFill>
                          <a:srgbClr val="000000"/>
                        </a:solidFill>
                        <a:effectLst/>
                        <a:latin typeface="EYInterstate" panose="02000503020000020004" pitchFamily="2" charset="0"/>
                      </a:endParaRPr>
                    </a:p>
                  </a:txBody>
                  <a:tcPr marL="9421" marR="9421" marT="9421"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solidFill>
                  </a:tcPr>
                </a:tc>
                <a:tc gridSpan="2">
                  <a:txBody>
                    <a:bodyPr/>
                    <a:lstStyle/>
                    <a:p>
                      <a:pPr lvl="1" algn="l"/>
                      <a:r>
                        <a:rPr lang="en-US" sz="1100" b="0" i="0" u="none" strike="noStrike" kern="1200" dirty="0">
                          <a:solidFill>
                            <a:srgbClr val="000000"/>
                          </a:solidFill>
                          <a:effectLst/>
                          <a:latin typeface="EYInterstate" panose="02000503020000020004" pitchFamily="2" charset="0"/>
                          <a:ea typeface="+mn-ea"/>
                          <a:cs typeface="+mn-cs"/>
                        </a:rPr>
                        <a:t>Feature engineering with dynamic feature synthesis</a:t>
                      </a:r>
                    </a:p>
                  </a:txBody>
                  <a:tcPr marL="9421" marR="9421" marT="9421"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hMerge="1">
                  <a:txBody>
                    <a:bodyPr/>
                    <a:lstStyle/>
                    <a:p>
                      <a:pPr algn="l" rtl="0" fontAlgn="ctr"/>
                      <a:r>
                        <a:rPr lang="en-US" sz="1000" b="0" i="0" u="none" strike="noStrike">
                          <a:solidFill>
                            <a:srgbClr val="000000"/>
                          </a:solidFill>
                          <a:effectLst/>
                          <a:latin typeface="EYInterstate" panose="02000503020000020004" pitchFamily="2" charset="0"/>
                        </a:rPr>
                        <a:t>Model Finalization</a:t>
                      </a:r>
                    </a:p>
                  </a:txBody>
                  <a:tcPr marL="9421" marR="9421" marT="9421"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endParaRPr lang="en-US" sz="1000" b="0" i="0" u="none" strike="noStrike">
                        <a:solidFill>
                          <a:srgbClr val="000000"/>
                        </a:solidFill>
                        <a:effectLst/>
                        <a:latin typeface="EYInterstate" panose="02000503020000020004" pitchFamily="2" charset="0"/>
                      </a:endParaRPr>
                    </a:p>
                  </a:txBody>
                  <a:tcPr marL="9421" marR="9421" marT="9421" marB="0" anchor="ctr">
                    <a:lnL w="12700" cap="flat" cmpd="sng" algn="ctr">
                      <a:solidFill>
                        <a:srgbClr val="000000"/>
                      </a:solidFill>
                      <a:prstDash val="solid"/>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algn="ctr" rtl="0" fontAlgn="ctr"/>
                      <a:endParaRPr lang="en-US" sz="1000" b="0" i="0" u="none" strike="noStrike">
                        <a:solidFill>
                          <a:srgbClr val="000000"/>
                        </a:solidFill>
                        <a:effectLst/>
                        <a:latin typeface="EYInterstate" panose="02000503020000020004" pitchFamily="2" charset="0"/>
                      </a:endParaRPr>
                    </a:p>
                  </a:txBody>
                  <a:tcPr marL="9421" marR="9421" marT="9421"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algn="ctr" rtl="0" fontAlgn="ctr"/>
                      <a:endParaRPr lang="en-US" sz="1000" b="0" i="0" u="none" strike="noStrike">
                        <a:solidFill>
                          <a:srgbClr val="000000"/>
                        </a:solidFill>
                        <a:effectLst/>
                        <a:latin typeface="EYInterstate" panose="02000503020000020004" pitchFamily="2" charset="0"/>
                      </a:endParaRPr>
                    </a:p>
                  </a:txBody>
                  <a:tcPr marL="9421" marR="9421" marT="9421" marB="0" anchor="ctr">
                    <a:lnL w="12700" cap="flat" cmpd="sng" algn="ctr">
                      <a:solidFill>
                        <a:schemeClr val="tx1"/>
                      </a:solidFill>
                      <a:prstDash val="sysDot"/>
                      <a:round/>
                      <a:headEnd type="none" w="med" len="med"/>
                      <a:tailEnd type="none" w="med" len="med"/>
                    </a:lnL>
                    <a:lnR w="19050" cap="flat" cmpd="sng" algn="ctr">
                      <a:solidFill>
                        <a:srgbClr val="000000"/>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algn="ctr" rtl="0" fontAlgn="ctr"/>
                      <a:endParaRPr lang="en-US" sz="1000" b="0" i="0" u="none" strike="noStrike">
                        <a:solidFill>
                          <a:srgbClr val="000000"/>
                        </a:solidFill>
                        <a:effectLst/>
                        <a:latin typeface="EYInterstate" panose="02000503020000020004" pitchFamily="2" charset="0"/>
                      </a:endParaRPr>
                    </a:p>
                  </a:txBody>
                  <a:tcPr marL="9421" marR="9421" marT="9421" marB="0" anchor="ctr">
                    <a:lnL w="19050" cap="flat" cmpd="sng" algn="ctr">
                      <a:solidFill>
                        <a:srgbClr val="000000"/>
                      </a:solidFill>
                      <a:prstDash val="solid"/>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algn="ctr" rtl="0" fontAlgn="ctr"/>
                      <a:endParaRPr lang="en-US" sz="1000" b="0" i="0" u="none" strike="noStrike">
                        <a:solidFill>
                          <a:srgbClr val="000000"/>
                        </a:solidFill>
                        <a:effectLst/>
                        <a:latin typeface="EYInterstate" panose="02000503020000020004" pitchFamily="2" charset="0"/>
                      </a:endParaRPr>
                    </a:p>
                  </a:txBody>
                  <a:tcPr marL="9421" marR="9421" marT="9421"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accent2">
                        <a:lumMod val="20000"/>
                        <a:lumOff val="80000"/>
                      </a:schemeClr>
                    </a:solidFill>
                  </a:tcPr>
                </a:tc>
                <a:tc>
                  <a:txBody>
                    <a:bodyPr/>
                    <a:lstStyle/>
                    <a:p>
                      <a:pPr algn="ctr" rtl="0" fontAlgn="ctr"/>
                      <a:endParaRPr lang="en-US" sz="1000" b="0" i="0" u="none" strike="noStrike">
                        <a:solidFill>
                          <a:srgbClr val="000000"/>
                        </a:solidFill>
                        <a:effectLst/>
                        <a:latin typeface="EYInterstate" panose="02000503020000020004" pitchFamily="2" charset="0"/>
                      </a:endParaRPr>
                    </a:p>
                  </a:txBody>
                  <a:tcPr marL="9421" marR="9421" marT="9421"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accent2">
                        <a:lumMod val="20000"/>
                        <a:lumOff val="80000"/>
                      </a:schemeClr>
                    </a:solidFill>
                  </a:tcPr>
                </a:tc>
                <a:tc>
                  <a:txBody>
                    <a:bodyPr/>
                    <a:lstStyle/>
                    <a:p>
                      <a:pPr algn="ctr" rtl="0" fontAlgn="ctr"/>
                      <a:endParaRPr lang="en-US" sz="1000" b="0" i="0" u="none" strike="noStrike">
                        <a:solidFill>
                          <a:srgbClr val="000000"/>
                        </a:solidFill>
                        <a:effectLst/>
                        <a:latin typeface="EYInterstate" panose="02000503020000020004" pitchFamily="2" charset="0"/>
                      </a:endParaRPr>
                    </a:p>
                  </a:txBody>
                  <a:tcPr marL="9421" marR="9421" marT="9421"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algn="ctr" rtl="0" fontAlgn="ctr"/>
                      <a:endParaRPr lang="en-US" sz="1000" b="0" i="0" u="none" strike="noStrike">
                        <a:solidFill>
                          <a:srgbClr val="000000"/>
                        </a:solidFill>
                        <a:effectLst/>
                        <a:latin typeface="EYInterstate" panose="02000503020000020004" pitchFamily="2" charset="0"/>
                      </a:endParaRPr>
                    </a:p>
                  </a:txBody>
                  <a:tcPr marL="9421" marR="9421" marT="9421" marB="0" anchor="ctr">
                    <a:lnL w="12700" cap="flat" cmpd="sng" algn="ctr">
                      <a:solidFill>
                        <a:schemeClr val="tx1"/>
                      </a:solidFill>
                      <a:prstDash val="sysDot"/>
                      <a:round/>
                      <a:headEnd type="none" w="med" len="med"/>
                      <a:tailEnd type="none" w="med" len="med"/>
                    </a:lnL>
                    <a:lnR w="1905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extLst>
                  <a:ext uri="{0D108BD9-81ED-4DB2-BD59-A6C34878D82A}">
                    <a16:rowId xmlns:a16="http://schemas.microsoft.com/office/drawing/2014/main" val="4229056754"/>
                  </a:ext>
                </a:extLst>
              </a:tr>
              <a:tr h="319525">
                <a:tc vMerge="1">
                  <a:txBody>
                    <a:bodyPr/>
                    <a:lstStyle/>
                    <a:p>
                      <a:endParaRPr lang="en-US"/>
                    </a:p>
                  </a:txBody>
                  <a:tcPr/>
                </a:tc>
                <a:tc gridSpan="2">
                  <a:txBody>
                    <a:bodyPr/>
                    <a:lstStyle/>
                    <a:p>
                      <a:pPr lvl="1" algn="l" rtl="0" fontAlgn="ctr"/>
                      <a:r>
                        <a:rPr lang="en-US" sz="1100" b="0" i="0" u="none" strike="noStrike" kern="1200" dirty="0">
                          <a:solidFill>
                            <a:srgbClr val="000000"/>
                          </a:solidFill>
                          <a:effectLst/>
                          <a:latin typeface="EYInterstate" panose="02000503020000020004" pitchFamily="2" charset="0"/>
                          <a:ea typeface="+mn-ea"/>
                          <a:cs typeface="+mn-cs"/>
                        </a:rPr>
                        <a:t>Exploratory analysis and feature selection</a:t>
                      </a:r>
                    </a:p>
                  </a:txBody>
                  <a:tcPr marL="9421" marR="9421" marT="9421"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l" rtl="0" fontAlgn="ctr"/>
                      <a:r>
                        <a:rPr lang="en-US" sz="1000" b="0" i="0" u="none" strike="noStrike">
                          <a:solidFill>
                            <a:srgbClr val="000000"/>
                          </a:solidFill>
                          <a:effectLst/>
                          <a:latin typeface="EYInterstate" panose="02000503020000020004" pitchFamily="2" charset="0"/>
                        </a:rPr>
                        <a:t>Performance Testing</a:t>
                      </a:r>
                    </a:p>
                  </a:txBody>
                  <a:tcPr marL="9421" marR="9421" marT="9421"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endParaRPr lang="en-US" sz="1000" b="0" i="0" u="none" strike="noStrike">
                        <a:solidFill>
                          <a:srgbClr val="000000"/>
                        </a:solidFill>
                        <a:effectLst/>
                        <a:latin typeface="EYInterstate" panose="02000503020000020004" pitchFamily="2" charset="0"/>
                      </a:endParaRPr>
                    </a:p>
                  </a:txBody>
                  <a:tcPr marL="9421" marR="9421" marT="9421" marB="0" anchor="ctr">
                    <a:lnL w="12700" cap="flat" cmpd="sng" algn="ctr">
                      <a:solidFill>
                        <a:srgbClr val="000000"/>
                      </a:solidFill>
                      <a:prstDash val="solid"/>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algn="ctr" rtl="0" fontAlgn="ctr"/>
                      <a:endParaRPr lang="en-US" sz="1000" b="0" i="0" u="none" strike="noStrike">
                        <a:solidFill>
                          <a:srgbClr val="000000"/>
                        </a:solidFill>
                        <a:effectLst/>
                        <a:latin typeface="EYInterstate" panose="02000503020000020004" pitchFamily="2" charset="0"/>
                      </a:endParaRPr>
                    </a:p>
                  </a:txBody>
                  <a:tcPr marL="9421" marR="9421" marT="9421"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algn="ctr" rtl="0" fontAlgn="ctr"/>
                      <a:endParaRPr lang="en-US" sz="1000" b="0" i="0" u="none" strike="noStrike">
                        <a:solidFill>
                          <a:srgbClr val="000000"/>
                        </a:solidFill>
                        <a:effectLst/>
                        <a:latin typeface="EYInterstate" panose="02000503020000020004" pitchFamily="2" charset="0"/>
                      </a:endParaRPr>
                    </a:p>
                  </a:txBody>
                  <a:tcPr marL="9421" marR="9421" marT="9421" marB="0" anchor="ctr">
                    <a:lnL w="12700" cap="flat" cmpd="sng" algn="ctr">
                      <a:solidFill>
                        <a:schemeClr val="tx1"/>
                      </a:solidFill>
                      <a:prstDash val="sysDot"/>
                      <a:round/>
                      <a:headEnd type="none" w="med" len="med"/>
                      <a:tailEnd type="none" w="med" len="med"/>
                    </a:lnL>
                    <a:lnR w="19050" cap="flat" cmpd="sng" algn="ctr">
                      <a:solidFill>
                        <a:srgbClr val="000000"/>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algn="ctr" rtl="0" fontAlgn="ctr"/>
                      <a:endParaRPr lang="en-US" sz="1000" b="0" i="0" u="none" strike="noStrike">
                        <a:solidFill>
                          <a:srgbClr val="000000"/>
                        </a:solidFill>
                        <a:effectLst/>
                        <a:latin typeface="EYInterstate" panose="02000503020000020004" pitchFamily="2" charset="0"/>
                      </a:endParaRPr>
                    </a:p>
                  </a:txBody>
                  <a:tcPr marL="9421" marR="9421" marT="9421" marB="0" anchor="ctr">
                    <a:lnL w="19050" cap="flat" cmpd="sng" algn="ctr">
                      <a:solidFill>
                        <a:srgbClr val="000000"/>
                      </a:solidFill>
                      <a:prstDash val="solid"/>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algn="ctr" rtl="0" fontAlgn="ctr"/>
                      <a:endParaRPr lang="en-US" sz="1000" b="0" i="0" u="none" strike="noStrike" dirty="0">
                        <a:solidFill>
                          <a:srgbClr val="000000"/>
                        </a:solidFill>
                        <a:effectLst/>
                        <a:latin typeface="EYInterstate" panose="02000503020000020004" pitchFamily="2" charset="0"/>
                      </a:endParaRPr>
                    </a:p>
                  </a:txBody>
                  <a:tcPr marL="9421" marR="9421" marT="9421"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algn="ctr" rtl="0" fontAlgn="ctr"/>
                      <a:endParaRPr lang="en-US" sz="1000" b="0" i="0" u="none" strike="noStrike" dirty="0">
                        <a:solidFill>
                          <a:srgbClr val="000000"/>
                        </a:solidFill>
                        <a:effectLst/>
                        <a:latin typeface="EYInterstate" panose="02000503020000020004" pitchFamily="2" charset="0"/>
                      </a:endParaRPr>
                    </a:p>
                  </a:txBody>
                  <a:tcPr marL="9421" marR="9421" marT="9421"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accent2">
                        <a:lumMod val="20000"/>
                        <a:lumOff val="80000"/>
                      </a:schemeClr>
                    </a:solidFill>
                  </a:tcPr>
                </a:tc>
                <a:tc>
                  <a:txBody>
                    <a:bodyPr/>
                    <a:lstStyle/>
                    <a:p>
                      <a:pPr algn="ctr" rtl="0" fontAlgn="ctr"/>
                      <a:endParaRPr lang="en-US" sz="1000" b="0" i="0" u="none" strike="noStrike">
                        <a:solidFill>
                          <a:srgbClr val="000000"/>
                        </a:solidFill>
                        <a:effectLst/>
                        <a:latin typeface="EYInterstate" panose="02000503020000020004" pitchFamily="2" charset="0"/>
                      </a:endParaRPr>
                    </a:p>
                  </a:txBody>
                  <a:tcPr marL="9421" marR="9421" marT="9421"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algn="ctr" rtl="0" fontAlgn="ctr"/>
                      <a:endParaRPr lang="en-US" sz="1000" b="0" i="0" u="none" strike="noStrike" dirty="0">
                        <a:solidFill>
                          <a:srgbClr val="000000"/>
                        </a:solidFill>
                        <a:effectLst/>
                        <a:latin typeface="EYInterstate" panose="02000503020000020004" pitchFamily="2" charset="0"/>
                      </a:endParaRPr>
                    </a:p>
                  </a:txBody>
                  <a:tcPr marL="9421" marR="9421" marT="9421" marB="0" anchor="ctr">
                    <a:lnL w="12700" cap="flat" cmpd="sng" algn="ctr">
                      <a:solidFill>
                        <a:schemeClr val="tx1"/>
                      </a:solidFill>
                      <a:prstDash val="sysDot"/>
                      <a:round/>
                      <a:headEnd type="none" w="med" len="med"/>
                      <a:tailEnd type="none" w="med" len="med"/>
                    </a:lnL>
                    <a:lnR w="1905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extLst>
                  <a:ext uri="{0D108BD9-81ED-4DB2-BD59-A6C34878D82A}">
                    <a16:rowId xmlns:a16="http://schemas.microsoft.com/office/drawing/2014/main" val="3470442569"/>
                  </a:ext>
                </a:extLst>
              </a:tr>
              <a:tr h="319525">
                <a:tc vMerge="1">
                  <a:txBody>
                    <a:bodyPr/>
                    <a:lstStyle/>
                    <a:p>
                      <a:endParaRPr lang="en-US"/>
                    </a:p>
                  </a:txBody>
                  <a:tcPr/>
                </a:tc>
                <a:tc gridSpan="2">
                  <a:txBody>
                    <a:bodyPr/>
                    <a:lstStyle/>
                    <a:p>
                      <a:pPr lvl="1" algn="l"/>
                      <a:r>
                        <a:rPr lang="en-US" sz="1100" b="0" i="0" u="none" strike="noStrike" kern="1200" dirty="0">
                          <a:solidFill>
                            <a:srgbClr val="000000"/>
                          </a:solidFill>
                          <a:effectLst/>
                          <a:latin typeface="EYInterstate" panose="02000503020000020004" pitchFamily="2" charset="0"/>
                          <a:ea typeface="+mn-ea"/>
                          <a:cs typeface="+mn-cs"/>
                        </a:rPr>
                        <a:t>Training-Validation data set setup using sampling</a:t>
                      </a:r>
                    </a:p>
                  </a:txBody>
                  <a:tcPr marL="9421" marR="9421" marT="9421"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a:txBody>
                    <a:bodyPr/>
                    <a:lstStyle/>
                    <a:p>
                      <a:pPr algn="ctr" rtl="0" fontAlgn="ctr"/>
                      <a:endParaRPr lang="en-US" sz="1000" b="0" i="0" u="none" strike="noStrike">
                        <a:solidFill>
                          <a:srgbClr val="000000"/>
                        </a:solidFill>
                        <a:effectLst/>
                        <a:latin typeface="EYInterstate" panose="02000503020000020004" pitchFamily="2" charset="0"/>
                      </a:endParaRPr>
                    </a:p>
                  </a:txBody>
                  <a:tcPr marL="9421" marR="9421" marT="9421" marB="0" anchor="ctr">
                    <a:lnL w="12700" cap="flat" cmpd="sng" algn="ctr">
                      <a:solidFill>
                        <a:srgbClr val="000000"/>
                      </a:solidFill>
                      <a:prstDash val="solid"/>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algn="ctr" rtl="0" fontAlgn="ctr"/>
                      <a:endParaRPr lang="en-US" sz="1000" b="0" i="0" u="none" strike="noStrike">
                        <a:solidFill>
                          <a:srgbClr val="000000"/>
                        </a:solidFill>
                        <a:effectLst/>
                        <a:latin typeface="EYInterstate" panose="02000503020000020004" pitchFamily="2" charset="0"/>
                      </a:endParaRPr>
                    </a:p>
                  </a:txBody>
                  <a:tcPr marL="9421" marR="9421" marT="9421"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algn="ctr" rtl="0" fontAlgn="ctr"/>
                      <a:endParaRPr lang="en-US" sz="1000" b="0" i="0" u="none" strike="noStrike">
                        <a:solidFill>
                          <a:srgbClr val="000000"/>
                        </a:solidFill>
                        <a:effectLst/>
                        <a:latin typeface="EYInterstate" panose="02000503020000020004" pitchFamily="2" charset="0"/>
                      </a:endParaRPr>
                    </a:p>
                  </a:txBody>
                  <a:tcPr marL="9421" marR="9421" marT="9421" marB="0" anchor="ctr">
                    <a:lnL w="12700" cap="flat" cmpd="sng" algn="ctr">
                      <a:solidFill>
                        <a:schemeClr val="tx1"/>
                      </a:solidFill>
                      <a:prstDash val="sysDot"/>
                      <a:round/>
                      <a:headEnd type="none" w="med" len="med"/>
                      <a:tailEnd type="none" w="med" len="med"/>
                    </a:lnL>
                    <a:lnR w="19050" cap="flat" cmpd="sng" algn="ctr">
                      <a:solidFill>
                        <a:srgbClr val="000000"/>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algn="ctr" rtl="0" fontAlgn="ctr"/>
                      <a:endParaRPr lang="en-US" sz="1000" b="0" i="0" u="none" strike="noStrike">
                        <a:solidFill>
                          <a:srgbClr val="000000"/>
                        </a:solidFill>
                        <a:effectLst/>
                        <a:latin typeface="EYInterstate" panose="02000503020000020004" pitchFamily="2" charset="0"/>
                      </a:endParaRPr>
                    </a:p>
                  </a:txBody>
                  <a:tcPr marL="9421" marR="9421" marT="9421" marB="0" anchor="ctr">
                    <a:lnL w="19050" cap="flat" cmpd="sng" algn="ctr">
                      <a:solidFill>
                        <a:srgbClr val="000000"/>
                      </a:solidFill>
                      <a:prstDash val="solid"/>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algn="ctr" rtl="0" fontAlgn="ctr"/>
                      <a:endParaRPr lang="en-US" sz="1000" b="0" i="0" u="none" strike="noStrike">
                        <a:solidFill>
                          <a:srgbClr val="000000"/>
                        </a:solidFill>
                        <a:effectLst/>
                        <a:latin typeface="EYInterstate" panose="02000503020000020004" pitchFamily="2" charset="0"/>
                      </a:endParaRPr>
                    </a:p>
                  </a:txBody>
                  <a:tcPr marL="9421" marR="9421" marT="9421"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algn="ctr" rtl="0" fontAlgn="ctr"/>
                      <a:endParaRPr lang="en-US" sz="1000" b="0" i="0" u="none" strike="noStrike" dirty="0">
                        <a:solidFill>
                          <a:srgbClr val="000000"/>
                        </a:solidFill>
                        <a:effectLst/>
                        <a:latin typeface="EYInterstate" panose="02000503020000020004" pitchFamily="2" charset="0"/>
                      </a:endParaRPr>
                    </a:p>
                  </a:txBody>
                  <a:tcPr marL="9421" marR="9421" marT="9421"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accent2">
                        <a:lumMod val="20000"/>
                        <a:lumOff val="80000"/>
                      </a:schemeClr>
                    </a:solidFill>
                  </a:tcPr>
                </a:tc>
                <a:tc>
                  <a:txBody>
                    <a:bodyPr/>
                    <a:lstStyle/>
                    <a:p>
                      <a:pPr algn="ctr" rtl="0" fontAlgn="ctr"/>
                      <a:endParaRPr lang="en-US" sz="1000" b="0" i="0" u="none" strike="noStrike">
                        <a:solidFill>
                          <a:srgbClr val="000000"/>
                        </a:solidFill>
                        <a:effectLst/>
                        <a:latin typeface="EYInterstate" panose="02000503020000020004" pitchFamily="2" charset="0"/>
                      </a:endParaRPr>
                    </a:p>
                  </a:txBody>
                  <a:tcPr marL="9421" marR="9421" marT="9421"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algn="ctr" rtl="0" fontAlgn="ctr"/>
                      <a:endParaRPr lang="en-US" sz="1000" b="0" i="0" u="none" strike="noStrike">
                        <a:solidFill>
                          <a:srgbClr val="000000"/>
                        </a:solidFill>
                        <a:effectLst/>
                        <a:latin typeface="EYInterstate" panose="02000503020000020004" pitchFamily="2" charset="0"/>
                      </a:endParaRPr>
                    </a:p>
                  </a:txBody>
                  <a:tcPr marL="9421" marR="9421" marT="9421" marB="0" anchor="ctr">
                    <a:lnL w="12700" cap="flat" cmpd="sng" algn="ctr">
                      <a:solidFill>
                        <a:schemeClr val="tx1"/>
                      </a:solidFill>
                      <a:prstDash val="sysDot"/>
                      <a:round/>
                      <a:headEnd type="none" w="med" len="med"/>
                      <a:tailEnd type="none" w="med" len="med"/>
                    </a:lnL>
                    <a:lnR w="1905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extLst>
                  <a:ext uri="{0D108BD9-81ED-4DB2-BD59-A6C34878D82A}">
                    <a16:rowId xmlns:a16="http://schemas.microsoft.com/office/drawing/2014/main" val="232911772"/>
                  </a:ext>
                </a:extLst>
              </a:tr>
              <a:tr h="319525">
                <a:tc vMerge="1">
                  <a:txBody>
                    <a:bodyPr/>
                    <a:lstStyle/>
                    <a:p>
                      <a:endParaRPr lang="en-US"/>
                    </a:p>
                  </a:txBody>
                  <a:tcPr/>
                </a:tc>
                <a:tc gridSpan="2">
                  <a:txBody>
                    <a:bodyPr/>
                    <a:lstStyle/>
                    <a:p>
                      <a:pPr lvl="1" algn="l"/>
                      <a:r>
                        <a:rPr lang="en-US" sz="1100" b="0" i="0" u="none" strike="noStrike" kern="1200" dirty="0">
                          <a:solidFill>
                            <a:srgbClr val="000000"/>
                          </a:solidFill>
                          <a:effectLst/>
                          <a:latin typeface="EYInterstate" panose="02000503020000020004" pitchFamily="2" charset="0"/>
                          <a:ea typeface="+mn-ea"/>
                          <a:cs typeface="+mn-cs"/>
                        </a:rPr>
                        <a:t>Model build with hyper-parameter optimization</a:t>
                      </a:r>
                    </a:p>
                  </a:txBody>
                  <a:tcPr marL="9421" marR="9421" marT="9421"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a:txBody>
                    <a:bodyPr/>
                    <a:lstStyle/>
                    <a:p>
                      <a:pPr algn="ctr" rtl="0" fontAlgn="ctr"/>
                      <a:endParaRPr lang="en-US" sz="1000" b="0" i="0" u="none" strike="noStrike" dirty="0">
                        <a:solidFill>
                          <a:srgbClr val="000000"/>
                        </a:solidFill>
                        <a:effectLst/>
                        <a:latin typeface="EYInterstate" panose="02000503020000020004" pitchFamily="2" charset="0"/>
                      </a:endParaRPr>
                    </a:p>
                  </a:txBody>
                  <a:tcPr marL="9421" marR="9421" marT="9421" marB="0" anchor="ctr">
                    <a:lnL w="12700" cap="flat" cmpd="sng" algn="ctr">
                      <a:solidFill>
                        <a:srgbClr val="000000"/>
                      </a:solidFill>
                      <a:prstDash val="solid"/>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accent2">
                        <a:lumMod val="20000"/>
                        <a:lumOff val="80000"/>
                      </a:schemeClr>
                    </a:solidFill>
                  </a:tcPr>
                </a:tc>
                <a:tc>
                  <a:txBody>
                    <a:bodyPr/>
                    <a:lstStyle/>
                    <a:p>
                      <a:pPr algn="ctr" rtl="0" fontAlgn="ctr"/>
                      <a:endParaRPr lang="en-US" sz="1000" b="0" i="0" u="none" strike="noStrike" dirty="0">
                        <a:solidFill>
                          <a:srgbClr val="000000"/>
                        </a:solidFill>
                        <a:effectLst/>
                        <a:latin typeface="EYInterstate" panose="02000503020000020004" pitchFamily="2" charset="0"/>
                      </a:endParaRPr>
                    </a:p>
                  </a:txBody>
                  <a:tcPr marL="9421" marR="9421" marT="9421"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accent2">
                        <a:lumMod val="20000"/>
                        <a:lumOff val="80000"/>
                      </a:schemeClr>
                    </a:solidFill>
                  </a:tcPr>
                </a:tc>
                <a:tc>
                  <a:txBody>
                    <a:bodyPr/>
                    <a:lstStyle/>
                    <a:p>
                      <a:pPr algn="ctr" rtl="0" fontAlgn="ctr"/>
                      <a:endParaRPr lang="en-US" sz="1000" b="0" i="0" u="none" strike="noStrike">
                        <a:solidFill>
                          <a:srgbClr val="000000"/>
                        </a:solidFill>
                        <a:effectLst/>
                        <a:latin typeface="EYInterstate" panose="02000503020000020004" pitchFamily="2" charset="0"/>
                      </a:endParaRPr>
                    </a:p>
                  </a:txBody>
                  <a:tcPr marL="9421" marR="9421" marT="9421" marB="0" anchor="ctr">
                    <a:lnL w="12700" cap="flat" cmpd="sng" algn="ctr">
                      <a:solidFill>
                        <a:schemeClr val="tx1"/>
                      </a:solidFill>
                      <a:prstDash val="sysDot"/>
                      <a:round/>
                      <a:headEnd type="none" w="med" len="med"/>
                      <a:tailEnd type="none" w="med" len="med"/>
                    </a:lnL>
                    <a:lnR w="19050" cap="flat" cmpd="sng" algn="ctr">
                      <a:solidFill>
                        <a:srgbClr val="000000"/>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algn="ctr" rtl="0" fontAlgn="ctr"/>
                      <a:endParaRPr lang="en-US" sz="1000" b="0" i="0" u="none" strike="noStrike">
                        <a:solidFill>
                          <a:srgbClr val="000000"/>
                        </a:solidFill>
                        <a:effectLst/>
                        <a:latin typeface="EYInterstate" panose="02000503020000020004" pitchFamily="2" charset="0"/>
                      </a:endParaRPr>
                    </a:p>
                  </a:txBody>
                  <a:tcPr marL="9421" marR="9421" marT="9421" marB="0" anchor="ctr">
                    <a:lnL w="19050" cap="flat" cmpd="sng" algn="ctr">
                      <a:solidFill>
                        <a:srgbClr val="000000"/>
                      </a:solidFill>
                      <a:prstDash val="solid"/>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algn="ctr" rtl="0" fontAlgn="ctr"/>
                      <a:endParaRPr lang="en-US" sz="1000" b="0" i="0" u="none" strike="noStrike" dirty="0">
                        <a:solidFill>
                          <a:srgbClr val="000000"/>
                        </a:solidFill>
                        <a:effectLst/>
                        <a:latin typeface="EYInterstate" panose="02000503020000020004" pitchFamily="2" charset="0"/>
                      </a:endParaRPr>
                    </a:p>
                  </a:txBody>
                  <a:tcPr marL="9421" marR="9421" marT="9421"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algn="ctr" rtl="0" fontAlgn="ctr"/>
                      <a:endParaRPr lang="en-US" sz="1000" b="0" i="0" u="none" strike="noStrike" dirty="0">
                        <a:solidFill>
                          <a:srgbClr val="000000"/>
                        </a:solidFill>
                        <a:effectLst/>
                        <a:latin typeface="EYInterstate" panose="02000503020000020004" pitchFamily="2" charset="0"/>
                      </a:endParaRPr>
                    </a:p>
                  </a:txBody>
                  <a:tcPr marL="9421" marR="9421" marT="9421"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accent2">
                        <a:lumMod val="20000"/>
                        <a:lumOff val="80000"/>
                      </a:schemeClr>
                    </a:solidFill>
                  </a:tcPr>
                </a:tc>
                <a:tc>
                  <a:txBody>
                    <a:bodyPr/>
                    <a:lstStyle/>
                    <a:p>
                      <a:pPr algn="ctr" rtl="0" fontAlgn="ctr"/>
                      <a:endParaRPr lang="en-US" sz="1000" b="0" i="0" u="none" strike="noStrike" dirty="0">
                        <a:solidFill>
                          <a:srgbClr val="000000"/>
                        </a:solidFill>
                        <a:effectLst/>
                        <a:latin typeface="EYInterstate" panose="02000503020000020004" pitchFamily="2" charset="0"/>
                      </a:endParaRPr>
                    </a:p>
                  </a:txBody>
                  <a:tcPr marL="9421" marR="9421" marT="9421"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algn="ctr" rtl="0" fontAlgn="ctr"/>
                      <a:endParaRPr lang="en-US" sz="1000" b="0" i="0" u="none" strike="noStrike">
                        <a:solidFill>
                          <a:srgbClr val="000000"/>
                        </a:solidFill>
                        <a:effectLst/>
                        <a:latin typeface="EYInterstate" panose="02000503020000020004" pitchFamily="2" charset="0"/>
                      </a:endParaRPr>
                    </a:p>
                  </a:txBody>
                  <a:tcPr marL="9421" marR="9421" marT="9421" marB="0" anchor="ctr">
                    <a:lnL w="12700" cap="flat" cmpd="sng" algn="ctr">
                      <a:solidFill>
                        <a:schemeClr val="tx1"/>
                      </a:solidFill>
                      <a:prstDash val="sysDot"/>
                      <a:round/>
                      <a:headEnd type="none" w="med" len="med"/>
                      <a:tailEnd type="none" w="med" len="med"/>
                    </a:lnL>
                    <a:lnR w="1905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extLst>
                  <a:ext uri="{0D108BD9-81ED-4DB2-BD59-A6C34878D82A}">
                    <a16:rowId xmlns:a16="http://schemas.microsoft.com/office/drawing/2014/main" val="1029946034"/>
                  </a:ext>
                </a:extLst>
              </a:tr>
              <a:tr h="319525">
                <a:tc vMerge="1">
                  <a:txBody>
                    <a:bodyPr/>
                    <a:lstStyle/>
                    <a:p>
                      <a:endParaRPr lang="en-US"/>
                    </a:p>
                  </a:txBody>
                  <a:tcPr/>
                </a:tc>
                <a:tc gridSpan="2">
                  <a:txBody>
                    <a:bodyPr/>
                    <a:lstStyle/>
                    <a:p>
                      <a:pPr lvl="1" algn="l"/>
                      <a:r>
                        <a:rPr lang="en-US" sz="1100" b="0" i="0" u="none" strike="noStrike" kern="1200" dirty="0">
                          <a:solidFill>
                            <a:srgbClr val="000000"/>
                          </a:solidFill>
                          <a:effectLst/>
                          <a:latin typeface="EYInterstate" panose="02000503020000020004" pitchFamily="2" charset="0"/>
                          <a:ea typeface="+mn-ea"/>
                          <a:cs typeface="+mn-cs"/>
                        </a:rPr>
                        <a:t>Performance evaluation and hyper-parameter optimization</a:t>
                      </a:r>
                    </a:p>
                  </a:txBody>
                  <a:tcPr marL="9421" marR="9421" marT="9421"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a:txBody>
                    <a:bodyPr/>
                    <a:lstStyle/>
                    <a:p>
                      <a:pPr algn="ctr" rtl="0" fontAlgn="ctr"/>
                      <a:endParaRPr lang="en-US" sz="1000" b="0" i="0" u="none" strike="noStrike">
                        <a:solidFill>
                          <a:srgbClr val="000000"/>
                        </a:solidFill>
                        <a:effectLst/>
                        <a:latin typeface="EYInterstate" panose="02000503020000020004" pitchFamily="2" charset="0"/>
                      </a:endParaRPr>
                    </a:p>
                  </a:txBody>
                  <a:tcPr marL="9421" marR="9421" marT="9421" marB="0" anchor="ctr">
                    <a:lnL w="12700" cap="flat" cmpd="sng" algn="ctr">
                      <a:solidFill>
                        <a:srgbClr val="000000"/>
                      </a:solidFill>
                      <a:prstDash val="solid"/>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algn="ctr" rtl="0" fontAlgn="ctr"/>
                      <a:endParaRPr lang="en-US" sz="1000" b="0" i="0" u="none" strike="noStrike">
                        <a:solidFill>
                          <a:srgbClr val="000000"/>
                        </a:solidFill>
                        <a:effectLst/>
                        <a:latin typeface="EYInterstate" panose="02000503020000020004" pitchFamily="2" charset="0"/>
                      </a:endParaRPr>
                    </a:p>
                  </a:txBody>
                  <a:tcPr marL="9421" marR="9421" marT="9421"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algn="ctr" rtl="0" fontAlgn="ctr"/>
                      <a:endParaRPr lang="en-US" sz="1000" b="0" i="0" u="none" strike="noStrike">
                        <a:solidFill>
                          <a:srgbClr val="000000"/>
                        </a:solidFill>
                        <a:effectLst/>
                        <a:latin typeface="EYInterstate" panose="02000503020000020004" pitchFamily="2" charset="0"/>
                      </a:endParaRPr>
                    </a:p>
                  </a:txBody>
                  <a:tcPr marL="9421" marR="9421" marT="9421" marB="0" anchor="ctr">
                    <a:lnL w="12700" cap="flat" cmpd="sng" algn="ctr">
                      <a:solidFill>
                        <a:schemeClr val="tx1"/>
                      </a:solidFill>
                      <a:prstDash val="sysDot"/>
                      <a:round/>
                      <a:headEnd type="none" w="med" len="med"/>
                      <a:tailEnd type="none" w="med" len="med"/>
                    </a:lnL>
                    <a:lnR w="19050" cap="flat" cmpd="sng" algn="ctr">
                      <a:solidFill>
                        <a:srgbClr val="000000"/>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algn="ctr" rtl="0" fontAlgn="ctr"/>
                      <a:endParaRPr lang="en-US" sz="1000" b="0" i="0" u="none" strike="noStrike">
                        <a:solidFill>
                          <a:srgbClr val="000000"/>
                        </a:solidFill>
                        <a:effectLst/>
                        <a:latin typeface="EYInterstate" panose="02000503020000020004" pitchFamily="2" charset="0"/>
                      </a:endParaRPr>
                    </a:p>
                  </a:txBody>
                  <a:tcPr marL="9421" marR="9421" marT="9421" marB="0" anchor="ctr">
                    <a:lnL w="19050" cap="flat" cmpd="sng" algn="ctr">
                      <a:solidFill>
                        <a:srgbClr val="000000"/>
                      </a:solidFill>
                      <a:prstDash val="solid"/>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algn="ctr" rtl="0" fontAlgn="ctr"/>
                      <a:endParaRPr lang="en-US" sz="1000" b="0" i="0" u="none" strike="noStrike">
                        <a:solidFill>
                          <a:srgbClr val="000000"/>
                        </a:solidFill>
                        <a:effectLst/>
                        <a:latin typeface="EYInterstate" panose="02000503020000020004" pitchFamily="2" charset="0"/>
                      </a:endParaRPr>
                    </a:p>
                  </a:txBody>
                  <a:tcPr marL="9421" marR="9421" marT="9421"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algn="ctr" rtl="0" fontAlgn="ctr"/>
                      <a:endParaRPr lang="en-US" sz="1000" b="0" i="0" u="none" strike="noStrike" dirty="0">
                        <a:solidFill>
                          <a:srgbClr val="000000"/>
                        </a:solidFill>
                        <a:effectLst/>
                        <a:latin typeface="EYInterstate" panose="02000503020000020004" pitchFamily="2" charset="0"/>
                      </a:endParaRPr>
                    </a:p>
                  </a:txBody>
                  <a:tcPr marL="9421" marR="9421" marT="9421"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accent2">
                        <a:lumMod val="20000"/>
                        <a:lumOff val="80000"/>
                      </a:schemeClr>
                    </a:solidFill>
                  </a:tcPr>
                </a:tc>
                <a:tc>
                  <a:txBody>
                    <a:bodyPr/>
                    <a:lstStyle/>
                    <a:p>
                      <a:pPr algn="ctr" rtl="0" fontAlgn="ctr"/>
                      <a:endParaRPr lang="en-US" sz="1000" b="0" i="0" u="none" strike="noStrike" dirty="0">
                        <a:solidFill>
                          <a:srgbClr val="000000"/>
                        </a:solidFill>
                        <a:effectLst/>
                        <a:latin typeface="EYInterstate" panose="02000503020000020004" pitchFamily="2" charset="0"/>
                      </a:endParaRPr>
                    </a:p>
                  </a:txBody>
                  <a:tcPr marL="9421" marR="9421" marT="9421"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accent2">
                        <a:lumMod val="20000"/>
                        <a:lumOff val="80000"/>
                      </a:schemeClr>
                    </a:solidFill>
                  </a:tcPr>
                </a:tc>
                <a:tc>
                  <a:txBody>
                    <a:bodyPr/>
                    <a:lstStyle/>
                    <a:p>
                      <a:pPr algn="ctr" rtl="0" fontAlgn="ctr"/>
                      <a:endParaRPr lang="en-US" sz="1000" b="0" i="0" u="none" strike="noStrike" dirty="0">
                        <a:solidFill>
                          <a:srgbClr val="000000"/>
                        </a:solidFill>
                        <a:effectLst/>
                        <a:latin typeface="EYInterstate" panose="02000503020000020004" pitchFamily="2" charset="0"/>
                      </a:endParaRPr>
                    </a:p>
                  </a:txBody>
                  <a:tcPr marL="9421" marR="9421" marT="9421" marB="0" anchor="ctr">
                    <a:lnL w="12700" cap="flat" cmpd="sng" algn="ctr">
                      <a:solidFill>
                        <a:schemeClr val="tx1"/>
                      </a:solidFill>
                      <a:prstDash val="sysDot"/>
                      <a:round/>
                      <a:headEnd type="none" w="med" len="med"/>
                      <a:tailEnd type="none" w="med" len="med"/>
                    </a:lnL>
                    <a:lnR w="1905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extLst>
                  <a:ext uri="{0D108BD9-81ED-4DB2-BD59-A6C34878D82A}">
                    <a16:rowId xmlns:a16="http://schemas.microsoft.com/office/drawing/2014/main" val="3597358085"/>
                  </a:ext>
                </a:extLst>
              </a:tr>
              <a:tr h="319525">
                <a:tc vMerge="1">
                  <a:txBody>
                    <a:bodyPr/>
                    <a:lstStyle/>
                    <a:p>
                      <a:endParaRPr lang="en-US"/>
                    </a:p>
                  </a:txBody>
                  <a:tcPr/>
                </a:tc>
                <a:tc gridSpan="2">
                  <a:txBody>
                    <a:bodyPr/>
                    <a:lstStyle/>
                    <a:p>
                      <a:pPr lvl="1" algn="l"/>
                      <a:r>
                        <a:rPr lang="en-US" sz="1100" b="0" i="0" u="none" strike="noStrike" kern="1200" dirty="0">
                          <a:solidFill>
                            <a:srgbClr val="000000"/>
                          </a:solidFill>
                          <a:effectLst/>
                          <a:latin typeface="EYInterstate" panose="02000503020000020004" pitchFamily="2" charset="0"/>
                          <a:ea typeface="+mn-ea"/>
                          <a:cs typeface="+mn-cs"/>
                        </a:rPr>
                        <a:t>Model performance assessment on Test dataset</a:t>
                      </a:r>
                    </a:p>
                  </a:txBody>
                  <a:tcPr marL="9421" marR="9421" marT="9421"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a:txBody>
                    <a:bodyPr/>
                    <a:lstStyle/>
                    <a:p>
                      <a:pPr algn="ctr" rtl="0" fontAlgn="ctr"/>
                      <a:endParaRPr lang="en-US" sz="1000" b="0" i="0" u="none" strike="noStrike">
                        <a:solidFill>
                          <a:srgbClr val="000000"/>
                        </a:solidFill>
                        <a:effectLst/>
                        <a:latin typeface="EYInterstate" panose="02000503020000020004" pitchFamily="2" charset="0"/>
                      </a:endParaRPr>
                    </a:p>
                  </a:txBody>
                  <a:tcPr marL="9421" marR="9421" marT="9421" marB="0" anchor="ctr">
                    <a:lnL w="12700" cap="flat" cmpd="sng" algn="ctr">
                      <a:solidFill>
                        <a:srgbClr val="000000"/>
                      </a:solidFill>
                      <a:prstDash val="solid"/>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algn="ctr" rtl="0" fontAlgn="ctr"/>
                      <a:endParaRPr lang="en-US" sz="1000" b="0" i="0" u="none" strike="noStrike">
                        <a:solidFill>
                          <a:srgbClr val="000000"/>
                        </a:solidFill>
                        <a:effectLst/>
                        <a:latin typeface="EYInterstate" panose="02000503020000020004" pitchFamily="2" charset="0"/>
                      </a:endParaRPr>
                    </a:p>
                  </a:txBody>
                  <a:tcPr marL="9421" marR="9421" marT="9421"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algn="ctr" rtl="0" fontAlgn="ctr"/>
                      <a:endParaRPr lang="en-US" sz="1000" b="0" i="0" u="none" strike="noStrike">
                        <a:solidFill>
                          <a:srgbClr val="000000"/>
                        </a:solidFill>
                        <a:effectLst/>
                        <a:latin typeface="EYInterstate" panose="02000503020000020004" pitchFamily="2" charset="0"/>
                      </a:endParaRPr>
                    </a:p>
                  </a:txBody>
                  <a:tcPr marL="9421" marR="9421" marT="9421" marB="0" anchor="ctr">
                    <a:lnL w="12700" cap="flat" cmpd="sng" algn="ctr">
                      <a:solidFill>
                        <a:schemeClr val="tx1"/>
                      </a:solidFill>
                      <a:prstDash val="sysDot"/>
                      <a:round/>
                      <a:headEnd type="none" w="med" len="med"/>
                      <a:tailEnd type="none" w="med" len="med"/>
                    </a:lnL>
                    <a:lnR w="19050" cap="flat" cmpd="sng" algn="ctr">
                      <a:solidFill>
                        <a:srgbClr val="000000"/>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algn="ctr" rtl="0" fontAlgn="ctr"/>
                      <a:endParaRPr lang="en-US" sz="1000" b="0" i="0" u="none" strike="noStrike">
                        <a:solidFill>
                          <a:srgbClr val="000000"/>
                        </a:solidFill>
                        <a:effectLst/>
                        <a:latin typeface="EYInterstate" panose="02000503020000020004" pitchFamily="2" charset="0"/>
                      </a:endParaRPr>
                    </a:p>
                  </a:txBody>
                  <a:tcPr marL="9421" marR="9421" marT="9421" marB="0" anchor="ctr">
                    <a:lnL w="19050" cap="flat" cmpd="sng" algn="ctr">
                      <a:solidFill>
                        <a:srgbClr val="000000"/>
                      </a:solidFill>
                      <a:prstDash val="solid"/>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algn="ctr" rtl="0" fontAlgn="ctr"/>
                      <a:endParaRPr lang="en-US" sz="1000" b="0" i="0" u="none" strike="noStrike">
                        <a:solidFill>
                          <a:srgbClr val="000000"/>
                        </a:solidFill>
                        <a:effectLst/>
                        <a:latin typeface="EYInterstate" panose="02000503020000020004" pitchFamily="2" charset="0"/>
                      </a:endParaRPr>
                    </a:p>
                  </a:txBody>
                  <a:tcPr marL="9421" marR="9421" marT="9421"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algn="ctr" rtl="0" fontAlgn="ctr"/>
                      <a:endParaRPr lang="en-US" sz="1000" b="0" i="0" u="none" strike="noStrike" dirty="0">
                        <a:solidFill>
                          <a:srgbClr val="000000"/>
                        </a:solidFill>
                        <a:effectLst/>
                        <a:latin typeface="EYInterstate" panose="02000503020000020004" pitchFamily="2" charset="0"/>
                      </a:endParaRPr>
                    </a:p>
                  </a:txBody>
                  <a:tcPr marL="9421" marR="9421" marT="9421"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algn="ctr" rtl="0" fontAlgn="ctr"/>
                      <a:endParaRPr lang="en-US" sz="1000" b="0" i="0" u="none" strike="noStrike" dirty="0">
                        <a:solidFill>
                          <a:srgbClr val="000000"/>
                        </a:solidFill>
                        <a:effectLst/>
                        <a:latin typeface="EYInterstate" panose="02000503020000020004" pitchFamily="2" charset="0"/>
                      </a:endParaRPr>
                    </a:p>
                  </a:txBody>
                  <a:tcPr marL="9421" marR="9421" marT="9421"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algn="ctr" rtl="0" fontAlgn="ctr"/>
                      <a:endParaRPr lang="en-US" sz="1000" b="0" i="0" u="none" strike="noStrike" dirty="0">
                        <a:solidFill>
                          <a:srgbClr val="000000"/>
                        </a:solidFill>
                        <a:effectLst/>
                        <a:latin typeface="EYInterstate" panose="02000503020000020004" pitchFamily="2" charset="0"/>
                      </a:endParaRPr>
                    </a:p>
                  </a:txBody>
                  <a:tcPr marL="9421" marR="9421" marT="9421" marB="0" anchor="ctr">
                    <a:lnL w="12700" cap="flat" cmpd="sng" algn="ctr">
                      <a:solidFill>
                        <a:schemeClr val="tx1"/>
                      </a:solidFill>
                      <a:prstDash val="sysDot"/>
                      <a:round/>
                      <a:headEnd type="none" w="med" len="med"/>
                      <a:tailEnd type="none" w="med" len="med"/>
                    </a:lnL>
                    <a:lnR w="1905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2031507561"/>
                  </a:ext>
                </a:extLst>
              </a:tr>
              <a:tr h="319525">
                <a:tc vMerge="1">
                  <a:txBody>
                    <a:bodyPr/>
                    <a:lstStyle/>
                    <a:p>
                      <a:endParaRPr lang="en-US"/>
                    </a:p>
                  </a:txBody>
                  <a:tcPr/>
                </a:tc>
                <a:tc gridSpan="2">
                  <a:txBody>
                    <a:bodyPr/>
                    <a:lstStyle/>
                    <a:p>
                      <a:pPr lvl="1" algn="l"/>
                      <a:r>
                        <a:rPr lang="en-US" sz="1100" b="0" i="0" u="none" strike="noStrike" kern="1200" dirty="0">
                          <a:solidFill>
                            <a:srgbClr val="000000"/>
                          </a:solidFill>
                          <a:effectLst/>
                          <a:latin typeface="EYInterstate" panose="02000503020000020004" pitchFamily="2" charset="0"/>
                          <a:ea typeface="+mn-ea"/>
                          <a:cs typeface="+mn-cs"/>
                        </a:rPr>
                        <a:t>Documentation &amp; input drift assessment</a:t>
                      </a:r>
                    </a:p>
                  </a:txBody>
                  <a:tcPr marL="9421" marR="9421" marT="9421"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hMerge="1">
                  <a:txBody>
                    <a:bodyPr/>
                    <a:lstStyle/>
                    <a:p>
                      <a:endParaRPr lang="en-US"/>
                    </a:p>
                  </a:txBody>
                  <a:tcPr/>
                </a:tc>
                <a:tc>
                  <a:txBody>
                    <a:bodyPr/>
                    <a:lstStyle/>
                    <a:p>
                      <a:pPr algn="ctr" rtl="0" fontAlgn="ctr"/>
                      <a:endParaRPr lang="en-US" sz="1000" b="0" i="0" u="none" strike="noStrike">
                        <a:solidFill>
                          <a:srgbClr val="000000"/>
                        </a:solidFill>
                        <a:effectLst/>
                        <a:latin typeface="EYInterstate" panose="02000503020000020004" pitchFamily="2" charset="0"/>
                      </a:endParaRPr>
                    </a:p>
                  </a:txBody>
                  <a:tcPr marL="9421" marR="9421" marT="9421" marB="0" anchor="ctr">
                    <a:lnL w="12700" cap="flat" cmpd="sng" algn="ctr">
                      <a:solidFill>
                        <a:srgbClr val="000000"/>
                      </a:solidFill>
                      <a:prstDash val="solid"/>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endParaRPr lang="en-US" sz="1000" b="0" i="0" u="none" strike="noStrike">
                        <a:solidFill>
                          <a:srgbClr val="000000"/>
                        </a:solidFill>
                        <a:effectLst/>
                        <a:latin typeface="EYInterstate" panose="02000503020000020004" pitchFamily="2" charset="0"/>
                      </a:endParaRPr>
                    </a:p>
                  </a:txBody>
                  <a:tcPr marL="9421" marR="9421" marT="9421"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endParaRPr lang="en-US" sz="1000" b="0" i="0" u="none" strike="noStrike">
                        <a:solidFill>
                          <a:srgbClr val="000000"/>
                        </a:solidFill>
                        <a:effectLst/>
                        <a:latin typeface="EYInterstate" panose="02000503020000020004" pitchFamily="2" charset="0"/>
                      </a:endParaRPr>
                    </a:p>
                  </a:txBody>
                  <a:tcPr marL="9421" marR="9421" marT="9421" marB="0" anchor="ctr">
                    <a:lnL w="12700" cap="flat" cmpd="sng" algn="ctr">
                      <a:solidFill>
                        <a:schemeClr val="tx1"/>
                      </a:solidFill>
                      <a:prstDash val="sysDot"/>
                      <a:round/>
                      <a:headEnd type="none" w="med" len="med"/>
                      <a:tailEnd type="none" w="med" len="med"/>
                    </a:lnL>
                    <a:lnR w="19050" cap="flat" cmpd="sng" algn="ctr">
                      <a:solidFill>
                        <a:srgbClr val="000000"/>
                      </a:solidFill>
                      <a:prstDash val="solid"/>
                      <a:round/>
                      <a:headEnd type="none" w="med" len="med"/>
                      <a:tailEnd type="none" w="med" len="med"/>
                    </a:lnR>
                    <a:lnT w="12700" cap="flat" cmpd="sng" algn="ctr">
                      <a:solidFill>
                        <a:schemeClr val="tx1"/>
                      </a:solidFill>
                      <a:prstDash val="sysDot"/>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endParaRPr lang="en-US" sz="1000" b="0" i="0" u="none" strike="noStrike">
                        <a:solidFill>
                          <a:srgbClr val="000000"/>
                        </a:solidFill>
                        <a:effectLst/>
                        <a:latin typeface="EYInterstate" panose="02000503020000020004" pitchFamily="2" charset="0"/>
                      </a:endParaRPr>
                    </a:p>
                  </a:txBody>
                  <a:tcPr marL="9421" marR="9421" marT="9421" marB="0" anchor="ctr">
                    <a:lnL w="19050" cap="flat" cmpd="sng" algn="ctr">
                      <a:solidFill>
                        <a:srgbClr val="000000"/>
                      </a:solidFill>
                      <a:prstDash val="solid"/>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endParaRPr lang="en-US" sz="1000" b="0" i="0" u="none" strike="noStrike">
                        <a:solidFill>
                          <a:srgbClr val="000000"/>
                        </a:solidFill>
                        <a:effectLst/>
                        <a:latin typeface="EYInterstate" panose="02000503020000020004" pitchFamily="2" charset="0"/>
                      </a:endParaRPr>
                    </a:p>
                  </a:txBody>
                  <a:tcPr marL="9421" marR="9421" marT="9421"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endParaRPr lang="en-US" sz="1000" b="0" i="0" u="none" strike="noStrike">
                        <a:solidFill>
                          <a:srgbClr val="000000"/>
                        </a:solidFill>
                        <a:effectLst/>
                        <a:latin typeface="EYInterstate" panose="02000503020000020004" pitchFamily="2" charset="0"/>
                      </a:endParaRPr>
                    </a:p>
                  </a:txBody>
                  <a:tcPr marL="9421" marR="9421" marT="9421"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endParaRPr lang="en-US" sz="1000" b="0" i="0" u="none" strike="noStrike">
                        <a:solidFill>
                          <a:srgbClr val="000000"/>
                        </a:solidFill>
                        <a:effectLst/>
                        <a:latin typeface="EYInterstate" panose="02000503020000020004" pitchFamily="2" charset="0"/>
                      </a:endParaRPr>
                    </a:p>
                  </a:txBody>
                  <a:tcPr marL="9421" marR="9421" marT="9421"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endParaRPr lang="en-US" sz="1000" b="0" i="0" u="none" strike="noStrike" dirty="0">
                        <a:solidFill>
                          <a:srgbClr val="000000"/>
                        </a:solidFill>
                        <a:effectLst/>
                        <a:latin typeface="EYInterstate" panose="02000503020000020004" pitchFamily="2" charset="0"/>
                      </a:endParaRPr>
                    </a:p>
                  </a:txBody>
                  <a:tcPr marL="9421" marR="9421" marT="9421" marB="0" anchor="ctr">
                    <a:lnL w="12700" cap="flat" cmpd="sng" algn="ctr">
                      <a:solidFill>
                        <a:schemeClr val="tx1"/>
                      </a:solidFill>
                      <a:prstDash val="sysDot"/>
                      <a:round/>
                      <a:headEnd type="none" w="med" len="med"/>
                      <a:tailEnd type="none" w="med" len="med"/>
                    </a:lnL>
                    <a:lnR w="1905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9050" cap="flat" cmpd="sng" algn="ctr">
                      <a:solidFill>
                        <a:schemeClr val="tx1"/>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436169409"/>
                  </a:ext>
                </a:extLst>
              </a:tr>
            </a:tbl>
          </a:graphicData>
        </a:graphic>
      </p:graphicFrame>
      <p:sp>
        <p:nvSpPr>
          <p:cNvPr id="7" name="Rectangle 6">
            <a:extLst>
              <a:ext uri="{FF2B5EF4-FFF2-40B4-BE49-F238E27FC236}">
                <a16:creationId xmlns:a16="http://schemas.microsoft.com/office/drawing/2014/main" id="{20DEA1A8-12C4-4555-A7C2-04D645D02619}"/>
              </a:ext>
            </a:extLst>
          </p:cNvPr>
          <p:cNvSpPr/>
          <p:nvPr/>
        </p:nvSpPr>
        <p:spPr>
          <a:xfrm>
            <a:off x="10624644" y="608900"/>
            <a:ext cx="674254" cy="319425"/>
          </a:xfrm>
          <a:prstGeom prst="rect">
            <a:avLst/>
          </a:prstGeom>
          <a:solidFill>
            <a:schemeClr val="accent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a:solidFill>
                <a:schemeClr val="tx1"/>
              </a:solidFill>
            </a:endParaRPr>
          </a:p>
        </p:txBody>
      </p:sp>
      <p:sp>
        <p:nvSpPr>
          <p:cNvPr id="9" name="TextBox 8">
            <a:extLst>
              <a:ext uri="{FF2B5EF4-FFF2-40B4-BE49-F238E27FC236}">
                <a16:creationId xmlns:a16="http://schemas.microsoft.com/office/drawing/2014/main" id="{4A1210F9-CE14-4787-8C5F-86D186264E77}"/>
              </a:ext>
            </a:extLst>
          </p:cNvPr>
          <p:cNvSpPr txBox="1"/>
          <p:nvPr/>
        </p:nvSpPr>
        <p:spPr>
          <a:xfrm>
            <a:off x="11403923" y="678203"/>
            <a:ext cx="1415955" cy="180819"/>
          </a:xfrm>
          <a:prstGeom prst="rect">
            <a:avLst/>
          </a:prstGeom>
          <a:noFill/>
        </p:spPr>
        <p:txBody>
          <a:bodyPr wrap="square" lIns="0" tIns="36576" rIns="0" bIns="0" rtlCol="0" anchor="ctr">
            <a:spAutoFit/>
          </a:bodyPr>
          <a:lstStyle/>
          <a:p>
            <a:pPr marL="0" marR="0" lvl="0" indent="0" algn="l" defTabSz="914400" rtl="0" eaLnBrk="1" fontAlgn="base" latinLnBrk="0" hangingPunct="1">
              <a:lnSpc>
                <a:spcPct val="85000"/>
              </a:lnSpc>
              <a:spcBef>
                <a:spcPct val="0"/>
              </a:spcBef>
              <a:spcAft>
                <a:spcPts val="0"/>
              </a:spcAft>
              <a:buClr>
                <a:srgbClr val="FFE600"/>
              </a:buClr>
              <a:buSzPct val="70000"/>
              <a:buFont typeface="Arial" charset="0"/>
              <a:buNone/>
              <a:tabLst/>
              <a:defRPr/>
            </a:pPr>
            <a:r>
              <a:rPr lang="en-GB" sz="1100" i="1">
                <a:solidFill>
                  <a:schemeClr val="tx1">
                    <a:lumMod val="85000"/>
                    <a:lumOff val="15000"/>
                  </a:schemeClr>
                </a:solidFill>
                <a:latin typeface="EYInterstate" panose="02000503020000020004" pitchFamily="2" charset="0"/>
              </a:rPr>
              <a:t>Task to be performed</a:t>
            </a:r>
            <a:endParaRPr kumimoji="0" lang="en-GB" sz="1100" i="1" u="none" strike="noStrike" kern="1200" cap="none" spc="0" normalizeH="0" baseline="0" noProof="0">
              <a:ln>
                <a:noFill/>
              </a:ln>
              <a:solidFill>
                <a:schemeClr val="tx1">
                  <a:lumMod val="85000"/>
                  <a:lumOff val="15000"/>
                </a:schemeClr>
              </a:solidFill>
              <a:effectLst/>
              <a:uLnTx/>
              <a:uFillTx/>
              <a:latin typeface="EYInterstate" panose="02000503020000020004" pitchFamily="2" charset="0"/>
            </a:endParaRPr>
          </a:p>
        </p:txBody>
      </p:sp>
      <p:sp>
        <p:nvSpPr>
          <p:cNvPr id="10" name="Content Placeholder 10">
            <a:extLst>
              <a:ext uri="{FF2B5EF4-FFF2-40B4-BE49-F238E27FC236}">
                <a16:creationId xmlns:a16="http://schemas.microsoft.com/office/drawing/2014/main" id="{67C68D94-1F90-42D4-8EB0-4673A579B700}"/>
              </a:ext>
            </a:extLst>
          </p:cNvPr>
          <p:cNvSpPr txBox="1">
            <a:spLocks/>
          </p:cNvSpPr>
          <p:nvPr/>
        </p:nvSpPr>
        <p:spPr>
          <a:xfrm>
            <a:off x="952436" y="1138176"/>
            <a:ext cx="11268855" cy="607494"/>
          </a:xfrm>
          <a:prstGeom prst="rect">
            <a:avLst/>
          </a:prstGeom>
        </p:spPr>
        <p:txBody>
          <a:bodyPr vert="horz" lIns="0" tIns="0" rIns="0" bIns="0" rtlCol="0" anchor="t" anchorCtr="0">
            <a:noAutofit/>
          </a:bodyPr>
          <a:lstStyle>
            <a:lvl1pPr marL="0" indent="0" algn="l" defTabSz="914400" rtl="0" eaLnBrk="1" latinLnBrk="0" hangingPunct="1">
              <a:spcBef>
                <a:spcPts val="0"/>
              </a:spcBef>
              <a:buClrTx/>
              <a:buSzPct val="70000"/>
              <a:buFont typeface="Arial" pitchFamily="34" charset="0"/>
              <a:buNone/>
              <a:defRPr sz="1200" b="1" kern="1200">
                <a:solidFill>
                  <a:schemeClr val="tx1"/>
                </a:solidFill>
                <a:latin typeface="+mn-lt"/>
                <a:ea typeface="+mn-ea"/>
                <a:cs typeface="+mn-cs"/>
              </a:defRPr>
            </a:lvl1pPr>
            <a:lvl2pPr marL="0" indent="0" algn="l" defTabSz="914400" rtl="0" eaLnBrk="1" latinLnBrk="0" hangingPunct="1">
              <a:spcBef>
                <a:spcPts val="0"/>
              </a:spcBef>
              <a:buClrTx/>
              <a:buSzPct val="70000"/>
              <a:buFont typeface="Arial" pitchFamily="34" charset="0"/>
              <a:buNone/>
              <a:defRPr sz="1100" b="1" kern="1200">
                <a:solidFill>
                  <a:schemeClr val="tx1"/>
                </a:solidFill>
                <a:latin typeface="+mn-lt"/>
                <a:ea typeface="+mn-ea"/>
                <a:cs typeface="+mn-cs"/>
              </a:defRPr>
            </a:lvl2pPr>
            <a:lvl3pPr marL="0" indent="0" algn="l" defTabSz="914400" rtl="0" eaLnBrk="1" latinLnBrk="0" hangingPunct="1">
              <a:spcBef>
                <a:spcPts val="0"/>
              </a:spcBef>
              <a:buClrTx/>
              <a:buSzPct val="70000"/>
              <a:buFont typeface="Arial" pitchFamily="34" charset="0"/>
              <a:buNone/>
              <a:defRPr sz="1050" b="1" kern="1200">
                <a:solidFill>
                  <a:schemeClr val="tx1"/>
                </a:solidFill>
                <a:latin typeface="+mn-lt"/>
                <a:ea typeface="+mn-ea"/>
                <a:cs typeface="+mn-cs"/>
              </a:defRPr>
            </a:lvl3pPr>
            <a:lvl4pPr marL="0" indent="0" algn="l" defTabSz="914400" rtl="0" eaLnBrk="1" latinLnBrk="0" hangingPunct="1">
              <a:spcBef>
                <a:spcPts val="0"/>
              </a:spcBef>
              <a:buClrTx/>
              <a:buSzPct val="70000"/>
              <a:buFont typeface="Arial" pitchFamily="34" charset="0"/>
              <a:buNone/>
              <a:defRPr sz="1000" b="1" kern="1200">
                <a:solidFill>
                  <a:schemeClr val="tx1"/>
                </a:solidFill>
                <a:latin typeface="+mn-lt"/>
                <a:ea typeface="+mn-ea"/>
                <a:cs typeface="+mn-cs"/>
              </a:defRPr>
            </a:lvl4pPr>
            <a:lvl5pPr marL="0" indent="0" algn="l" defTabSz="914400" rtl="0" eaLnBrk="1" latinLnBrk="0" hangingPunct="1">
              <a:spcBef>
                <a:spcPts val="0"/>
              </a:spcBef>
              <a:buClrTx/>
              <a:buSzPct val="70000"/>
              <a:buFont typeface="Arial" pitchFamily="34" charset="0"/>
              <a:buNone/>
              <a:defRPr sz="1000" b="1"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fontAlgn="auto">
              <a:spcAft>
                <a:spcPts val="0"/>
              </a:spcAft>
            </a:pPr>
            <a:r>
              <a:rPr lang="en-US" sz="1400" b="0" dirty="0">
                <a:latin typeface="EYInterstate Light"/>
              </a:rPr>
              <a:t>We plan to create a consistent single data preparation and model building framework across all the 4 models. This would enable us to build and tune the 4 models in parallel.</a:t>
            </a:r>
          </a:p>
        </p:txBody>
      </p:sp>
    </p:spTree>
    <p:extLst>
      <p:ext uri="{BB962C8B-B14F-4D97-AF65-F5344CB8AC3E}">
        <p14:creationId xmlns:p14="http://schemas.microsoft.com/office/powerpoint/2010/main" val="13592129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628184F-BB51-4520-9982-EA93EF50D704}"/>
              </a:ext>
            </a:extLst>
          </p:cNvPr>
          <p:cNvSpPr>
            <a:spLocks noGrp="1"/>
          </p:cNvSpPr>
          <p:nvPr>
            <p:ph type="title"/>
          </p:nvPr>
        </p:nvSpPr>
        <p:spPr/>
        <p:txBody>
          <a:bodyPr/>
          <a:lstStyle/>
          <a:p>
            <a:r>
              <a:rPr lang="en-US" dirty="0"/>
              <a:t>Key assumptions</a:t>
            </a:r>
          </a:p>
        </p:txBody>
      </p:sp>
      <p:graphicFrame>
        <p:nvGraphicFramePr>
          <p:cNvPr id="175" name="Table 174">
            <a:extLst>
              <a:ext uri="{FF2B5EF4-FFF2-40B4-BE49-F238E27FC236}">
                <a16:creationId xmlns:a16="http://schemas.microsoft.com/office/drawing/2014/main" id="{A79314E3-AB79-40C2-B9F3-68EB746E7E2C}"/>
              </a:ext>
            </a:extLst>
          </p:cNvPr>
          <p:cNvGraphicFramePr>
            <a:graphicFrameLocks noGrp="1"/>
          </p:cNvGraphicFramePr>
          <p:nvPr>
            <p:extLst>
              <p:ext uri="{D42A27DB-BD31-4B8C-83A1-F6EECF244321}">
                <p14:modId xmlns:p14="http://schemas.microsoft.com/office/powerpoint/2010/main" val="1819348495"/>
              </p:ext>
            </p:extLst>
          </p:nvPr>
        </p:nvGraphicFramePr>
        <p:xfrm>
          <a:off x="858137" y="1600580"/>
          <a:ext cx="12262437" cy="5343004"/>
        </p:xfrm>
        <a:graphic>
          <a:graphicData uri="http://schemas.openxmlformats.org/drawingml/2006/table">
            <a:tbl>
              <a:tblPr/>
              <a:tblGrid>
                <a:gridCol w="12262437">
                  <a:extLst>
                    <a:ext uri="{9D8B030D-6E8A-4147-A177-3AD203B41FA5}">
                      <a16:colId xmlns:a16="http://schemas.microsoft.com/office/drawing/2014/main" val="2062815865"/>
                    </a:ext>
                  </a:extLst>
                </a:gridCol>
              </a:tblGrid>
              <a:tr h="494039">
                <a:tc>
                  <a:txBody>
                    <a:bodyPr/>
                    <a:lstStyle/>
                    <a:p>
                      <a:pPr marL="171450" marR="0" lvl="0" indent="-171450" algn="l" defTabSz="1266737" rtl="0" eaLnBrk="1" fontAlgn="auto" latinLnBrk="0" hangingPunct="1">
                        <a:lnSpc>
                          <a:spcPct val="100000"/>
                        </a:lnSpc>
                        <a:spcBef>
                          <a:spcPts val="0"/>
                        </a:spcBef>
                        <a:spcAft>
                          <a:spcPts val="0"/>
                        </a:spcAft>
                        <a:buClr>
                          <a:schemeClr val="accent5"/>
                        </a:buClr>
                        <a:buSzTx/>
                        <a:buFont typeface="Arial" panose="020B0604020202020204" pitchFamily="34" charset="0"/>
                        <a:buChar char="•"/>
                        <a:tabLst/>
                        <a:defRPr/>
                      </a:pPr>
                      <a:r>
                        <a:rPr lang="en-US" sz="1400" b="0" kern="1200" dirty="0">
                          <a:solidFill>
                            <a:schemeClr val="bg2"/>
                          </a:solidFill>
                          <a:latin typeface="EYInterstate Light" pitchFamily="2" charset="0"/>
                          <a:ea typeface="+mn-ea"/>
                          <a:cs typeface="+mn-cs"/>
                        </a:rPr>
                        <a:t>Infrastructure procurement, setup and sizing and will be the responsibility of GE. GE will also provide adequately sized model build environment for SAS </a:t>
                      </a:r>
                      <a:r>
                        <a:rPr lang="en-US" sz="1400" b="0" kern="1200" dirty="0" err="1">
                          <a:solidFill>
                            <a:schemeClr val="bg2"/>
                          </a:solidFill>
                          <a:latin typeface="EYInterstate Light" pitchFamily="2" charset="0"/>
                          <a:ea typeface="+mn-ea"/>
                          <a:cs typeface="+mn-cs"/>
                        </a:rPr>
                        <a:t>Viya</a:t>
                      </a:r>
                      <a:r>
                        <a:rPr lang="en-US" sz="1400" b="0" kern="1200" dirty="0">
                          <a:solidFill>
                            <a:schemeClr val="bg2"/>
                          </a:solidFill>
                          <a:latin typeface="EYInterstate Light" pitchFamily="2" charset="0"/>
                          <a:ea typeface="+mn-ea"/>
                          <a:cs typeface="+mn-cs"/>
                        </a:rPr>
                        <a:t> or Python.</a:t>
                      </a:r>
                    </a:p>
                  </a:txBody>
                  <a:tcPr marL="26042" marR="26042" marT="13021" marB="13021" anchor="ctr">
                    <a:lnL w="19050" cap="flat" cmpd="sng" algn="ctr">
                      <a:noFill/>
                      <a:prstDash val="lgDash"/>
                      <a:round/>
                      <a:headEnd type="none" w="med" len="med"/>
                      <a:tailEnd type="none" w="med" len="med"/>
                    </a:lnL>
                    <a:lnR w="19050" cap="flat" cmpd="sng" algn="ctr">
                      <a:noFill/>
                      <a:prstDash val="lgDash"/>
                      <a:round/>
                      <a:headEnd type="none" w="med" len="med"/>
                      <a:tailEnd type="none" w="med" len="med"/>
                    </a:lnR>
                    <a:lnT w="19050" cap="flat" cmpd="sng" algn="ctr">
                      <a:noFill/>
                      <a:prstDash val="lgDash"/>
                      <a:round/>
                      <a:headEnd type="none" w="med" len="med"/>
                      <a:tailEnd type="none" w="med" len="med"/>
                    </a:lnT>
                    <a:lnB>
                      <a:noFill/>
                    </a:lnB>
                    <a:lnTlToBr w="12700" cmpd="sng">
                      <a:noFill/>
                      <a:prstDash val="solid"/>
                    </a:lnTlToBr>
                    <a:lnBlToTr w="12700" cmpd="sng">
                      <a:noFill/>
                      <a:prstDash val="solid"/>
                    </a:lnBlToTr>
                  </a:tcPr>
                </a:tc>
                <a:extLst>
                  <a:ext uri="{0D108BD9-81ED-4DB2-BD59-A6C34878D82A}">
                    <a16:rowId xmlns:a16="http://schemas.microsoft.com/office/drawing/2014/main" val="270687965"/>
                  </a:ext>
                </a:extLst>
              </a:tr>
              <a:tr h="435934">
                <a:tc>
                  <a:txBody>
                    <a:bodyPr/>
                    <a:lstStyle/>
                    <a:p>
                      <a:pPr marL="171450" indent="-171450" algn="l">
                        <a:buClr>
                          <a:schemeClr val="accent5"/>
                        </a:buClr>
                        <a:buFont typeface="Arial" panose="020B0604020202020204" pitchFamily="34" charset="0"/>
                        <a:buChar char="•"/>
                      </a:pPr>
                      <a:r>
                        <a:rPr lang="en-US" sz="1400" b="0" kern="1200" dirty="0">
                          <a:solidFill>
                            <a:schemeClr val="bg2"/>
                          </a:solidFill>
                          <a:latin typeface="EYInterstate Light" pitchFamily="2" charset="0"/>
                          <a:ea typeface="+mn-ea"/>
                          <a:cs typeface="+mn-cs"/>
                        </a:rPr>
                        <a:t>Our estimation is based on building </a:t>
                      </a:r>
                      <a:r>
                        <a:rPr lang="en-US" sz="1400" b="1" kern="1200" dirty="0">
                          <a:solidFill>
                            <a:schemeClr val="bg2"/>
                          </a:solidFill>
                          <a:latin typeface="EYInterstate Light" pitchFamily="2" charset="0"/>
                          <a:ea typeface="+mn-ea"/>
                          <a:cs typeface="+mn-cs"/>
                        </a:rPr>
                        <a:t>1 Propensity-to-buy model</a:t>
                      </a:r>
                      <a:r>
                        <a:rPr lang="en-US" sz="1400" b="0" kern="1200" dirty="0">
                          <a:solidFill>
                            <a:schemeClr val="bg2"/>
                          </a:solidFill>
                          <a:latin typeface="EYInterstate Light" pitchFamily="2" charset="0"/>
                          <a:ea typeface="+mn-ea"/>
                          <a:cs typeface="+mn-cs"/>
                        </a:rPr>
                        <a:t> across each of the products i.e. </a:t>
                      </a:r>
                      <a:r>
                        <a:rPr lang="en-US" sz="1400" b="0" kern="1200" noProof="0" dirty="0">
                          <a:solidFill>
                            <a:schemeClr val="bg2"/>
                          </a:solidFill>
                          <a:latin typeface="EYInterstate Light" pitchFamily="2" charset="0"/>
                          <a:ea typeface="+mn-ea"/>
                          <a:cs typeface="+mn-cs"/>
                        </a:rPr>
                        <a:t>Investment Linked Insurance, Health Insurance, Term Life Insurance and Whole Life Insurance</a:t>
                      </a:r>
                      <a:r>
                        <a:rPr lang="en-US" sz="1400" b="0" kern="1200" dirty="0">
                          <a:solidFill>
                            <a:schemeClr val="bg2"/>
                          </a:solidFill>
                          <a:latin typeface="EYInterstate Light" pitchFamily="2" charset="0"/>
                          <a:ea typeface="+mn-ea"/>
                          <a:cs typeface="+mn-cs"/>
                        </a:rPr>
                        <a:t> for GELS. </a:t>
                      </a:r>
                    </a:p>
                  </a:txBody>
                  <a:tcPr marL="26042" marR="26042" marT="13021" marB="13021" anchor="ctr">
                    <a:lnL w="19050" cap="flat" cmpd="sng" algn="ctr">
                      <a:noFill/>
                      <a:prstDash val="lgDash"/>
                      <a:round/>
                      <a:headEnd type="none" w="med" len="med"/>
                      <a:tailEnd type="none" w="med" len="med"/>
                    </a:lnL>
                    <a:lnR w="19050" cap="flat" cmpd="sng" algn="ctr">
                      <a:noFill/>
                      <a:prstDash val="lgDash"/>
                      <a:round/>
                      <a:headEnd type="none" w="med" len="med"/>
                      <a:tailEnd type="none" w="med" len="med"/>
                    </a:lnR>
                    <a:lnT w="19050" cap="flat" cmpd="sng" algn="ctr">
                      <a:noFill/>
                      <a:prstDash val="lgDash"/>
                      <a:round/>
                      <a:headEnd type="none" w="med" len="med"/>
                      <a:tailEnd type="none" w="med" len="med"/>
                    </a:lnT>
                    <a:lnB>
                      <a:noFill/>
                    </a:lnB>
                    <a:lnTlToBr w="12700" cmpd="sng">
                      <a:noFill/>
                      <a:prstDash val="solid"/>
                    </a:lnTlToBr>
                    <a:lnBlToTr w="12700" cmpd="sng">
                      <a:noFill/>
                      <a:prstDash val="solid"/>
                    </a:lnBlToTr>
                  </a:tcPr>
                </a:tc>
                <a:extLst>
                  <a:ext uri="{0D108BD9-81ED-4DB2-BD59-A6C34878D82A}">
                    <a16:rowId xmlns:a16="http://schemas.microsoft.com/office/drawing/2014/main" val="1742240297"/>
                  </a:ext>
                </a:extLst>
              </a:tr>
              <a:tr h="843825">
                <a:tc>
                  <a:txBody>
                    <a:bodyPr/>
                    <a:lstStyle/>
                    <a:p>
                      <a:pPr marL="171450" marR="0" lvl="0" indent="-171450" algn="l" defTabSz="1266737" rtl="0" eaLnBrk="1" fontAlgn="auto" latinLnBrk="0" hangingPunct="1">
                        <a:lnSpc>
                          <a:spcPct val="100000"/>
                        </a:lnSpc>
                        <a:spcBef>
                          <a:spcPts val="0"/>
                        </a:spcBef>
                        <a:spcAft>
                          <a:spcPts val="0"/>
                        </a:spcAft>
                        <a:buClr>
                          <a:schemeClr val="accent5"/>
                        </a:buClr>
                        <a:buSzTx/>
                        <a:buFont typeface="Arial" panose="020B0604020202020204" pitchFamily="34" charset="0"/>
                        <a:buChar char="•"/>
                        <a:tabLst/>
                        <a:defRPr/>
                      </a:pPr>
                      <a:r>
                        <a:rPr lang="en-US" sz="1400" b="0" kern="1200">
                          <a:solidFill>
                            <a:schemeClr val="bg2"/>
                          </a:solidFill>
                          <a:latin typeface="EYInterstate Light" pitchFamily="2" charset="0"/>
                          <a:ea typeface="+mn-ea"/>
                          <a:cs typeface="+mn-cs"/>
                        </a:rPr>
                        <a:t>GE would be responsible for acquiring and provisioning the data as per the agreed data taxonomy from source system to a common server/data base. GE and EY would agree on the historical data (7 years available at a transaction level) required to to minimize model bias.</a:t>
                      </a:r>
                    </a:p>
                  </a:txBody>
                  <a:tcPr marL="26042" marR="26042" marT="13021" marB="13021" anchor="ctr">
                    <a:lnL w="19050" cap="flat" cmpd="sng" algn="ctr">
                      <a:noFill/>
                      <a:prstDash val="lgDash"/>
                      <a:round/>
                      <a:headEnd type="none" w="med" len="med"/>
                      <a:tailEnd type="none" w="med" len="med"/>
                    </a:lnL>
                    <a:lnR w="19050" cap="flat" cmpd="sng" algn="ctr">
                      <a:noFill/>
                      <a:prstDash val="lgDash"/>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3126539035"/>
                  </a:ext>
                </a:extLst>
              </a:tr>
              <a:tr h="480429">
                <a:tc>
                  <a:txBody>
                    <a:bodyPr/>
                    <a:lstStyle/>
                    <a:p>
                      <a:pPr marL="171450" marR="0" lvl="0" indent="-171450" algn="l" defTabSz="1266737" rtl="0" eaLnBrk="1" fontAlgn="auto" latinLnBrk="0" hangingPunct="1">
                        <a:lnSpc>
                          <a:spcPct val="100000"/>
                        </a:lnSpc>
                        <a:spcBef>
                          <a:spcPts val="0"/>
                        </a:spcBef>
                        <a:spcAft>
                          <a:spcPts val="0"/>
                        </a:spcAft>
                        <a:buClr>
                          <a:schemeClr val="accent5"/>
                        </a:buClr>
                        <a:buSzTx/>
                        <a:buFont typeface="Arial" panose="020B0604020202020204" pitchFamily="34" charset="0"/>
                        <a:buChar char="•"/>
                        <a:tabLst/>
                        <a:defRPr/>
                      </a:pPr>
                      <a:r>
                        <a:rPr lang="en-US" sz="1400" b="0" kern="1200">
                          <a:solidFill>
                            <a:schemeClr val="bg2"/>
                          </a:solidFill>
                          <a:latin typeface="EYInterstate Light" pitchFamily="2" charset="0"/>
                          <a:ea typeface="+mn-ea"/>
                          <a:cs typeface="+mn-cs"/>
                        </a:rPr>
                        <a:t>Data quality assessment would include report on which variables are fit to be used for model building. The thresholds to confirm the data usage for model building &amp; testing will be mutually agreed between GE and EY. </a:t>
                      </a:r>
                    </a:p>
                  </a:txBody>
                  <a:tcPr marL="26042" marR="26042" marT="13021" marB="13021" anchor="ctr">
                    <a:lnL w="19050" cap="flat" cmpd="sng" algn="ctr">
                      <a:noFill/>
                      <a:prstDash val="lgDash"/>
                      <a:round/>
                      <a:headEnd type="none" w="med" len="med"/>
                      <a:tailEnd type="none" w="med" len="med"/>
                    </a:lnL>
                    <a:lnR w="19050" cap="flat" cmpd="sng" algn="ctr">
                      <a:noFill/>
                      <a:prstDash val="lgDash"/>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3837540"/>
                  </a:ext>
                </a:extLst>
              </a:tr>
              <a:tr h="406400">
                <a:tc>
                  <a:txBody>
                    <a:bodyPr/>
                    <a:lstStyle/>
                    <a:p>
                      <a:pPr marL="171450" marR="0" lvl="0" indent="-171450" algn="l" defTabSz="1266737" rtl="0" eaLnBrk="1" fontAlgn="auto" latinLnBrk="0" hangingPunct="1">
                        <a:lnSpc>
                          <a:spcPct val="100000"/>
                        </a:lnSpc>
                        <a:spcBef>
                          <a:spcPts val="0"/>
                        </a:spcBef>
                        <a:spcAft>
                          <a:spcPts val="0"/>
                        </a:spcAft>
                        <a:buClr>
                          <a:schemeClr val="accent5"/>
                        </a:buClr>
                        <a:buSzTx/>
                        <a:buFont typeface="Arial" panose="020B0604020202020204" pitchFamily="34" charset="0"/>
                        <a:buChar char="•"/>
                        <a:tabLst/>
                        <a:defRPr/>
                      </a:pPr>
                      <a:r>
                        <a:rPr lang="en-US" sz="1400" b="0" kern="1200" dirty="0">
                          <a:solidFill>
                            <a:schemeClr val="bg2"/>
                          </a:solidFill>
                          <a:latin typeface="EYInterstate Light" pitchFamily="2" charset="0"/>
                          <a:ea typeface="+mn-ea"/>
                          <a:cs typeface="+mn-cs"/>
                        </a:rPr>
                        <a:t>Statistical and ML methods like mean, median and KNN imputations; HBOS, LOF outlier detection are to be used for data cleansing.</a:t>
                      </a:r>
                    </a:p>
                  </a:txBody>
                  <a:tcPr marL="26042" marR="26042" marT="13021" marB="13021" anchor="ctr">
                    <a:lnL w="19050" cap="flat" cmpd="sng" algn="ctr">
                      <a:noFill/>
                      <a:prstDash val="lgDash"/>
                      <a:round/>
                      <a:headEnd type="none" w="med" len="med"/>
                      <a:tailEnd type="none" w="med" len="med"/>
                    </a:lnL>
                    <a:lnR w="19050" cap="flat" cmpd="sng" algn="ctr">
                      <a:noFill/>
                      <a:prstDash val="lgDash"/>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3471983686"/>
                  </a:ext>
                </a:extLst>
              </a:tr>
              <a:tr h="719267">
                <a:tc>
                  <a:txBody>
                    <a:bodyPr/>
                    <a:lstStyle/>
                    <a:p>
                      <a:pPr marL="171450" marR="0" lvl="0" indent="-171450" algn="l" defTabSz="1266737" rtl="0" eaLnBrk="1" fontAlgn="auto" latinLnBrk="0" hangingPunct="1">
                        <a:lnSpc>
                          <a:spcPct val="100000"/>
                        </a:lnSpc>
                        <a:spcBef>
                          <a:spcPts val="0"/>
                        </a:spcBef>
                        <a:spcAft>
                          <a:spcPts val="0"/>
                        </a:spcAft>
                        <a:buClr>
                          <a:schemeClr val="accent5"/>
                        </a:buClr>
                        <a:buSzTx/>
                        <a:buFont typeface="Arial" panose="020B0604020202020204" pitchFamily="34" charset="0"/>
                        <a:buChar char="•"/>
                        <a:tabLst/>
                        <a:defRPr/>
                      </a:pPr>
                      <a:r>
                        <a:rPr lang="en-US" sz="1400" b="0" kern="1200" dirty="0">
                          <a:solidFill>
                            <a:schemeClr val="bg2"/>
                          </a:solidFill>
                          <a:latin typeface="EYInterstate Light" pitchFamily="2" charset="0"/>
                          <a:ea typeface="+mn-ea"/>
                          <a:cs typeface="+mn-cs"/>
                        </a:rPr>
                        <a:t>EY would undertake max 2-3 iterations per model to achieve the desired performance thresholds. GE and EY would together agree on the interpretability of the model features and results before finalizing them.</a:t>
                      </a:r>
                    </a:p>
                  </a:txBody>
                  <a:tcPr marL="26042" marR="26042" marT="13021" marB="13021" anchor="ctr">
                    <a:lnL w="19050" cap="flat" cmpd="sng" algn="ctr">
                      <a:noFill/>
                      <a:prstDash val="lgDash"/>
                      <a:round/>
                      <a:headEnd type="none" w="med" len="med"/>
                      <a:tailEnd type="none" w="med" len="med"/>
                    </a:lnL>
                    <a:lnR w="19050" cap="flat" cmpd="sng" algn="ctr">
                      <a:noFill/>
                      <a:prstDash val="lgDash"/>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49129194"/>
                  </a:ext>
                </a:extLst>
              </a:tr>
              <a:tr h="794327">
                <a:tc>
                  <a:txBody>
                    <a:bodyPr/>
                    <a:lstStyle/>
                    <a:p>
                      <a:pPr marL="171450" indent="-171450" algn="l">
                        <a:buClr>
                          <a:schemeClr val="accent5"/>
                        </a:buClr>
                        <a:buFont typeface="Arial" panose="020B0604020202020204" pitchFamily="34" charset="0"/>
                        <a:buChar char="•"/>
                      </a:pPr>
                      <a:r>
                        <a:rPr lang="en-US" sz="1400" b="0" kern="1200" dirty="0">
                          <a:solidFill>
                            <a:schemeClr val="bg2"/>
                          </a:solidFill>
                          <a:latin typeface="EYInterstate Light" pitchFamily="2" charset="0"/>
                          <a:ea typeface="+mn-ea"/>
                          <a:cs typeface="+mn-cs"/>
                        </a:rPr>
                        <a:t>The deliverables will include</a:t>
                      </a:r>
                      <a:r>
                        <a:rPr lang="en-US" sz="1400" b="1" kern="1200" dirty="0">
                          <a:solidFill>
                            <a:schemeClr val="bg2"/>
                          </a:solidFill>
                          <a:latin typeface="EYInterstate Light" pitchFamily="2" charset="0"/>
                          <a:ea typeface="+mn-ea"/>
                          <a:cs typeface="+mn-cs"/>
                        </a:rPr>
                        <a:t> model build/run scripts, model output scores, documentation </a:t>
                      </a:r>
                      <a:r>
                        <a:rPr lang="en-US" sz="1400" b="0" kern="1200" dirty="0">
                          <a:solidFill>
                            <a:schemeClr val="bg2"/>
                          </a:solidFill>
                          <a:latin typeface="EYInterstate Light" pitchFamily="2" charset="0"/>
                          <a:ea typeface="+mn-ea"/>
                          <a:cs typeface="+mn-cs"/>
                        </a:rPr>
                        <a:t>on the steps involved in the development of the model, identification of the champion model and recommendations on model operationalization</a:t>
                      </a:r>
                      <a:r>
                        <a:rPr lang="en-US" sz="1400" b="1" kern="1200" dirty="0">
                          <a:solidFill>
                            <a:schemeClr val="bg2"/>
                          </a:solidFill>
                          <a:latin typeface="EYInterstate Light" pitchFamily="2" charset="0"/>
                          <a:ea typeface="+mn-ea"/>
                          <a:cs typeface="+mn-cs"/>
                        </a:rPr>
                        <a:t> </a:t>
                      </a:r>
                      <a:r>
                        <a:rPr lang="en-US" sz="1400" b="0" kern="1200" dirty="0">
                          <a:solidFill>
                            <a:schemeClr val="bg2"/>
                          </a:solidFill>
                          <a:latin typeface="EYInterstate Light" pitchFamily="2" charset="0"/>
                          <a:ea typeface="+mn-ea"/>
                          <a:cs typeface="+mn-cs"/>
                        </a:rPr>
                        <a:t>and</a:t>
                      </a:r>
                      <a:r>
                        <a:rPr lang="en-US" sz="1400" b="1" kern="1200" dirty="0">
                          <a:solidFill>
                            <a:schemeClr val="bg2"/>
                          </a:solidFill>
                          <a:latin typeface="EYInterstate Light" pitchFamily="2" charset="0"/>
                          <a:ea typeface="+mn-ea"/>
                          <a:cs typeface="+mn-cs"/>
                        </a:rPr>
                        <a:t> performance assessments. </a:t>
                      </a:r>
                    </a:p>
                    <a:p>
                      <a:pPr marL="171450" indent="-171450" algn="l">
                        <a:buClr>
                          <a:schemeClr val="accent5"/>
                        </a:buClr>
                        <a:buFont typeface="Arial" panose="020B0604020202020204" pitchFamily="34" charset="0"/>
                        <a:buChar char="•"/>
                      </a:pPr>
                      <a:endParaRPr lang="en-US" sz="1400" b="1" kern="1200" dirty="0">
                        <a:solidFill>
                          <a:schemeClr val="bg2"/>
                        </a:solidFill>
                        <a:latin typeface="EYInterstate Light" pitchFamily="2" charset="0"/>
                        <a:ea typeface="+mn-ea"/>
                        <a:cs typeface="+mn-cs"/>
                      </a:endParaRPr>
                    </a:p>
                    <a:p>
                      <a:pPr marL="171450" indent="-171450" algn="l">
                        <a:buClr>
                          <a:schemeClr val="accent5"/>
                        </a:buClr>
                        <a:buFont typeface="Arial" panose="020B0604020202020204" pitchFamily="34" charset="0"/>
                        <a:buChar char="•"/>
                      </a:pPr>
                      <a:r>
                        <a:rPr lang="en-US" sz="1400" b="0" kern="1200" dirty="0">
                          <a:solidFill>
                            <a:schemeClr val="bg2"/>
                          </a:solidFill>
                          <a:latin typeface="EYInterstate Light" pitchFamily="2" charset="0"/>
                          <a:ea typeface="+mn-ea"/>
                          <a:cs typeface="+mn-cs"/>
                        </a:rPr>
                        <a:t>While EY will try to achieve the requested performance thresholds for AUC and Recall across the models, we would need to asses the data availability and quality to confirm the same.</a:t>
                      </a:r>
                    </a:p>
                    <a:p>
                      <a:pPr marL="171450" indent="-171450" algn="l">
                        <a:buClr>
                          <a:schemeClr val="accent5"/>
                        </a:buClr>
                        <a:buFont typeface="Arial" panose="020B0604020202020204" pitchFamily="34" charset="0"/>
                        <a:buChar char="•"/>
                      </a:pPr>
                      <a:endParaRPr lang="en-US" sz="1400" b="0" kern="1200" dirty="0">
                        <a:solidFill>
                          <a:schemeClr val="bg2"/>
                        </a:solidFill>
                        <a:latin typeface="EYInterstate Light" pitchFamily="2" charset="0"/>
                        <a:ea typeface="+mn-ea"/>
                        <a:cs typeface="+mn-cs"/>
                      </a:endParaRPr>
                    </a:p>
                    <a:p>
                      <a:pPr marL="171450" indent="-171450" algn="l">
                        <a:buClr>
                          <a:schemeClr val="accent5"/>
                        </a:buClr>
                        <a:buFont typeface="Arial" panose="020B0604020202020204" pitchFamily="34" charset="0"/>
                        <a:buChar char="•"/>
                      </a:pPr>
                      <a:r>
                        <a:rPr lang="en-US" sz="1400" b="0" kern="1200" dirty="0">
                          <a:solidFill>
                            <a:schemeClr val="bg2"/>
                          </a:solidFill>
                          <a:latin typeface="EYInterstate Light" pitchFamily="2" charset="0"/>
                          <a:ea typeface="+mn-ea"/>
                          <a:cs typeface="+mn-cs"/>
                        </a:rPr>
                        <a:t>We would like to propose model precision of 65%+. However, one of the key considerations for model precision is availability and quality of the required data which will be assessed during the first 3 weeks of the project. Any significant data gap and its impact on precision will be discussed and the corresponding source data remediation will be mutually agreed with GE.</a:t>
                      </a:r>
                    </a:p>
                  </a:txBody>
                  <a:tcPr marL="26042" marR="26042" marT="13021" marB="13021" anchor="ctr">
                    <a:lnL w="19050" cap="flat" cmpd="sng" algn="ctr">
                      <a:noFill/>
                      <a:prstDash val="lgDash"/>
                      <a:round/>
                      <a:headEnd type="none" w="med" len="med"/>
                      <a:tailEnd type="none" w="med" len="med"/>
                    </a:lnL>
                    <a:lnR w="19050" cap="flat" cmpd="sng" algn="ctr">
                      <a:noFill/>
                      <a:prstDash val="lgDash"/>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331102393"/>
                  </a:ext>
                </a:extLst>
              </a:tr>
            </a:tbl>
          </a:graphicData>
        </a:graphic>
      </p:graphicFrame>
      <p:sp>
        <p:nvSpPr>
          <p:cNvPr id="176" name="Rectangle 175">
            <a:extLst>
              <a:ext uri="{FF2B5EF4-FFF2-40B4-BE49-F238E27FC236}">
                <a16:creationId xmlns:a16="http://schemas.microsoft.com/office/drawing/2014/main" id="{6385C9B1-09BD-4A71-A7B0-C8E24C4341D8}"/>
              </a:ext>
            </a:extLst>
          </p:cNvPr>
          <p:cNvSpPr/>
          <p:nvPr/>
        </p:nvSpPr>
        <p:spPr>
          <a:xfrm>
            <a:off x="795556" y="1059297"/>
            <a:ext cx="10379264" cy="359015"/>
          </a:xfrm>
          <a:prstGeom prst="rect">
            <a:avLst/>
          </a:prstGeom>
        </p:spPr>
        <p:txBody>
          <a:bodyPr wrap="square">
            <a:noAutofit/>
          </a:bodyPr>
          <a:lstStyle/>
          <a:p>
            <a:pPr marL="0" marR="0" lvl="0" indent="0" algn="l" defTabSz="914400" rtl="0" eaLnBrk="1" fontAlgn="base" latinLnBrk="0" hangingPunct="1">
              <a:lnSpc>
                <a:spcPct val="100000"/>
              </a:lnSpc>
              <a:spcBef>
                <a:spcPct val="0"/>
              </a:spcBef>
              <a:spcAft>
                <a:spcPts val="600"/>
              </a:spcAft>
              <a:buClr>
                <a:srgbClr val="FFE600"/>
              </a:buClr>
              <a:buSzPct val="70000"/>
              <a:buFont typeface="Arial" charset="0"/>
              <a:buNone/>
              <a:tabLst/>
              <a:defRPr/>
            </a:pPr>
            <a:r>
              <a:rPr kumimoji="0" lang="en-US" sz="1600" b="1" i="0" u="none" strike="noStrike" kern="1200" cap="none" spc="0" normalizeH="0" baseline="0" noProof="0">
                <a:ln>
                  <a:noFill/>
                </a:ln>
                <a:solidFill>
                  <a:srgbClr val="646464"/>
                </a:solidFill>
                <a:effectLst/>
                <a:uLnTx/>
                <a:uFillTx/>
                <a:latin typeface="EYInterstate Light" pitchFamily="2" charset="0"/>
                <a:ea typeface="+mn-ea"/>
                <a:cs typeface="+mn-cs"/>
              </a:rPr>
              <a:t>We have listed down the assumptions that will define our scope of work and enable us to meet the timeline:  </a:t>
            </a:r>
            <a:endParaRPr kumimoji="0" lang="en-GB" sz="1600" b="1" i="0" u="none" strike="noStrike" kern="1200" cap="none" spc="0" normalizeH="0" baseline="0" noProof="0">
              <a:ln>
                <a:noFill/>
              </a:ln>
              <a:solidFill>
                <a:srgbClr val="646464"/>
              </a:solidFill>
              <a:effectLst/>
              <a:uLnTx/>
              <a:uFillTx/>
              <a:latin typeface="EYInterstate Light" pitchFamily="2" charset="0"/>
              <a:ea typeface="+mn-ea"/>
              <a:cs typeface="+mn-cs"/>
            </a:endParaRPr>
          </a:p>
        </p:txBody>
      </p:sp>
    </p:spTree>
    <p:extLst>
      <p:ext uri="{BB962C8B-B14F-4D97-AF65-F5344CB8AC3E}">
        <p14:creationId xmlns:p14="http://schemas.microsoft.com/office/powerpoint/2010/main" val="346324037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7A9C3EF-EC79-EF41-AEE2-C98A0561165D}"/>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7106" name="think-cell Slide" r:id="rId6" imgW="7772400" imgH="10058400" progId="TCLayout.ActiveDocument.1">
                  <p:embed/>
                </p:oleObj>
              </mc:Choice>
              <mc:Fallback>
                <p:oleObj name="think-cell Slide" r:id="rId6" imgW="7772400" imgH="10058400" progId="TCLayout.ActiveDocument.1">
                  <p:embed/>
                  <p:pic>
                    <p:nvPicPr>
                      <p:cNvPr id="4" name="Object 3" hidden="1">
                        <a:extLst>
                          <a:ext uri="{FF2B5EF4-FFF2-40B4-BE49-F238E27FC236}">
                            <a16:creationId xmlns:a16="http://schemas.microsoft.com/office/drawing/2014/main" id="{A7A9C3EF-EC79-EF41-AEE2-C98A0561165D}"/>
                          </a:ext>
                        </a:extLst>
                      </p:cNvPr>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7389429-FF38-8644-86AD-26B3FFE70C1E}"/>
              </a:ext>
            </a:extLst>
          </p:cNvPr>
          <p:cNvSpPr/>
          <p:nvPr>
            <p:custDataLst>
              <p:tags r:id="rId3"/>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marR="0" lvl="0" indent="0" algn="ctr" defTabSz="914400" rtl="0" eaLnBrk="1" fontAlgn="base" latinLnBrk="0" hangingPunct="1">
              <a:lnSpc>
                <a:spcPct val="100000"/>
              </a:lnSpc>
              <a:spcBef>
                <a:spcPct val="0"/>
              </a:spcBef>
              <a:spcAft>
                <a:spcPct val="50000"/>
              </a:spcAft>
              <a:buClr>
                <a:srgbClr val="FFE600"/>
              </a:buClr>
              <a:buSzPct val="80000"/>
              <a:buFont typeface="Arial" charset="0"/>
              <a:buNone/>
              <a:tabLst/>
              <a:defRPr/>
            </a:pPr>
            <a:endParaRPr kumimoji="0" lang="en-GB" sz="2400" b="1" i="0" u="none" strike="noStrike" kern="1200" cap="none" spc="0" normalizeH="0" baseline="0" noProof="0">
              <a:ln>
                <a:noFill/>
              </a:ln>
              <a:solidFill>
                <a:srgbClr val="646464"/>
              </a:solidFill>
              <a:effectLst/>
              <a:uLnTx/>
              <a:uFillTx/>
              <a:latin typeface="EYInterstate" panose="02000503020000020004" pitchFamily="2" charset="0"/>
              <a:ea typeface="+mn-ea"/>
              <a:cs typeface="+mn-cs"/>
              <a:sym typeface="EYInterstate" panose="02000503020000020004" pitchFamily="2" charset="0"/>
            </a:endParaRPr>
          </a:p>
        </p:txBody>
      </p:sp>
      <p:sp>
        <p:nvSpPr>
          <p:cNvPr id="2" name="Title 1">
            <a:extLst>
              <a:ext uri="{FF2B5EF4-FFF2-40B4-BE49-F238E27FC236}">
                <a16:creationId xmlns:a16="http://schemas.microsoft.com/office/drawing/2014/main" id="{C4C23136-0F1A-2043-A138-823BF069E3FE}"/>
              </a:ext>
            </a:extLst>
          </p:cNvPr>
          <p:cNvSpPr>
            <a:spLocks noGrp="1"/>
          </p:cNvSpPr>
          <p:nvPr>
            <p:ph type="title"/>
          </p:nvPr>
        </p:nvSpPr>
        <p:spPr/>
        <p:txBody>
          <a:bodyPr/>
          <a:lstStyle/>
          <a:p>
            <a:r>
              <a:rPr lang="en-GB">
                <a:solidFill>
                  <a:srgbClr val="FFFFFF"/>
                </a:solidFill>
              </a:rPr>
              <a:t>Table of Contents</a:t>
            </a:r>
            <a:endParaRPr lang="en-GB"/>
          </a:p>
        </p:txBody>
      </p:sp>
      <p:sp>
        <p:nvSpPr>
          <p:cNvPr id="5" name="Rectangle 4">
            <a:extLst>
              <a:ext uri="{FF2B5EF4-FFF2-40B4-BE49-F238E27FC236}">
                <a16:creationId xmlns:a16="http://schemas.microsoft.com/office/drawing/2014/main" id="{1A6C3D31-1A5E-F641-AEFF-8DE3943F771A}"/>
              </a:ext>
            </a:extLst>
          </p:cNvPr>
          <p:cNvSpPr/>
          <p:nvPr/>
        </p:nvSpPr>
        <p:spPr>
          <a:xfrm>
            <a:off x="943904" y="1906135"/>
            <a:ext cx="9791829" cy="4616648"/>
          </a:xfrm>
          <a:prstGeom prst="rect">
            <a:avLst/>
          </a:prstGeom>
        </p:spPr>
        <p:txBody>
          <a:bodyPr wrap="square" lIns="90000" anchor="t" anchorCtr="0">
            <a:spAutoFit/>
          </a:bodyPr>
          <a:lstStyle/>
          <a:p>
            <a:pPr marL="742950" lvl="3" indent="-742950" defTabSz="1042342">
              <a:spcAft>
                <a:spcPts val="1200"/>
              </a:spcAft>
              <a:buClr>
                <a:srgbClr val="FFE600"/>
              </a:buClr>
              <a:buSzPct val="100000"/>
              <a:buFont typeface="+mj-lt"/>
              <a:buAutoNum type="arabicPeriod"/>
              <a:defRPr/>
            </a:pPr>
            <a:r>
              <a:rPr lang="en-US" sz="2800" b="1" kern="0" dirty="0">
                <a:solidFill>
                  <a:srgbClr val="646464"/>
                </a:solidFill>
                <a:latin typeface="EYInterstate" panose="02000503020000020004" pitchFamily="2" charset="0"/>
              </a:rPr>
              <a:t>Our understanding of your needs</a:t>
            </a:r>
          </a:p>
          <a:p>
            <a:pPr marL="742950" lvl="3" indent="-742950" defTabSz="1042342">
              <a:spcAft>
                <a:spcPts val="1200"/>
              </a:spcAft>
              <a:buClr>
                <a:srgbClr val="FFE600"/>
              </a:buClr>
              <a:buSzPct val="100000"/>
              <a:buFont typeface="+mj-lt"/>
              <a:buAutoNum type="arabicPeriod"/>
              <a:defRPr/>
            </a:pPr>
            <a:r>
              <a:rPr lang="en-US" sz="2800" b="1" kern="0" dirty="0">
                <a:solidFill>
                  <a:srgbClr val="646464"/>
                </a:solidFill>
                <a:latin typeface="EYInterstate" panose="02000503020000020004" pitchFamily="2" charset="0"/>
              </a:rPr>
              <a:t>Our capabilities </a:t>
            </a:r>
            <a:r>
              <a:rPr kumimoji="0" lang="en-US" sz="2800" b="1" i="0" u="none" strike="noStrike" kern="0" cap="none" spc="0" normalizeH="0" baseline="0" noProof="0" dirty="0">
                <a:ln>
                  <a:noFill/>
                </a:ln>
                <a:solidFill>
                  <a:srgbClr val="646464"/>
                </a:solidFill>
                <a:effectLst/>
                <a:uLnTx/>
                <a:uFillTx/>
                <a:latin typeface="EYInterstate" panose="02000503020000020004" pitchFamily="2" charset="0"/>
                <a:ea typeface="+mn-ea"/>
                <a:cs typeface="+mn-cs"/>
              </a:rPr>
              <a:t> </a:t>
            </a:r>
          </a:p>
          <a:p>
            <a:pPr marL="742950" lvl="3" indent="-742950" defTabSz="1042342">
              <a:spcAft>
                <a:spcPts val="1200"/>
              </a:spcAft>
              <a:buClr>
                <a:srgbClr val="FFE600"/>
              </a:buClr>
              <a:buSzPct val="100000"/>
              <a:buFont typeface="+mj-lt"/>
              <a:buAutoNum type="arabicPeriod"/>
              <a:defRPr/>
            </a:pPr>
            <a:r>
              <a:rPr lang="en-US" sz="2800" b="1" kern="0" dirty="0">
                <a:solidFill>
                  <a:srgbClr val="646464"/>
                </a:solidFill>
                <a:latin typeface="EYInterstate" panose="02000503020000020004" pitchFamily="2" charset="0"/>
              </a:rPr>
              <a:t>Our approach</a:t>
            </a:r>
          </a:p>
          <a:p>
            <a:pPr marL="742950" lvl="3" indent="-742950" defTabSz="1042342">
              <a:spcAft>
                <a:spcPts val="1200"/>
              </a:spcAft>
              <a:buClr>
                <a:srgbClr val="FFE600"/>
              </a:buClr>
              <a:buSzPct val="100000"/>
              <a:buFont typeface="+mj-lt"/>
              <a:buAutoNum type="arabicPeriod"/>
              <a:defRPr/>
            </a:pPr>
            <a:r>
              <a:rPr lang="en-US" sz="2800" b="1" kern="0" dirty="0">
                <a:solidFill>
                  <a:srgbClr val="646464"/>
                </a:solidFill>
                <a:latin typeface="EYInterstate" panose="02000503020000020004" pitchFamily="2" charset="0"/>
              </a:rPr>
              <a:t>Our delivery</a:t>
            </a:r>
          </a:p>
          <a:p>
            <a:pPr marL="742950" lvl="3" indent="-742950" defTabSz="1042342">
              <a:spcAft>
                <a:spcPts val="1200"/>
              </a:spcAft>
              <a:buClr>
                <a:srgbClr val="FFE600"/>
              </a:buClr>
              <a:buSzPct val="100000"/>
              <a:buFont typeface="+mj-lt"/>
              <a:buAutoNum type="arabicPeriod"/>
              <a:defRPr/>
            </a:pPr>
            <a:r>
              <a:rPr lang="en-US" sz="2800" b="1" kern="0" dirty="0">
                <a:solidFill>
                  <a:srgbClr val="646464"/>
                </a:solidFill>
                <a:latin typeface="EYInterstate" panose="02000503020000020004" pitchFamily="2" charset="0"/>
              </a:rPr>
              <a:t>Our credentials</a:t>
            </a:r>
          </a:p>
          <a:p>
            <a:pPr marL="742950" marR="0" lvl="3" indent="-742950" algn="l" defTabSz="1042342" rtl="0" eaLnBrk="1" fontAlgn="base" latinLnBrk="0" hangingPunct="1">
              <a:lnSpc>
                <a:spcPct val="100000"/>
              </a:lnSpc>
              <a:spcBef>
                <a:spcPct val="0"/>
              </a:spcBef>
              <a:spcAft>
                <a:spcPts val="1200"/>
              </a:spcAft>
              <a:buClr>
                <a:srgbClr val="FFE600"/>
              </a:buClr>
              <a:buSzPct val="100000"/>
              <a:buFont typeface="+mj-lt"/>
              <a:buAutoNum type="arabicPeriod"/>
              <a:tabLst/>
              <a:defRPr/>
            </a:pPr>
            <a:r>
              <a:rPr lang="en-US" sz="2800" b="1" kern="0" dirty="0">
                <a:solidFill>
                  <a:srgbClr val="FFE600"/>
                </a:solidFill>
                <a:latin typeface="EYInterstate" panose="02000503020000020004" pitchFamily="2" charset="0"/>
              </a:rPr>
              <a:t>Team structure</a:t>
            </a:r>
          </a:p>
          <a:p>
            <a:pPr marL="742950" marR="0" lvl="3" indent="-742950" defTabSz="1042342" eaLnBrk="1" latinLnBrk="0" hangingPunct="1">
              <a:lnSpc>
                <a:spcPct val="100000"/>
              </a:lnSpc>
              <a:spcAft>
                <a:spcPts val="1200"/>
              </a:spcAft>
              <a:buClr>
                <a:srgbClr val="FFE600"/>
              </a:buClr>
              <a:buSzPct val="100000"/>
              <a:buFont typeface="+mj-lt"/>
              <a:buAutoNum type="arabicPeriod"/>
              <a:tabLst/>
              <a:defRPr/>
            </a:pPr>
            <a:r>
              <a:rPr lang="en-US" sz="2800" b="1" kern="0" dirty="0">
                <a:solidFill>
                  <a:srgbClr val="646464"/>
                </a:solidFill>
                <a:latin typeface="EYInterstate" panose="02000503020000020004" pitchFamily="2" charset="0"/>
              </a:rPr>
              <a:t>Our proposed fees</a:t>
            </a:r>
          </a:p>
          <a:p>
            <a:pPr marL="742950" marR="0" lvl="3" indent="-742950" defTabSz="1042342" eaLnBrk="1" latinLnBrk="0" hangingPunct="1">
              <a:lnSpc>
                <a:spcPct val="100000"/>
              </a:lnSpc>
              <a:spcAft>
                <a:spcPts val="1200"/>
              </a:spcAft>
              <a:buClr>
                <a:srgbClr val="FFE600"/>
              </a:buClr>
              <a:buSzPct val="100000"/>
              <a:buFont typeface="+mj-lt"/>
              <a:buAutoNum type="arabicPeriod"/>
              <a:tabLst/>
              <a:defRPr/>
            </a:pPr>
            <a:r>
              <a:rPr lang="en-US" sz="2800" b="1" kern="0" dirty="0">
                <a:solidFill>
                  <a:srgbClr val="646464"/>
                </a:solidFill>
                <a:latin typeface="EYInterstate" panose="02000503020000020004" pitchFamily="2" charset="0"/>
              </a:rPr>
              <a:t>Appendix</a:t>
            </a:r>
          </a:p>
        </p:txBody>
      </p:sp>
      <p:grpSp>
        <p:nvGrpSpPr>
          <p:cNvPr id="10" name="Group 9">
            <a:extLst>
              <a:ext uri="{FF2B5EF4-FFF2-40B4-BE49-F238E27FC236}">
                <a16:creationId xmlns:a16="http://schemas.microsoft.com/office/drawing/2014/main" id="{A01F99EE-3BB0-4982-8CDA-0DB47603B60E}"/>
              </a:ext>
            </a:extLst>
          </p:cNvPr>
          <p:cNvGrpSpPr/>
          <p:nvPr/>
        </p:nvGrpSpPr>
        <p:grpSpPr>
          <a:xfrm>
            <a:off x="9557483" y="4861080"/>
            <a:ext cx="684000" cy="232949"/>
            <a:chOff x="9563141" y="2547476"/>
            <a:chExt cx="684000" cy="232949"/>
          </a:xfrm>
        </p:grpSpPr>
        <p:sp>
          <p:nvSpPr>
            <p:cNvPr id="11" name="Arrow: Chevron 3">
              <a:extLst>
                <a:ext uri="{FF2B5EF4-FFF2-40B4-BE49-F238E27FC236}">
                  <a16:creationId xmlns:a16="http://schemas.microsoft.com/office/drawing/2014/main" id="{D2BF9A0E-2389-4940-8496-513FE463B8AC}"/>
                </a:ext>
              </a:extLst>
            </p:cNvPr>
            <p:cNvSpPr/>
            <p:nvPr/>
          </p:nvSpPr>
          <p:spPr>
            <a:xfrm rot="10800000">
              <a:off x="9563141" y="2547476"/>
              <a:ext cx="276149" cy="232949"/>
            </a:xfrm>
            <a:prstGeom prst="chevron">
              <a:avLst/>
            </a:prstGeom>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50000"/>
                </a:spcAft>
                <a:buClr>
                  <a:srgbClr val="FFE600"/>
                </a:buClr>
                <a:buSzPct val="80000"/>
                <a:buFont typeface="Arial" charset="0"/>
                <a:buNone/>
                <a:tabLst/>
                <a:defRPr/>
              </a:pPr>
              <a:endParaRPr kumimoji="0" lang="en-US" sz="1400" b="1" i="0" u="none" strike="noStrike" kern="1200" cap="none" spc="0" normalizeH="0" baseline="0" noProof="0">
                <a:ln w="22225">
                  <a:solidFill>
                    <a:srgbClr val="FFE600"/>
                  </a:solidFill>
                  <a:prstDash val="solid"/>
                </a:ln>
                <a:solidFill>
                  <a:srgbClr val="FFE600">
                    <a:lumMod val="40000"/>
                    <a:lumOff val="60000"/>
                  </a:srgbClr>
                </a:solidFill>
                <a:effectLst/>
                <a:uLnTx/>
                <a:uFillTx/>
                <a:latin typeface="EYInterstate" panose="02000503020000020004" pitchFamily="2" charset="0"/>
                <a:ea typeface="+mn-ea"/>
                <a:cs typeface="+mn-cs"/>
              </a:endParaRPr>
            </a:p>
          </p:txBody>
        </p:sp>
        <p:sp>
          <p:nvSpPr>
            <p:cNvPr id="12" name="Arrow: Chevron 4">
              <a:extLst>
                <a:ext uri="{FF2B5EF4-FFF2-40B4-BE49-F238E27FC236}">
                  <a16:creationId xmlns:a16="http://schemas.microsoft.com/office/drawing/2014/main" id="{7E91B9B4-9770-48CB-9D95-B059104AA987}"/>
                </a:ext>
              </a:extLst>
            </p:cNvPr>
            <p:cNvSpPr/>
            <p:nvPr/>
          </p:nvSpPr>
          <p:spPr>
            <a:xfrm rot="10800000">
              <a:off x="9767067" y="2547476"/>
              <a:ext cx="276149" cy="232949"/>
            </a:xfrm>
            <a:prstGeom prst="chevron">
              <a:avLst/>
            </a:prstGeom>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50000"/>
                </a:spcAft>
                <a:buClr>
                  <a:srgbClr val="FFE600"/>
                </a:buClr>
                <a:buSzPct val="80000"/>
                <a:buFont typeface="Arial" charset="0"/>
                <a:buNone/>
                <a:tabLst/>
                <a:defRPr/>
              </a:pPr>
              <a:endParaRPr kumimoji="0" lang="en-US" sz="1400" b="1" i="0" u="none" strike="noStrike" kern="1200" cap="none" spc="0" normalizeH="0" baseline="0" noProof="0">
                <a:ln w="22225">
                  <a:solidFill>
                    <a:srgbClr val="FFE600"/>
                  </a:solidFill>
                  <a:prstDash val="solid"/>
                </a:ln>
                <a:solidFill>
                  <a:srgbClr val="FFE600">
                    <a:lumMod val="40000"/>
                    <a:lumOff val="60000"/>
                  </a:srgbClr>
                </a:solidFill>
                <a:effectLst/>
                <a:uLnTx/>
                <a:uFillTx/>
                <a:latin typeface="EYInterstate" panose="02000503020000020004" pitchFamily="2" charset="0"/>
                <a:ea typeface="+mn-ea"/>
                <a:cs typeface="+mn-cs"/>
              </a:endParaRPr>
            </a:p>
          </p:txBody>
        </p:sp>
        <p:sp>
          <p:nvSpPr>
            <p:cNvPr id="13" name="Arrow: Chevron 5">
              <a:extLst>
                <a:ext uri="{FF2B5EF4-FFF2-40B4-BE49-F238E27FC236}">
                  <a16:creationId xmlns:a16="http://schemas.microsoft.com/office/drawing/2014/main" id="{D7419B56-EA19-4F40-A31D-9C103AFC8EAC}"/>
                </a:ext>
              </a:extLst>
            </p:cNvPr>
            <p:cNvSpPr/>
            <p:nvPr/>
          </p:nvSpPr>
          <p:spPr>
            <a:xfrm rot="10800000">
              <a:off x="9970992" y="2547476"/>
              <a:ext cx="276149" cy="232949"/>
            </a:xfrm>
            <a:prstGeom prst="chevron">
              <a:avLst/>
            </a:prstGeom>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50000"/>
                </a:spcAft>
                <a:buClr>
                  <a:srgbClr val="FFE600"/>
                </a:buClr>
                <a:buSzPct val="80000"/>
                <a:buFont typeface="Arial" charset="0"/>
                <a:buNone/>
                <a:tabLst/>
                <a:defRPr/>
              </a:pPr>
              <a:endParaRPr kumimoji="0" lang="en-US" sz="1400" b="1" i="0" u="none" strike="noStrike" kern="1200" cap="none" spc="0" normalizeH="0" baseline="0" noProof="0">
                <a:ln w="22225">
                  <a:solidFill>
                    <a:srgbClr val="FFE600"/>
                  </a:solidFill>
                  <a:prstDash val="solid"/>
                </a:ln>
                <a:solidFill>
                  <a:srgbClr val="FFE600">
                    <a:lumMod val="40000"/>
                    <a:lumOff val="60000"/>
                  </a:srgbClr>
                </a:solidFill>
                <a:effectLst/>
                <a:uLnTx/>
                <a:uFillTx/>
                <a:latin typeface="EYInterstate" panose="02000503020000020004" pitchFamily="2" charset="0"/>
                <a:ea typeface="+mn-ea"/>
                <a:cs typeface="+mn-cs"/>
              </a:endParaRPr>
            </a:p>
          </p:txBody>
        </p:sp>
      </p:grpSp>
    </p:spTree>
    <p:extLst>
      <p:ext uri="{BB962C8B-B14F-4D97-AF65-F5344CB8AC3E}">
        <p14:creationId xmlns:p14="http://schemas.microsoft.com/office/powerpoint/2010/main" val="220162832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628184F-BB51-4520-9982-EA93EF50D704}"/>
              </a:ext>
            </a:extLst>
          </p:cNvPr>
          <p:cNvSpPr>
            <a:spLocks noGrp="1"/>
          </p:cNvSpPr>
          <p:nvPr>
            <p:ph type="title"/>
          </p:nvPr>
        </p:nvSpPr>
        <p:spPr>
          <a:xfrm>
            <a:off x="943199" y="608400"/>
            <a:ext cx="11837401" cy="522123"/>
          </a:xfrm>
        </p:spPr>
        <p:txBody>
          <a:bodyPr/>
          <a:lstStyle/>
          <a:p>
            <a:r>
              <a:rPr lang="en-GB"/>
              <a:t>Our A+ team comprising of members with significant experience of working with GE </a:t>
            </a:r>
            <a:endParaRPr lang="en-US"/>
          </a:p>
        </p:txBody>
      </p:sp>
      <p:graphicFrame>
        <p:nvGraphicFramePr>
          <p:cNvPr id="66" name="Table 4">
            <a:extLst>
              <a:ext uri="{FF2B5EF4-FFF2-40B4-BE49-F238E27FC236}">
                <a16:creationId xmlns:a16="http://schemas.microsoft.com/office/drawing/2014/main" id="{5E346D8D-28E4-4BC5-BB2C-6CDE448F33AB}"/>
              </a:ext>
            </a:extLst>
          </p:cNvPr>
          <p:cNvGraphicFramePr>
            <a:graphicFrameLocks noGrp="1"/>
          </p:cNvGraphicFramePr>
          <p:nvPr>
            <p:extLst>
              <p:ext uri="{D42A27DB-BD31-4B8C-83A1-F6EECF244321}">
                <p14:modId xmlns:p14="http://schemas.microsoft.com/office/powerpoint/2010/main" val="1789934454"/>
              </p:ext>
            </p:extLst>
          </p:nvPr>
        </p:nvGraphicFramePr>
        <p:xfrm>
          <a:off x="716809" y="907240"/>
          <a:ext cx="11696863" cy="6169910"/>
        </p:xfrm>
        <a:graphic>
          <a:graphicData uri="http://schemas.openxmlformats.org/drawingml/2006/table">
            <a:tbl>
              <a:tblPr firstRow="1" bandRow="1">
                <a:tableStyleId>{5C22544A-7EE6-4342-B048-85BDC9FD1C3A}</a:tableStyleId>
              </a:tblPr>
              <a:tblGrid>
                <a:gridCol w="1712355">
                  <a:extLst>
                    <a:ext uri="{9D8B030D-6E8A-4147-A177-3AD203B41FA5}">
                      <a16:colId xmlns:a16="http://schemas.microsoft.com/office/drawing/2014/main" val="2979778753"/>
                    </a:ext>
                  </a:extLst>
                </a:gridCol>
                <a:gridCol w="2392218">
                  <a:extLst>
                    <a:ext uri="{9D8B030D-6E8A-4147-A177-3AD203B41FA5}">
                      <a16:colId xmlns:a16="http://schemas.microsoft.com/office/drawing/2014/main" val="439918499"/>
                    </a:ext>
                  </a:extLst>
                </a:gridCol>
                <a:gridCol w="7592290">
                  <a:extLst>
                    <a:ext uri="{9D8B030D-6E8A-4147-A177-3AD203B41FA5}">
                      <a16:colId xmlns:a16="http://schemas.microsoft.com/office/drawing/2014/main" val="1777480386"/>
                    </a:ext>
                  </a:extLst>
                </a:gridCol>
              </a:tblGrid>
              <a:tr h="570652">
                <a:tc gridSpan="2">
                  <a:txBody>
                    <a:bodyPr/>
                    <a:lstStyle/>
                    <a:p>
                      <a:endParaRPr lang="en-GB" sz="1100"/>
                    </a:p>
                  </a:txBody>
                  <a:tcPr>
                    <a:lnL w="12700" cmpd="sng">
                      <a:noFill/>
                    </a:lnL>
                    <a:lnR w="12700" cmpd="sng">
                      <a:noFill/>
                    </a:lnR>
                    <a:lnT w="12700" cmpd="sng">
                      <a:noFill/>
                    </a:lnT>
                    <a:lnB w="12700" cap="flat" cmpd="sng" algn="ctr">
                      <a:solidFill>
                        <a:schemeClr val="bg2">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a:txBody>
                    <a:bodyPr/>
                    <a:lstStyle/>
                    <a:p>
                      <a:endParaRPr lang="en-GB" sz="1100"/>
                    </a:p>
                  </a:txBody>
                  <a:tcPr>
                    <a:lnL w="12700" cmpd="sng">
                      <a:noFill/>
                    </a:lnL>
                    <a:lnR w="12700" cmpd="sng">
                      <a:noFill/>
                    </a:lnR>
                    <a:lnT w="12700" cmpd="sng">
                      <a:noFill/>
                    </a:lnT>
                    <a:lnB w="12700" cap="flat" cmpd="sng" algn="ctr">
                      <a:solidFill>
                        <a:schemeClr val="bg2">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88592703"/>
                  </a:ext>
                </a:extLst>
              </a:tr>
              <a:tr h="550272">
                <a:tc>
                  <a:txBody>
                    <a:bodyPr/>
                    <a:lstStyle/>
                    <a:p>
                      <a:endParaRPr lang="en-GB" sz="1100"/>
                    </a:p>
                  </a:txBody>
                  <a:tcPr>
                    <a:lnL w="12700" cmpd="sng">
                      <a:noFill/>
                    </a:lnL>
                    <a:lnR w="12700" cmpd="sng">
                      <a:noFill/>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266737" rtl="0" eaLnBrk="1" latinLnBrk="0" hangingPunct="1">
                        <a:spcAft>
                          <a:spcPct val="0"/>
                        </a:spcAft>
                        <a:buClrTx/>
                        <a:buSzTx/>
                        <a:buFontTx/>
                        <a:buNone/>
                      </a:pPr>
                      <a:r>
                        <a:rPr lang="en-US" sz="1100" b="1" kern="1200">
                          <a:solidFill>
                            <a:schemeClr val="dk1"/>
                          </a:solidFill>
                          <a:latin typeface="+mn-lt"/>
                          <a:ea typeface="+mn-ea"/>
                          <a:cs typeface="+mn-cs"/>
                        </a:rPr>
                        <a:t>Lily Lim</a:t>
                      </a:r>
                    </a:p>
                    <a:p>
                      <a:pPr marL="0" algn="l" defTabSz="1266737" rtl="0" eaLnBrk="1" latinLnBrk="0" hangingPunct="1">
                        <a:spcAft>
                          <a:spcPct val="0"/>
                        </a:spcAft>
                        <a:buClrTx/>
                        <a:buSzTx/>
                        <a:buFontTx/>
                        <a:buNone/>
                      </a:pPr>
                      <a:r>
                        <a:rPr lang="en-US" sz="1100" kern="1200">
                          <a:solidFill>
                            <a:schemeClr val="dk1"/>
                          </a:solidFill>
                          <a:latin typeface="+mn-lt"/>
                          <a:ea typeface="+mn-ea"/>
                          <a:cs typeface="+mn-cs"/>
                        </a:rPr>
                        <a:t>Engagement Partner</a:t>
                      </a:r>
                    </a:p>
                  </a:txBody>
                  <a:tcPr anchor="ctr">
                    <a:lnL w="12700" cmpd="sng">
                      <a:noFill/>
                    </a:lnL>
                    <a:lnR w="12700" cmpd="sng">
                      <a:noFill/>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266737" rtl="0" eaLnBrk="1" latinLnBrk="0" hangingPunct="1"/>
                      <a:r>
                        <a:rPr lang="en-US" sz="1100" kern="1200" dirty="0">
                          <a:solidFill>
                            <a:schemeClr val="dk1"/>
                          </a:solidFill>
                          <a:latin typeface="+mn-lt"/>
                          <a:ea typeface="+mn-ea"/>
                          <a:cs typeface="+mn-cs"/>
                        </a:rPr>
                        <a:t>Lily has over 25 years experience in complex program management and delivery in the financial services sector which include core insurance, bancassurance, customer digital strategy and CRM.</a:t>
                      </a:r>
                      <a:endParaRPr lang="en-GB" sz="1100" kern="1200" dirty="0">
                        <a:solidFill>
                          <a:schemeClr val="dk1"/>
                        </a:solidFill>
                        <a:latin typeface="+mn-lt"/>
                        <a:ea typeface="+mn-ea"/>
                        <a:cs typeface="+mn-cs"/>
                      </a:endParaRPr>
                    </a:p>
                  </a:txBody>
                  <a:tcPr anchor="ctr">
                    <a:lnL w="12700" cmpd="sng">
                      <a:noFill/>
                    </a:lnL>
                    <a:lnR w="12700" cmpd="sng">
                      <a:noFill/>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49963400"/>
                  </a:ext>
                </a:extLst>
              </a:tr>
              <a:tr h="603349">
                <a:tc>
                  <a:txBody>
                    <a:bodyPr/>
                    <a:lstStyle/>
                    <a:p>
                      <a:endParaRPr lang="en-GB" sz="1100"/>
                    </a:p>
                  </a:txBody>
                  <a:tcPr>
                    <a:lnL w="12700" cmpd="sng">
                      <a:noFill/>
                    </a:lnL>
                    <a:lnR w="12700" cmpd="sng">
                      <a:noFill/>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266737" rtl="0" eaLnBrk="1" latinLnBrk="0" hangingPunct="1"/>
                      <a:r>
                        <a:rPr lang="en-GB" sz="1100" b="1" kern="1200">
                          <a:solidFill>
                            <a:schemeClr val="dk1"/>
                          </a:solidFill>
                          <a:latin typeface="+mn-lt"/>
                          <a:ea typeface="+mn-ea"/>
                          <a:cs typeface="+mn-cs"/>
                        </a:rPr>
                        <a:t>Anshuman Singh</a:t>
                      </a:r>
                    </a:p>
                    <a:p>
                      <a:pPr marL="0" algn="l" defTabSz="1266737" rtl="0" eaLnBrk="1" latinLnBrk="0" hangingPunct="1"/>
                      <a:r>
                        <a:rPr lang="en-GB" sz="1100" kern="1200">
                          <a:solidFill>
                            <a:schemeClr val="dk1"/>
                          </a:solidFill>
                          <a:latin typeface="+mn-lt"/>
                          <a:ea typeface="+mn-ea"/>
                          <a:cs typeface="+mn-cs"/>
                        </a:rPr>
                        <a:t>Digital Experience</a:t>
                      </a:r>
                    </a:p>
                  </a:txBody>
                  <a:tcPr anchor="ctr">
                    <a:lnL w="12700" cmpd="sng">
                      <a:noFill/>
                    </a:lnL>
                    <a:lnR w="12700" cmpd="sng">
                      <a:noFill/>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266737" rtl="0" eaLnBrk="1" latinLnBrk="0" hangingPunct="1"/>
                      <a:r>
                        <a:rPr lang="en-US" sz="1100" kern="1200" noProof="0" dirty="0">
                          <a:solidFill>
                            <a:schemeClr val="dk1"/>
                          </a:solidFill>
                          <a:latin typeface="+mn-lt"/>
                          <a:ea typeface="+mn-ea"/>
                          <a:cs typeface="+mn-cs"/>
                        </a:rPr>
                        <a:t>Anshuman has over 18 years of consulting experience to leading insurers in the region with specific focus on digital strategy and transformation. He is currently leading the design of the </a:t>
                      </a:r>
                      <a:r>
                        <a:rPr lang="en-GB" sz="1100" dirty="0"/>
                        <a:t>future-state customer journeys across channels for GE.</a:t>
                      </a:r>
                      <a:endParaRPr lang="en-US" sz="1100" kern="1200" dirty="0">
                        <a:solidFill>
                          <a:schemeClr val="dk1"/>
                        </a:solidFill>
                        <a:latin typeface="+mn-lt"/>
                        <a:ea typeface="+mn-ea"/>
                        <a:cs typeface="+mn-cs"/>
                      </a:endParaRPr>
                    </a:p>
                  </a:txBody>
                  <a:tcPr anchor="ctr">
                    <a:lnL w="12700" cmpd="sng">
                      <a:noFill/>
                    </a:lnL>
                    <a:lnR w="12700" cmpd="sng">
                      <a:noFill/>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39666749"/>
                  </a:ext>
                </a:extLst>
              </a:tr>
              <a:tr h="603349">
                <a:tc>
                  <a:txBody>
                    <a:bodyPr/>
                    <a:lstStyle/>
                    <a:p>
                      <a:endParaRPr lang="en-GB" sz="1100"/>
                    </a:p>
                  </a:txBody>
                  <a:tcPr>
                    <a:lnL w="12700" cmpd="sng">
                      <a:noFill/>
                    </a:lnL>
                    <a:lnR w="12700" cmpd="sng">
                      <a:noFill/>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266737" rtl="0" eaLnBrk="1" latinLnBrk="0" hangingPunct="1"/>
                      <a:r>
                        <a:rPr lang="en-GB" sz="1100" b="1" kern="1200">
                          <a:solidFill>
                            <a:schemeClr val="dk1"/>
                          </a:solidFill>
                          <a:latin typeface="+mn-lt"/>
                          <a:ea typeface="+mn-ea"/>
                          <a:cs typeface="+mn-cs"/>
                        </a:rPr>
                        <a:t>Vivek </a:t>
                      </a:r>
                      <a:r>
                        <a:rPr lang="en-GB" sz="1100" b="1" kern="1200" err="1">
                          <a:solidFill>
                            <a:schemeClr val="dk1"/>
                          </a:solidFill>
                          <a:latin typeface="+mn-lt"/>
                          <a:ea typeface="+mn-ea"/>
                          <a:cs typeface="+mn-cs"/>
                        </a:rPr>
                        <a:t>Chugh</a:t>
                      </a:r>
                      <a:endParaRPr lang="en-GB" sz="1100" b="1" kern="1200">
                        <a:solidFill>
                          <a:schemeClr val="dk1"/>
                        </a:solidFill>
                        <a:latin typeface="+mn-lt"/>
                        <a:ea typeface="+mn-ea"/>
                        <a:cs typeface="+mn-cs"/>
                      </a:endParaRPr>
                    </a:p>
                    <a:p>
                      <a:pPr marL="0" algn="l" defTabSz="1266737" rtl="0" eaLnBrk="1" latinLnBrk="0" hangingPunct="1"/>
                      <a:r>
                        <a:rPr lang="en-GB" sz="1100" kern="1200">
                          <a:solidFill>
                            <a:schemeClr val="dk1"/>
                          </a:solidFill>
                          <a:latin typeface="+mn-lt"/>
                          <a:ea typeface="+mn-ea"/>
                          <a:cs typeface="+mn-cs"/>
                        </a:rPr>
                        <a:t>Data Analytics</a:t>
                      </a:r>
                    </a:p>
                  </a:txBody>
                  <a:tcPr anchor="ctr">
                    <a:lnL w="12700" cmpd="sng">
                      <a:noFill/>
                    </a:lnL>
                    <a:lnR w="12700" cmpd="sng">
                      <a:noFill/>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266737" rtl="0" eaLnBrk="1" latinLnBrk="0" hangingPunct="1"/>
                      <a:r>
                        <a:rPr lang="en-US" sz="1100" kern="1200" dirty="0">
                          <a:solidFill>
                            <a:schemeClr val="dk1"/>
                          </a:solidFill>
                          <a:latin typeface="+mn-lt"/>
                          <a:ea typeface="+mn-ea"/>
                          <a:cs typeface="+mn-cs"/>
                        </a:rPr>
                        <a:t>Vivek has over 20 years of cross functional experience across Retail, CPG, Airlines and Telecom. He has led several large engagements combining analytics, digital marketing and customer loyalty.</a:t>
                      </a:r>
                    </a:p>
                  </a:txBody>
                  <a:tcPr anchor="ctr">
                    <a:lnL w="12700" cmpd="sng">
                      <a:noFill/>
                    </a:lnL>
                    <a:lnR w="12700" cmpd="sng">
                      <a:noFill/>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52462576"/>
                  </a:ext>
                </a:extLst>
              </a:tr>
              <a:tr h="603349">
                <a:tc>
                  <a:txBody>
                    <a:bodyPr/>
                    <a:lstStyle/>
                    <a:p>
                      <a:endParaRPr lang="en-GB" sz="1100"/>
                    </a:p>
                  </a:txBody>
                  <a:tcPr>
                    <a:lnL w="12700" cmpd="sng">
                      <a:noFill/>
                    </a:lnL>
                    <a:lnR w="12700" cmpd="sng">
                      <a:noFill/>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266737" rtl="0" eaLnBrk="1" latinLnBrk="0" hangingPunct="1"/>
                      <a:r>
                        <a:rPr lang="en-GB" sz="1100" b="1" kern="1200">
                          <a:solidFill>
                            <a:schemeClr val="dk1"/>
                          </a:solidFill>
                          <a:latin typeface="+mn-lt"/>
                          <a:ea typeface="+mn-ea"/>
                          <a:cs typeface="+mn-cs"/>
                        </a:rPr>
                        <a:t>Nitin Datta</a:t>
                      </a:r>
                    </a:p>
                    <a:p>
                      <a:pPr marL="0" algn="l" defTabSz="1266737" rtl="0" eaLnBrk="1" latinLnBrk="0" hangingPunct="1"/>
                      <a:r>
                        <a:rPr lang="en-GB" sz="1100" kern="1200">
                          <a:solidFill>
                            <a:schemeClr val="dk1"/>
                          </a:solidFill>
                          <a:latin typeface="+mn-lt"/>
                          <a:ea typeface="+mn-ea"/>
                          <a:cs typeface="+mn-cs"/>
                        </a:rPr>
                        <a:t>Engagement Director</a:t>
                      </a:r>
                    </a:p>
                  </a:txBody>
                  <a:tcPr anchor="ctr">
                    <a:lnL w="12700" cmpd="sng">
                      <a:noFill/>
                    </a:lnL>
                    <a:lnR w="12700" cmpd="sng">
                      <a:noFill/>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266737" rtl="0" eaLnBrk="1" latinLnBrk="0" hangingPunct="1"/>
                      <a:r>
                        <a:rPr lang="en-US" sz="1100" kern="1200" dirty="0">
                          <a:solidFill>
                            <a:schemeClr val="dk1"/>
                          </a:solidFill>
                          <a:latin typeface="+mn-lt"/>
                          <a:ea typeface="+mn-ea"/>
                          <a:cs typeface="+mn-cs"/>
                        </a:rPr>
                        <a:t>Nitin has over 15 years of experience in delivering complex data &amp; analytics transformation solution for insurance clients. He has successfully delivered customer segmentation, marketing analytics projects for insurers in Singapore.</a:t>
                      </a:r>
                      <a:endParaRPr lang="en-GB" sz="1100" kern="1200" dirty="0">
                        <a:solidFill>
                          <a:schemeClr val="dk1"/>
                        </a:solidFill>
                        <a:latin typeface="+mn-lt"/>
                        <a:ea typeface="+mn-ea"/>
                        <a:cs typeface="+mn-cs"/>
                      </a:endParaRPr>
                    </a:p>
                  </a:txBody>
                  <a:tcPr anchor="ctr">
                    <a:lnL w="12700" cmpd="sng">
                      <a:noFill/>
                    </a:lnL>
                    <a:lnR w="12700" cmpd="sng">
                      <a:noFill/>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4702097"/>
                  </a:ext>
                </a:extLst>
              </a:tr>
              <a:tr h="643521">
                <a:tc>
                  <a:txBody>
                    <a:bodyPr/>
                    <a:lstStyle/>
                    <a:p>
                      <a:endParaRPr lang="en-GB" sz="1100"/>
                    </a:p>
                  </a:txBody>
                  <a:tcPr>
                    <a:lnL w="12700" cmpd="sng">
                      <a:noFill/>
                    </a:lnL>
                    <a:lnR w="12700" cmpd="sng">
                      <a:noFill/>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266737" rtl="0" eaLnBrk="1" latinLnBrk="0" hangingPunct="1"/>
                      <a:r>
                        <a:rPr lang="en-GB" sz="1100" b="1" kern="1200">
                          <a:solidFill>
                            <a:schemeClr val="dk1"/>
                          </a:solidFill>
                          <a:latin typeface="+mn-lt"/>
                          <a:ea typeface="+mn-ea"/>
                          <a:cs typeface="+mn-cs"/>
                        </a:rPr>
                        <a:t>Arindom Bhattacharjee</a:t>
                      </a:r>
                    </a:p>
                    <a:p>
                      <a:pPr marL="0" algn="l" defTabSz="1266737" rtl="0" eaLnBrk="1" latinLnBrk="0" hangingPunct="1"/>
                      <a:r>
                        <a:rPr lang="en-GB" sz="1100" kern="1200">
                          <a:solidFill>
                            <a:schemeClr val="dk1"/>
                          </a:solidFill>
                          <a:latin typeface="+mn-lt"/>
                          <a:ea typeface="+mn-ea"/>
                          <a:cs typeface="+mn-cs"/>
                        </a:rPr>
                        <a:t>Data Management Consultant</a:t>
                      </a:r>
                    </a:p>
                  </a:txBody>
                  <a:tcPr anchor="ctr">
                    <a:lnL w="12700" cmpd="sng">
                      <a:noFill/>
                    </a:lnL>
                    <a:lnR w="12700" cmpd="sng">
                      <a:noFill/>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266737" rtl="0" eaLnBrk="1" latinLnBrk="0" hangingPunct="1"/>
                      <a:r>
                        <a:rPr lang="en-US" sz="1100" kern="1200">
                          <a:solidFill>
                            <a:schemeClr val="dk1"/>
                          </a:solidFill>
                          <a:latin typeface="+mn-lt"/>
                          <a:ea typeface="+mn-ea"/>
                          <a:cs typeface="+mn-cs"/>
                        </a:rPr>
                        <a:t>Arindom has around 12 years of experience in designing, development,  implementation and delivery of enterprise solutions and large scale distributed Hadoop systems. He is currently leading the ingestion of policy, product, benefit and transactions source data into GE’s big data platform from 8 source systems. </a:t>
                      </a:r>
                      <a:endParaRPr lang="en-GB" sz="1100" kern="1200">
                        <a:solidFill>
                          <a:schemeClr val="dk1"/>
                        </a:solidFill>
                        <a:latin typeface="+mn-lt"/>
                        <a:ea typeface="+mn-ea"/>
                        <a:cs typeface="+mn-cs"/>
                      </a:endParaRPr>
                    </a:p>
                  </a:txBody>
                  <a:tcPr anchor="ctr">
                    <a:lnL w="12700" cmpd="sng">
                      <a:noFill/>
                    </a:lnL>
                    <a:lnR w="12700" cmpd="sng">
                      <a:noFill/>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97828787"/>
                  </a:ext>
                </a:extLst>
              </a:tr>
              <a:tr h="665018">
                <a:tc>
                  <a:txBody>
                    <a:bodyPr/>
                    <a:lstStyle/>
                    <a:p>
                      <a:endParaRPr lang="en-GB" sz="1100"/>
                    </a:p>
                  </a:txBody>
                  <a:tcPr>
                    <a:lnL w="12700" cmpd="sng">
                      <a:noFill/>
                    </a:lnL>
                    <a:lnR w="12700" cmpd="sng">
                      <a:noFill/>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266737" rtl="0" eaLnBrk="1" latinLnBrk="0" hangingPunct="1"/>
                      <a:r>
                        <a:rPr lang="en-US" sz="1100" b="1" kern="1200">
                          <a:solidFill>
                            <a:schemeClr val="dk1"/>
                          </a:solidFill>
                          <a:latin typeface="+mn-lt"/>
                          <a:ea typeface="+mn-ea"/>
                          <a:cs typeface="+mn-cs"/>
                        </a:rPr>
                        <a:t>Sourav Bose</a:t>
                      </a:r>
                    </a:p>
                    <a:p>
                      <a:pPr marL="0" algn="l" defTabSz="1266737" rtl="0" eaLnBrk="1" latinLnBrk="0" hangingPunct="1"/>
                      <a:r>
                        <a:rPr lang="en-US" sz="1100" kern="1200">
                          <a:solidFill>
                            <a:schemeClr val="dk1"/>
                          </a:solidFill>
                          <a:latin typeface="+mn-lt"/>
                          <a:ea typeface="+mn-ea"/>
                          <a:cs typeface="+mn-cs"/>
                        </a:rPr>
                        <a:t>Data Scientist</a:t>
                      </a:r>
                    </a:p>
                  </a:txBody>
                  <a:tcPr anchor="ctr">
                    <a:lnL w="12700" cmpd="sng">
                      <a:noFill/>
                    </a:lnL>
                    <a:lnR w="12700" cmpd="sng">
                      <a:noFill/>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266737" rtl="0" eaLnBrk="1" fontAlgn="auto" latinLnBrk="0" hangingPunct="1">
                        <a:lnSpc>
                          <a:spcPct val="100000"/>
                        </a:lnSpc>
                        <a:spcBef>
                          <a:spcPts val="0"/>
                        </a:spcBef>
                        <a:spcAft>
                          <a:spcPts val="0"/>
                        </a:spcAft>
                        <a:buClrTx/>
                        <a:buSzTx/>
                        <a:buFontTx/>
                        <a:buNone/>
                        <a:tabLst/>
                        <a:defRPr/>
                      </a:pPr>
                      <a:r>
                        <a:rPr lang="en-US" sz="1100" kern="1200" dirty="0">
                          <a:solidFill>
                            <a:schemeClr val="dk1"/>
                          </a:solidFill>
                          <a:latin typeface="+mn-lt"/>
                          <a:ea typeface="+mn-ea"/>
                          <a:cs typeface="+mn-cs"/>
                        </a:rPr>
                        <a:t>Sourav has a deep practitioner experience across spectrum of Data Science, Machine Learning, Deep Learning and Artificial Intelligence across Wealth &amp; Asset Management, Banking &amp; Insurance sectors.</a:t>
                      </a:r>
                      <a:endParaRPr lang="en-GB" sz="1100" kern="1200" dirty="0">
                        <a:solidFill>
                          <a:schemeClr val="dk1"/>
                        </a:solidFill>
                        <a:latin typeface="+mn-lt"/>
                        <a:ea typeface="+mn-ea"/>
                        <a:cs typeface="+mn-cs"/>
                      </a:endParaRPr>
                    </a:p>
                  </a:txBody>
                  <a:tcPr anchor="ctr">
                    <a:lnL w="12700" cmpd="sng">
                      <a:noFill/>
                    </a:lnL>
                    <a:lnR w="12700" cmpd="sng">
                      <a:noFill/>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48077902"/>
                  </a:ext>
                </a:extLst>
              </a:tr>
              <a:tr h="665018">
                <a:tc>
                  <a:txBody>
                    <a:bodyPr/>
                    <a:lstStyle/>
                    <a:p>
                      <a:endParaRPr lang="en-GB" sz="1100"/>
                    </a:p>
                  </a:txBody>
                  <a:tcPr>
                    <a:lnL w="12700" cmpd="sng">
                      <a:noFill/>
                    </a:lnL>
                    <a:lnR w="12700" cmpd="sng">
                      <a:noFill/>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266737" rtl="0" eaLnBrk="1" latinLnBrk="0" hangingPunct="1"/>
                      <a:r>
                        <a:rPr lang="en-US" sz="1100" b="1" kern="1200">
                          <a:solidFill>
                            <a:schemeClr val="dk1"/>
                          </a:solidFill>
                          <a:latin typeface="+mn-lt"/>
                          <a:ea typeface="+mn-ea"/>
                          <a:cs typeface="+mn-cs"/>
                        </a:rPr>
                        <a:t>Radhika Didwania</a:t>
                      </a:r>
                    </a:p>
                    <a:p>
                      <a:pPr marL="0" algn="l" defTabSz="1266737" rtl="0" eaLnBrk="1" latinLnBrk="0" hangingPunct="1"/>
                      <a:r>
                        <a:rPr lang="en-US" sz="1100" kern="1200">
                          <a:solidFill>
                            <a:schemeClr val="dk1"/>
                          </a:solidFill>
                          <a:latin typeface="+mn-lt"/>
                          <a:ea typeface="+mn-ea"/>
                          <a:cs typeface="+mn-cs"/>
                        </a:rPr>
                        <a:t>Data Scientist</a:t>
                      </a:r>
                    </a:p>
                  </a:txBody>
                  <a:tcPr anchor="ctr">
                    <a:lnL w="12700" cmpd="sng">
                      <a:noFill/>
                    </a:lnL>
                    <a:lnR w="12700" cmpd="sng">
                      <a:noFill/>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266737" rtl="0" eaLnBrk="1" latinLnBrk="0" hangingPunct="1"/>
                      <a:r>
                        <a:rPr lang="en-US" sz="1100" kern="1200" dirty="0">
                          <a:solidFill>
                            <a:schemeClr val="dk1"/>
                          </a:solidFill>
                          <a:latin typeface="+mn-lt"/>
                          <a:ea typeface="+mn-ea"/>
                          <a:cs typeface="+mn-cs"/>
                        </a:rPr>
                        <a:t>Radhika has 6+ years of hands-on experience in Analytics, Data Science, Machine Learning across the domains of Retail Banking &amp; Insurance.</a:t>
                      </a:r>
                    </a:p>
                  </a:txBody>
                  <a:tcPr anchor="ctr">
                    <a:lnL w="12700" cmpd="sng">
                      <a:noFill/>
                    </a:lnL>
                    <a:lnR w="12700" cmpd="sng">
                      <a:noFill/>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16645167"/>
                  </a:ext>
                </a:extLst>
              </a:tr>
              <a:tr h="609600">
                <a:tc>
                  <a:txBody>
                    <a:bodyPr/>
                    <a:lstStyle/>
                    <a:p>
                      <a:endParaRPr lang="en-GB" sz="1100"/>
                    </a:p>
                  </a:txBody>
                  <a:tcPr>
                    <a:lnL w="12700" cmpd="sng">
                      <a:noFill/>
                    </a:lnL>
                    <a:lnR w="12700" cmpd="sng">
                      <a:noFill/>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266737" rtl="0" eaLnBrk="1" latinLnBrk="0" hangingPunct="1"/>
                      <a:r>
                        <a:rPr lang="en-GB" sz="1100" b="1" kern="1200">
                          <a:solidFill>
                            <a:schemeClr val="dk1"/>
                          </a:solidFill>
                          <a:latin typeface="+mn-lt"/>
                          <a:ea typeface="+mn-ea"/>
                          <a:cs typeface="+mn-cs"/>
                        </a:rPr>
                        <a:t>Bunyamin Kizildemir</a:t>
                      </a:r>
                    </a:p>
                    <a:p>
                      <a:pPr marL="0" algn="l" defTabSz="1266737" rtl="0" eaLnBrk="1" latinLnBrk="0" hangingPunct="1"/>
                      <a:r>
                        <a:rPr lang="en-GB" sz="1100" kern="1200">
                          <a:solidFill>
                            <a:schemeClr val="dk1"/>
                          </a:solidFill>
                          <a:latin typeface="+mn-lt"/>
                          <a:ea typeface="+mn-ea"/>
                          <a:cs typeface="+mn-cs"/>
                        </a:rPr>
                        <a:t>Data Scientist</a:t>
                      </a:r>
                    </a:p>
                  </a:txBody>
                  <a:tcPr anchor="ctr">
                    <a:lnL w="12700" cmpd="sng">
                      <a:noFill/>
                    </a:lnL>
                    <a:lnR w="12700" cmpd="sng">
                      <a:noFill/>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266737" rtl="0" eaLnBrk="1" latinLnBrk="0" hangingPunct="1"/>
                      <a:r>
                        <a:rPr lang="en-US" sz="1100" kern="1200" dirty="0">
                          <a:solidFill>
                            <a:schemeClr val="dk1"/>
                          </a:solidFill>
                          <a:latin typeface="+mn-lt"/>
                          <a:ea typeface="+mn-ea"/>
                          <a:cs typeface="+mn-cs"/>
                        </a:rPr>
                        <a:t>Bunyamin has 3+ years of core experience in machine/deep learning, natural language processing, and image processing across financial services sector with a quantitative background in financial mathematics</a:t>
                      </a:r>
                      <a:endParaRPr lang="en-GB" sz="1100" kern="1200" dirty="0">
                        <a:solidFill>
                          <a:schemeClr val="dk1"/>
                        </a:solidFill>
                        <a:latin typeface="+mn-lt"/>
                        <a:ea typeface="+mn-ea"/>
                        <a:cs typeface="+mn-cs"/>
                      </a:endParaRPr>
                    </a:p>
                  </a:txBody>
                  <a:tcPr anchor="ctr">
                    <a:lnL w="12700" cmpd="sng">
                      <a:noFill/>
                    </a:lnL>
                    <a:lnR w="12700" cmpd="sng">
                      <a:noFill/>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84711422"/>
                  </a:ext>
                </a:extLst>
              </a:tr>
              <a:tr h="655782">
                <a:tc>
                  <a:txBody>
                    <a:bodyPr/>
                    <a:lstStyle/>
                    <a:p>
                      <a:endParaRPr lang="en-GB" sz="1100"/>
                    </a:p>
                  </a:txBody>
                  <a:tcPr>
                    <a:lnL w="12700" cmpd="sng">
                      <a:noFill/>
                    </a:lnL>
                    <a:lnR w="12700" cmpd="sng">
                      <a:noFill/>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266737" rtl="0" eaLnBrk="1" latinLnBrk="0" hangingPunct="1"/>
                      <a:r>
                        <a:rPr lang="en-GB" sz="1100" b="1" kern="1200" err="1">
                          <a:solidFill>
                            <a:schemeClr val="dk1"/>
                          </a:solidFill>
                          <a:latin typeface="+mn-lt"/>
                          <a:ea typeface="+mn-ea"/>
                          <a:cs typeface="+mn-cs"/>
                        </a:rPr>
                        <a:t>Tarishi</a:t>
                      </a:r>
                      <a:r>
                        <a:rPr lang="en-GB" sz="1100" b="1" kern="1200">
                          <a:solidFill>
                            <a:schemeClr val="dk1"/>
                          </a:solidFill>
                          <a:latin typeface="+mn-lt"/>
                          <a:ea typeface="+mn-ea"/>
                          <a:cs typeface="+mn-cs"/>
                        </a:rPr>
                        <a:t> Khanna</a:t>
                      </a:r>
                    </a:p>
                    <a:p>
                      <a:pPr marL="0" algn="l" defTabSz="1266737" rtl="0" eaLnBrk="1" latinLnBrk="0" hangingPunct="1"/>
                      <a:r>
                        <a:rPr lang="en-GB" sz="1100" kern="1200">
                          <a:solidFill>
                            <a:schemeClr val="dk1"/>
                          </a:solidFill>
                          <a:latin typeface="+mn-lt"/>
                          <a:ea typeface="+mn-ea"/>
                          <a:cs typeface="+mn-cs"/>
                        </a:rPr>
                        <a:t>Data Scientist</a:t>
                      </a:r>
                    </a:p>
                  </a:txBody>
                  <a:tcPr anchor="ctr">
                    <a:lnL w="12700" cmpd="sng">
                      <a:noFill/>
                    </a:lnL>
                    <a:lnR w="12700" cmpd="sng">
                      <a:noFill/>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266737" rtl="0" eaLnBrk="1" latinLnBrk="0" hangingPunct="1"/>
                      <a:r>
                        <a:rPr lang="en-US" sz="1100" kern="1200" dirty="0">
                          <a:solidFill>
                            <a:schemeClr val="dk1"/>
                          </a:solidFill>
                          <a:latin typeface="+mn-lt"/>
                          <a:ea typeface="+mn-ea"/>
                          <a:cs typeface="+mn-cs"/>
                        </a:rPr>
                        <a:t>5+ of experience in advanced analytics, predictive modelling, data visualization and data manipulation in Telecommunications, Insurance and Banking sector.</a:t>
                      </a:r>
                      <a:endParaRPr lang="en-GB" sz="1100" kern="1200" dirty="0">
                        <a:solidFill>
                          <a:schemeClr val="dk1"/>
                        </a:solidFill>
                        <a:latin typeface="+mn-lt"/>
                        <a:ea typeface="+mn-ea"/>
                        <a:cs typeface="+mn-cs"/>
                      </a:endParaRPr>
                    </a:p>
                  </a:txBody>
                  <a:tcPr anchor="ctr">
                    <a:lnL w="12700" cmpd="sng">
                      <a:noFill/>
                    </a:lnL>
                    <a:lnR w="12700" cmpd="sng">
                      <a:noFill/>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84065852"/>
                  </a:ext>
                </a:extLst>
              </a:tr>
            </a:tbl>
          </a:graphicData>
        </a:graphic>
      </p:graphicFrame>
      <p:sp>
        <p:nvSpPr>
          <p:cNvPr id="77" name="TextBox 76">
            <a:extLst>
              <a:ext uri="{FF2B5EF4-FFF2-40B4-BE49-F238E27FC236}">
                <a16:creationId xmlns:a16="http://schemas.microsoft.com/office/drawing/2014/main" id="{8C49AE13-D179-4B13-95F6-FB1C7BBAA231}"/>
              </a:ext>
            </a:extLst>
          </p:cNvPr>
          <p:cNvSpPr txBox="1"/>
          <p:nvPr/>
        </p:nvSpPr>
        <p:spPr>
          <a:xfrm rot="16200000">
            <a:off x="-256567" y="2444824"/>
            <a:ext cx="2418004" cy="471249"/>
          </a:xfrm>
          <a:prstGeom prst="rect">
            <a:avLst/>
          </a:prstGeom>
          <a:solidFill>
            <a:srgbClr val="00A3AE"/>
          </a:solidFill>
          <a:ln>
            <a:noFill/>
          </a:ln>
        </p:spPr>
        <p:txBody>
          <a:bodyPr wrap="square" rtlCol="0" anchor="ctr" anchorCtr="0">
            <a:noAutofit/>
          </a:bodyPr>
          <a:lstStyle/>
          <a:p>
            <a:pPr marL="0" marR="0" lvl="0" indent="0" algn="ctr" defTabSz="914400" eaLnBrk="1" fontAlgn="auto" latinLnBrk="0" hangingPunct="1">
              <a:lnSpc>
                <a:spcPct val="100000"/>
              </a:lnSpc>
              <a:spcBef>
                <a:spcPts val="200"/>
              </a:spcBef>
              <a:spcAft>
                <a:spcPts val="200"/>
              </a:spcAft>
              <a:buClrTx/>
              <a:buSzTx/>
              <a:buFontTx/>
              <a:buNone/>
              <a:tabLst/>
              <a:defRPr/>
            </a:pPr>
            <a:r>
              <a:rPr kumimoji="0" lang="en-US" sz="1200" b="1" i="0" u="none" strike="noStrike" kern="0" cap="none" spc="0" normalizeH="0" baseline="0" noProof="0" dirty="0">
                <a:ln>
                  <a:noFill/>
                </a:ln>
                <a:solidFill>
                  <a:srgbClr val="FFFFFF"/>
                </a:solidFill>
                <a:effectLst/>
                <a:uLnTx/>
                <a:uFillTx/>
                <a:latin typeface="EYInterstate" panose="02000503020000020004" pitchFamily="2" charset="0"/>
                <a:ea typeface="Century Gothic" charset="0"/>
                <a:cs typeface="Century Gothic" charset="0"/>
              </a:rPr>
              <a:t>Leadership team</a:t>
            </a:r>
          </a:p>
        </p:txBody>
      </p:sp>
      <p:pic>
        <p:nvPicPr>
          <p:cNvPr id="81" name="Picture 8" descr="User Photo">
            <a:extLst>
              <a:ext uri="{FF2B5EF4-FFF2-40B4-BE49-F238E27FC236}">
                <a16:creationId xmlns:a16="http://schemas.microsoft.com/office/drawing/2014/main" id="{FB3E0C6C-9029-43E0-9344-3D224D1FC841}"/>
              </a:ext>
            </a:extLst>
          </p:cNvPr>
          <p:cNvPicPr>
            <a:picLocks noChangeAspect="1" noChangeArrowheads="1"/>
          </p:cNvPicPr>
          <p:nvPr/>
        </p:nvPicPr>
        <p:blipFill>
          <a:blip r:embed="rId3">
            <a:grayscl/>
            <a:extLst>
              <a:ext uri="{28A0092B-C50C-407E-A947-70E740481C1C}">
                <a14:useLocalDpi xmlns:a14="http://schemas.microsoft.com/office/drawing/2010/main" val="0"/>
              </a:ext>
            </a:extLst>
          </a:blip>
          <a:srcRect/>
          <a:stretch>
            <a:fillRect/>
          </a:stretch>
        </p:blipFill>
        <p:spPr bwMode="auto">
          <a:xfrm>
            <a:off x="1630933" y="1495271"/>
            <a:ext cx="522123" cy="522123"/>
          </a:xfrm>
          <a:prstGeom prst="flowChartConnector">
            <a:avLst/>
          </a:prstGeom>
          <a:noFill/>
          <a:effectLst/>
          <a:extLst>
            <a:ext uri="{909E8E84-426E-40DD-AFC4-6F175D3DCCD1}">
              <a14:hiddenFill xmlns:a14="http://schemas.microsoft.com/office/drawing/2010/main">
                <a:solidFill>
                  <a:srgbClr val="FFFFFF"/>
                </a:solidFill>
              </a14:hiddenFill>
            </a:ext>
          </a:extLst>
        </p:spPr>
      </p:pic>
      <p:pic>
        <p:nvPicPr>
          <p:cNvPr id="82" name="Picture 81">
            <a:extLst>
              <a:ext uri="{FF2B5EF4-FFF2-40B4-BE49-F238E27FC236}">
                <a16:creationId xmlns:a16="http://schemas.microsoft.com/office/drawing/2014/main" id="{179027FD-4596-488D-91DA-CFEC6F13A27C}"/>
              </a:ext>
            </a:extLst>
          </p:cNvPr>
          <p:cNvPicPr>
            <a:picLocks noChangeAspect="1"/>
          </p:cNvPicPr>
          <p:nvPr/>
        </p:nvPicPr>
        <p:blipFill rotWithShape="1">
          <a:blip r:embed="rId4" cstate="print">
            <a:grayscl/>
            <a:extLst>
              <a:ext uri="{BEBA8EAE-BF5A-486C-A8C5-ECC9F3942E4B}">
                <a14:imgProps xmlns:a14="http://schemas.microsoft.com/office/drawing/2010/main">
                  <a14:imgLayer r:embed="rId5">
                    <a14:imgEffect>
                      <a14:saturation sat="0"/>
                    </a14:imgEffect>
                  </a14:imgLayer>
                </a14:imgProps>
              </a:ext>
              <a:ext uri="{28A0092B-C50C-407E-A947-70E740481C1C}">
                <a14:useLocalDpi xmlns:a14="http://schemas.microsoft.com/office/drawing/2010/main" val="0"/>
              </a:ext>
            </a:extLst>
          </a:blip>
          <a:srcRect/>
          <a:stretch/>
        </p:blipFill>
        <p:spPr>
          <a:xfrm>
            <a:off x="1664576" y="3287628"/>
            <a:ext cx="509586" cy="509586"/>
          </a:xfrm>
          <a:prstGeom prst="ellipse">
            <a:avLst/>
          </a:prstGeom>
          <a:noFill/>
          <a:ln>
            <a:noFill/>
          </a:ln>
          <a:effectLst/>
        </p:spPr>
      </p:pic>
      <p:pic>
        <p:nvPicPr>
          <p:cNvPr id="83" name="Picture 82">
            <a:extLst>
              <a:ext uri="{FF2B5EF4-FFF2-40B4-BE49-F238E27FC236}">
                <a16:creationId xmlns:a16="http://schemas.microsoft.com/office/drawing/2014/main" id="{0E2A7FB1-231E-450D-92CE-F92576A52D46}"/>
              </a:ext>
            </a:extLst>
          </p:cNvPr>
          <p:cNvPicPr>
            <a:picLocks noChangeAspect="1"/>
          </p:cNvPicPr>
          <p:nvPr/>
        </p:nvPicPr>
        <p:blipFill>
          <a:blip r:embed="rId6"/>
          <a:stretch>
            <a:fillRect/>
          </a:stretch>
        </p:blipFill>
        <p:spPr>
          <a:xfrm>
            <a:off x="1622417" y="3906294"/>
            <a:ext cx="555150" cy="548138"/>
          </a:xfrm>
          <a:prstGeom prst="flowChartConnector">
            <a:avLst/>
          </a:prstGeom>
          <a:effectLst/>
        </p:spPr>
      </p:pic>
      <p:pic>
        <p:nvPicPr>
          <p:cNvPr id="84" name="Picture 2" descr="User Photo">
            <a:extLst>
              <a:ext uri="{FF2B5EF4-FFF2-40B4-BE49-F238E27FC236}">
                <a16:creationId xmlns:a16="http://schemas.microsoft.com/office/drawing/2014/main" id="{233E64CE-FB06-48A7-BEFD-535B211EFB2C}"/>
              </a:ext>
            </a:extLst>
          </p:cNvPr>
          <p:cNvPicPr>
            <a:picLocks noChangeAspect="1" noChangeArrowheads="1"/>
          </p:cNvPicPr>
          <p:nvPr/>
        </p:nvPicPr>
        <p:blipFill>
          <a:blip r:embed="rId7" cstate="print">
            <a:grayscl/>
            <a:extLst>
              <a:ext uri="{28A0092B-C50C-407E-A947-70E740481C1C}">
                <a14:useLocalDpi xmlns:a14="http://schemas.microsoft.com/office/drawing/2010/main" val="0"/>
              </a:ext>
            </a:extLst>
          </a:blip>
          <a:srcRect/>
          <a:stretch>
            <a:fillRect/>
          </a:stretch>
        </p:blipFill>
        <p:spPr bwMode="auto">
          <a:xfrm>
            <a:off x="1594170" y="4508925"/>
            <a:ext cx="650396" cy="614911"/>
          </a:xfrm>
          <a:prstGeom prst="flowChartConnector">
            <a:avLst/>
          </a:prstGeom>
          <a:noFill/>
          <a:effectLst/>
          <a:extLst>
            <a:ext uri="{909E8E84-426E-40DD-AFC4-6F175D3DCCD1}">
              <a14:hiddenFill xmlns:a14="http://schemas.microsoft.com/office/drawing/2010/main">
                <a:solidFill>
                  <a:srgbClr val="FFFFFF"/>
                </a:solidFill>
              </a14:hiddenFill>
            </a:ext>
          </a:extLst>
        </p:spPr>
      </p:pic>
      <p:pic>
        <p:nvPicPr>
          <p:cNvPr id="86" name="Picture 85">
            <a:extLst>
              <a:ext uri="{FF2B5EF4-FFF2-40B4-BE49-F238E27FC236}">
                <a16:creationId xmlns:a16="http://schemas.microsoft.com/office/drawing/2014/main" id="{6AF7575E-18E2-4CF4-8BF2-580013F16C16}"/>
              </a:ext>
            </a:extLst>
          </p:cNvPr>
          <p:cNvPicPr>
            <a:picLocks noChangeAspect="1"/>
          </p:cNvPicPr>
          <p:nvPr/>
        </p:nvPicPr>
        <p:blipFill rotWithShape="1">
          <a:blip r:embed="rId8">
            <a:grayscl/>
            <a:extLst>
              <a:ext uri="{28A0092B-C50C-407E-A947-70E740481C1C}">
                <a14:useLocalDpi xmlns:a14="http://schemas.microsoft.com/office/drawing/2010/main" val="0"/>
              </a:ext>
            </a:extLst>
          </a:blip>
          <a:srcRect t="3939" b="20045"/>
          <a:stretch/>
        </p:blipFill>
        <p:spPr>
          <a:xfrm>
            <a:off x="1590095" y="5179740"/>
            <a:ext cx="637340" cy="610692"/>
          </a:xfrm>
          <a:prstGeom prst="flowChartConnector">
            <a:avLst/>
          </a:prstGeom>
        </p:spPr>
      </p:pic>
      <p:pic>
        <p:nvPicPr>
          <p:cNvPr id="87" name="Picture 86" descr="User Photo">
            <a:extLst>
              <a:ext uri="{FF2B5EF4-FFF2-40B4-BE49-F238E27FC236}">
                <a16:creationId xmlns:a16="http://schemas.microsoft.com/office/drawing/2014/main" id="{5901261A-B6B1-4C88-A04A-A18344106240}"/>
              </a:ext>
            </a:extLst>
          </p:cNvPr>
          <p:cNvPicPr>
            <a:picLocks noChangeAspect="1" noChangeArrowheads="1"/>
          </p:cNvPicPr>
          <p:nvPr/>
        </p:nvPicPr>
        <p:blipFill>
          <a:blip r:embed="rId9">
            <a:grayscl/>
            <a:extLst>
              <a:ext uri="{28A0092B-C50C-407E-A947-70E740481C1C}">
                <a14:useLocalDpi xmlns:a14="http://schemas.microsoft.com/office/drawing/2010/main" val="0"/>
              </a:ext>
            </a:extLst>
          </a:blip>
          <a:srcRect/>
          <a:stretch>
            <a:fillRect/>
          </a:stretch>
        </p:blipFill>
        <p:spPr bwMode="auto">
          <a:xfrm>
            <a:off x="1644888" y="5860492"/>
            <a:ext cx="568785" cy="517395"/>
          </a:xfrm>
          <a:prstGeom prst="flowChartConnector">
            <a:avLst/>
          </a:prstGeom>
          <a:noFill/>
          <a:effectLst/>
          <a:extLst>
            <a:ext uri="{909E8E84-426E-40DD-AFC4-6F175D3DCCD1}">
              <a14:hiddenFill xmlns:a14="http://schemas.microsoft.com/office/drawing/2010/main">
                <a:solidFill>
                  <a:srgbClr val="FFFFFF"/>
                </a:solidFill>
              </a14:hiddenFill>
            </a:ext>
          </a:extLst>
        </p:spPr>
      </p:pic>
      <p:pic>
        <p:nvPicPr>
          <p:cNvPr id="93" name="Picture 92">
            <a:extLst>
              <a:ext uri="{FF2B5EF4-FFF2-40B4-BE49-F238E27FC236}">
                <a16:creationId xmlns:a16="http://schemas.microsoft.com/office/drawing/2014/main" id="{B6B1D651-2DD7-447F-9451-4BDA0E7F5067}"/>
              </a:ext>
            </a:extLst>
          </p:cNvPr>
          <p:cNvPicPr>
            <a:picLocks noChangeAspect="1"/>
          </p:cNvPicPr>
          <p:nvPr/>
        </p:nvPicPr>
        <p:blipFill>
          <a:blip r:embed="rId10" cstate="print">
            <a:grayscl/>
            <a:extLst>
              <a:ext uri="{28A0092B-C50C-407E-A947-70E740481C1C}">
                <a14:useLocalDpi xmlns:a14="http://schemas.microsoft.com/office/drawing/2010/main" val="0"/>
              </a:ext>
            </a:extLst>
          </a:blip>
          <a:stretch>
            <a:fillRect/>
          </a:stretch>
        </p:blipFill>
        <p:spPr>
          <a:xfrm>
            <a:off x="1613194" y="6454647"/>
            <a:ext cx="573496" cy="564227"/>
          </a:xfrm>
          <a:prstGeom prst="flowChartConnector">
            <a:avLst/>
          </a:prstGeom>
        </p:spPr>
      </p:pic>
      <p:pic>
        <p:nvPicPr>
          <p:cNvPr id="98" name="Picture 97">
            <a:extLst>
              <a:ext uri="{FF2B5EF4-FFF2-40B4-BE49-F238E27FC236}">
                <a16:creationId xmlns:a16="http://schemas.microsoft.com/office/drawing/2014/main" id="{65D878A0-1E90-409F-8FA4-482B2FF2D26E}"/>
              </a:ext>
            </a:extLst>
          </p:cNvPr>
          <p:cNvPicPr>
            <a:picLocks noChangeAspect="1"/>
          </p:cNvPicPr>
          <p:nvPr/>
        </p:nvPicPr>
        <p:blipFill rotWithShape="1">
          <a:blip r:embed="rId11" cstate="print">
            <a:extLst>
              <a:ext uri="{BEBA8EAE-BF5A-486C-A8C5-ECC9F3942E4B}">
                <a14:imgProps xmlns:a14="http://schemas.microsoft.com/office/drawing/2010/main">
                  <a14:imgLayer r:embed="rId12">
                    <a14:imgEffect>
                      <a14:saturation sat="0"/>
                    </a14:imgEffect>
                  </a14:imgLayer>
                </a14:imgProps>
              </a:ext>
              <a:ext uri="{28A0092B-C50C-407E-A947-70E740481C1C}">
                <a14:useLocalDpi xmlns:a14="http://schemas.microsoft.com/office/drawing/2010/main" val="0"/>
              </a:ext>
            </a:extLst>
          </a:blip>
          <a:srcRect/>
          <a:stretch/>
        </p:blipFill>
        <p:spPr>
          <a:xfrm>
            <a:off x="1642292" y="2066803"/>
            <a:ext cx="554151" cy="554151"/>
          </a:xfrm>
          <a:prstGeom prst="ellipse">
            <a:avLst/>
          </a:prstGeom>
        </p:spPr>
      </p:pic>
      <p:sp>
        <p:nvSpPr>
          <p:cNvPr id="15" name="TextBox 14">
            <a:extLst>
              <a:ext uri="{FF2B5EF4-FFF2-40B4-BE49-F238E27FC236}">
                <a16:creationId xmlns:a16="http://schemas.microsoft.com/office/drawing/2014/main" id="{C6C0B8FB-4F3D-49F7-A843-17BF11559B5B}"/>
              </a:ext>
            </a:extLst>
          </p:cNvPr>
          <p:cNvSpPr txBox="1"/>
          <p:nvPr/>
        </p:nvSpPr>
        <p:spPr>
          <a:xfrm rot="16200000">
            <a:off x="-687531" y="5201558"/>
            <a:ext cx="3279938" cy="471249"/>
          </a:xfrm>
          <a:prstGeom prst="rect">
            <a:avLst/>
          </a:prstGeom>
          <a:solidFill>
            <a:schemeClr val="tx1">
              <a:lumMod val="50000"/>
              <a:lumOff val="50000"/>
            </a:schemeClr>
          </a:solidFill>
          <a:ln>
            <a:noFill/>
          </a:ln>
        </p:spPr>
        <p:txBody>
          <a:bodyPr wrap="square" rtlCol="0" anchor="ctr" anchorCtr="0">
            <a:noAutofit/>
          </a:bodyPr>
          <a:lstStyle/>
          <a:p>
            <a:pPr marL="0" marR="0" lvl="0" indent="0" algn="ctr" defTabSz="914400" eaLnBrk="1" fontAlgn="auto" latinLnBrk="0" hangingPunct="1">
              <a:lnSpc>
                <a:spcPct val="100000"/>
              </a:lnSpc>
              <a:spcBef>
                <a:spcPts val="200"/>
              </a:spcBef>
              <a:spcAft>
                <a:spcPts val="200"/>
              </a:spcAft>
              <a:buClrTx/>
              <a:buSzTx/>
              <a:buFontTx/>
              <a:buNone/>
              <a:tabLst/>
              <a:defRPr/>
            </a:pPr>
            <a:r>
              <a:rPr kumimoji="0" lang="en-US" sz="1200" b="1" i="0" u="none" strike="noStrike" kern="0" cap="none" spc="0" normalizeH="0" baseline="0" noProof="0" dirty="0">
                <a:ln>
                  <a:noFill/>
                </a:ln>
                <a:solidFill>
                  <a:srgbClr val="FFFFFF"/>
                </a:solidFill>
                <a:effectLst/>
                <a:uLnTx/>
                <a:uFillTx/>
                <a:latin typeface="EYInterstate" panose="02000503020000020004" pitchFamily="2" charset="0"/>
                <a:ea typeface="Century Gothic" charset="0"/>
                <a:cs typeface="Century Gothic" charset="0"/>
              </a:rPr>
              <a:t>Data science and data management team</a:t>
            </a:r>
          </a:p>
        </p:txBody>
      </p:sp>
      <p:pic>
        <p:nvPicPr>
          <p:cNvPr id="16" name="Picture 15">
            <a:extLst>
              <a:ext uri="{FF2B5EF4-FFF2-40B4-BE49-F238E27FC236}">
                <a16:creationId xmlns:a16="http://schemas.microsoft.com/office/drawing/2014/main" id="{F81E9945-1681-4A09-B4EC-9933C3971A94}"/>
              </a:ext>
            </a:extLst>
          </p:cNvPr>
          <p:cNvPicPr>
            <a:picLocks noChangeAspect="1"/>
          </p:cNvPicPr>
          <p:nvPr/>
        </p:nvPicPr>
        <p:blipFill rotWithShape="1">
          <a:blip r:embed="rId13" cstate="print">
            <a:grayscl/>
            <a:extLst>
              <a:ext uri="{28A0092B-C50C-407E-A947-70E740481C1C}">
                <a14:useLocalDpi xmlns:a14="http://schemas.microsoft.com/office/drawing/2010/main" val="0"/>
              </a:ext>
            </a:extLst>
          </a:blip>
          <a:srcRect l="1927" r="1249" b="8093"/>
          <a:stretch/>
        </p:blipFill>
        <p:spPr>
          <a:xfrm>
            <a:off x="1663360" y="2644506"/>
            <a:ext cx="512014" cy="573424"/>
          </a:xfrm>
          <a:prstGeom prst="flowChartConnector">
            <a:avLst/>
          </a:prstGeom>
        </p:spPr>
      </p:pic>
    </p:spTree>
    <p:extLst>
      <p:ext uri="{BB962C8B-B14F-4D97-AF65-F5344CB8AC3E}">
        <p14:creationId xmlns:p14="http://schemas.microsoft.com/office/powerpoint/2010/main" val="168573264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able 9">
            <a:extLst>
              <a:ext uri="{FF2B5EF4-FFF2-40B4-BE49-F238E27FC236}">
                <a16:creationId xmlns:a16="http://schemas.microsoft.com/office/drawing/2014/main" id="{BF83DA13-5163-4A10-AE2E-D5E53C89CF5B}"/>
              </a:ext>
            </a:extLst>
          </p:cNvPr>
          <p:cNvGraphicFramePr>
            <a:graphicFrameLocks noGrp="1"/>
          </p:cNvGraphicFramePr>
          <p:nvPr>
            <p:extLst>
              <p:ext uri="{D42A27DB-BD31-4B8C-83A1-F6EECF244321}">
                <p14:modId xmlns:p14="http://schemas.microsoft.com/office/powerpoint/2010/main" val="3402939452"/>
              </p:ext>
            </p:extLst>
          </p:nvPr>
        </p:nvGraphicFramePr>
        <p:xfrm>
          <a:off x="851000" y="979200"/>
          <a:ext cx="5901691" cy="5989320"/>
        </p:xfrm>
        <a:graphic>
          <a:graphicData uri="http://schemas.openxmlformats.org/drawingml/2006/table">
            <a:tbl>
              <a:tblPr firstRow="1" bandRow="1">
                <a:tableStyleId>{073A0DAA-6AF3-43AB-8588-CEC1D06C72B9}</a:tableStyleId>
              </a:tblPr>
              <a:tblGrid>
                <a:gridCol w="1489967">
                  <a:extLst>
                    <a:ext uri="{9D8B030D-6E8A-4147-A177-3AD203B41FA5}">
                      <a16:colId xmlns:a16="http://schemas.microsoft.com/office/drawing/2014/main" val="3339861616"/>
                    </a:ext>
                  </a:extLst>
                </a:gridCol>
                <a:gridCol w="1464247">
                  <a:extLst>
                    <a:ext uri="{9D8B030D-6E8A-4147-A177-3AD203B41FA5}">
                      <a16:colId xmlns:a16="http://schemas.microsoft.com/office/drawing/2014/main" val="2049419460"/>
                    </a:ext>
                  </a:extLst>
                </a:gridCol>
                <a:gridCol w="980247">
                  <a:extLst>
                    <a:ext uri="{9D8B030D-6E8A-4147-A177-3AD203B41FA5}">
                      <a16:colId xmlns:a16="http://schemas.microsoft.com/office/drawing/2014/main" val="3827351894"/>
                    </a:ext>
                  </a:extLst>
                </a:gridCol>
                <a:gridCol w="1967230">
                  <a:extLst>
                    <a:ext uri="{9D8B030D-6E8A-4147-A177-3AD203B41FA5}">
                      <a16:colId xmlns:a16="http://schemas.microsoft.com/office/drawing/2014/main" val="2130450578"/>
                    </a:ext>
                  </a:extLst>
                </a:gridCol>
              </a:tblGrid>
              <a:tr h="251864">
                <a:tc gridSpan="4">
                  <a:txBody>
                    <a:bodyPr/>
                    <a:lstStyle/>
                    <a:p>
                      <a:r>
                        <a:rPr lang="en-US" sz="1200">
                          <a:solidFill>
                            <a:schemeClr val="tx2"/>
                          </a:solidFill>
                        </a:rPr>
                        <a:t>ENGAGEMENT PARTNER</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00A3AE"/>
                    </a:solidFill>
                  </a:tcPr>
                </a:tc>
                <a:tc hMerge="1">
                  <a:txBody>
                    <a:bodyPr/>
                    <a:lstStyle/>
                    <a:p>
                      <a:endParaRPr lang="en-US" sz="1400">
                        <a:solidFill>
                          <a:srgbClr val="000000"/>
                        </a:solidFill>
                      </a:endParaRPr>
                    </a:p>
                  </a:txBody>
                  <a:tcPr>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lnL w="12700" cmpd="sng">
                      <a:noFill/>
                    </a:lnL>
                  </a:tcPr>
                </a:tc>
                <a:tc hMerge="1">
                  <a:txBody>
                    <a:bodyPr/>
                    <a:lstStyle/>
                    <a:p>
                      <a:endParaRPr lang="en-US"/>
                    </a:p>
                  </a:txBody>
                  <a:tcPr/>
                </a:tc>
                <a:extLst>
                  <a:ext uri="{0D108BD9-81ED-4DB2-BD59-A6C34878D82A}">
                    <a16:rowId xmlns:a16="http://schemas.microsoft.com/office/drawing/2014/main" val="1267045867"/>
                  </a:ext>
                </a:extLst>
              </a:tr>
              <a:tr h="274320">
                <a:tc gridSpan="4">
                  <a:txBody>
                    <a:bodyPr/>
                    <a:lstStyle/>
                    <a:p>
                      <a:endParaRPr lang="en-US" sz="1050">
                        <a:solidFill>
                          <a:srgbClr val="45B9BE"/>
                        </a:solidFill>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hMerge="1">
                  <a:txBody>
                    <a:bodyPr/>
                    <a:lstStyle/>
                    <a:p>
                      <a:endParaRPr lang="en-US"/>
                    </a:p>
                  </a:txBody>
                  <a:tcPr>
                    <a:lnT w="38100" cmpd="sng">
                      <a:noFill/>
                    </a:lnT>
                  </a:tcPr>
                </a:tc>
                <a:tc hMerge="1">
                  <a:txBody>
                    <a:bodyPr/>
                    <a:lstStyle/>
                    <a:p>
                      <a:endParaRPr lang="en-US"/>
                    </a:p>
                  </a:txBody>
                  <a:tcPr>
                    <a:lnL w="12700" cmpd="sng">
                      <a:noFill/>
                    </a:lnL>
                  </a:tcPr>
                </a:tc>
                <a:tc hMerge="1">
                  <a:txBody>
                    <a:bodyPr/>
                    <a:lstStyle/>
                    <a:p>
                      <a:endParaRPr lang="en-US"/>
                    </a:p>
                  </a:txBody>
                  <a:tcPr/>
                </a:tc>
                <a:extLst>
                  <a:ext uri="{0D108BD9-81ED-4DB2-BD59-A6C34878D82A}">
                    <a16:rowId xmlns:a16="http://schemas.microsoft.com/office/drawing/2014/main" val="2152776218"/>
                  </a:ext>
                </a:extLst>
              </a:tr>
              <a:tr h="225120">
                <a:tc>
                  <a:txBody>
                    <a:bodyPr/>
                    <a:lstStyle/>
                    <a:p>
                      <a:endParaRPr lang="en-US" sz="1050"/>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r>
                        <a:rPr kumimoji="0" lang="en-IN" sz="1200" b="1" i="0" u="none" strike="noStrike" kern="1200" cap="none" spc="0" normalizeH="0" baseline="0" noProof="0">
                          <a:ln>
                            <a:noFill/>
                          </a:ln>
                          <a:solidFill>
                            <a:srgbClr val="000000"/>
                          </a:solidFill>
                          <a:effectLst/>
                          <a:uLnTx/>
                          <a:uFillTx/>
                          <a:latin typeface="+mn-lt"/>
                        </a:rPr>
                        <a:t>Lily Lim</a:t>
                      </a:r>
                      <a:endParaRPr lang="en-US" sz="1200">
                        <a:solidFill>
                          <a:srgbClr val="000000"/>
                        </a:solidFill>
                      </a:endParaRPr>
                    </a:p>
                  </a:txBody>
                  <a:tcPr>
                    <a:lnL w="12700" cmpd="sng">
                      <a:noFill/>
                    </a:lnL>
                    <a:lnR w="12700" cap="flat" cmpd="sng" algn="ctr">
                      <a:solidFill>
                        <a:schemeClr val="tx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r>
                        <a:rPr kumimoji="0" lang="en-IN" sz="1200" b="0" i="0" u="none" strike="noStrike" kern="1200" cap="none" spc="0" normalizeH="0" baseline="0" noProof="0">
                          <a:ln>
                            <a:noFill/>
                          </a:ln>
                          <a:solidFill>
                            <a:srgbClr val="000000"/>
                          </a:solidFill>
                          <a:effectLst/>
                          <a:uLnTx/>
                          <a:uFillTx/>
                          <a:latin typeface="+mn-lt"/>
                        </a:rPr>
                        <a:t>Partner, FSO Technology Consulting</a:t>
                      </a:r>
                    </a:p>
                  </a:txBody>
                  <a:tcP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extLst>
                  <a:ext uri="{0D108BD9-81ED-4DB2-BD59-A6C34878D82A}">
                    <a16:rowId xmlns:a16="http://schemas.microsoft.com/office/drawing/2014/main" val="2083915768"/>
                  </a:ext>
                </a:extLst>
              </a:tr>
              <a:tr h="225120">
                <a:tc>
                  <a:txBody>
                    <a:bodyPr/>
                    <a:lstStyle/>
                    <a:p>
                      <a:endParaRPr lang="en-US" sz="1050"/>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endParaRPr lang="en-US" sz="1050">
                        <a:solidFill>
                          <a:srgbClr val="000000"/>
                        </a:solidFill>
                      </a:endParaRPr>
                    </a:p>
                  </a:txBody>
                  <a:tcPr>
                    <a:lnL w="12700" cmpd="sng">
                      <a:noFill/>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endParaRPr lang="en-IN" sz="1200" b="0" i="0">
                        <a:solidFill>
                          <a:srgbClr val="000000"/>
                        </a:solidFill>
                        <a:latin typeface="+mn-lt"/>
                      </a:endParaRPr>
                    </a:p>
                  </a:txBody>
                  <a:tcPr>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extLst>
                  <a:ext uri="{0D108BD9-81ED-4DB2-BD59-A6C34878D82A}">
                    <a16:rowId xmlns:a16="http://schemas.microsoft.com/office/drawing/2014/main" val="2018406057"/>
                  </a:ext>
                </a:extLst>
              </a:tr>
              <a:tr h="22512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b="1" u="sng">
                          <a:solidFill>
                            <a:srgbClr val="000000"/>
                          </a:solidFill>
                        </a:rPr>
                        <a:t>ABLE TO WORK IN SG</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b="1" u="sng">
                          <a:solidFill>
                            <a:srgbClr val="000000"/>
                          </a:solidFill>
                        </a:rPr>
                        <a:t>HIGHEST EDUCATION</a:t>
                      </a:r>
                      <a:endParaRPr lang="en-US" sz="1050" b="1">
                        <a:solidFill>
                          <a:srgbClr val="000000"/>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lnL w="12700" cmpd="sng">
                      <a:noFill/>
                    </a:lnL>
                    <a:lnT w="12700" cmpd="sng">
                      <a:noFill/>
                    </a:lnT>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b="1" u="sng">
                          <a:solidFill>
                            <a:srgbClr val="000000"/>
                          </a:solidFill>
                        </a:rPr>
                        <a:t>EMPLOYMENT (LAST 3 YEAR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46864712"/>
                  </a:ext>
                </a:extLst>
              </a:tr>
              <a:tr h="22512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b="0" kern="1200">
                          <a:solidFill>
                            <a:srgbClr val="000000"/>
                          </a:solidFill>
                          <a:latin typeface="+mn-lt"/>
                          <a:ea typeface="+mn-ea"/>
                          <a:cs typeface="+mn-cs"/>
                        </a:rPr>
                        <a:t>Ye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r>
                        <a:rPr lang="en-US" sz="1050" kern="0">
                          <a:solidFill>
                            <a:srgbClr val="000000"/>
                          </a:solidFill>
                        </a:rPr>
                        <a:t>Bachelor of Chemical Engineering (Hons), University of New South Wales, Australia.</a:t>
                      </a:r>
                      <a:endParaRPr lang="en-US" sz="1050" b="0">
                        <a:solidFill>
                          <a:schemeClr val="bg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lnL w="12700" cmpd="sng">
                      <a:noFill/>
                    </a:ln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mn-lt"/>
                          <a:ea typeface="+mn-ea"/>
                          <a:cs typeface="+mn-cs"/>
                        </a:rPr>
                        <a:t>Technology Consulting Practice Lead in EY</a:t>
                      </a:r>
                      <a:endParaRPr lang="en-US" sz="1050" b="0" i="0" u="none" strike="noStrike" kern="1200" noProof="0">
                        <a:highlight>
                          <a:srgbClr val="FFFF00"/>
                        </a:highligh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47307066"/>
                  </a:ext>
                </a:extLst>
              </a:tr>
              <a:tr h="225120">
                <a:tc gridSpan="4">
                  <a:txBody>
                    <a:bodyPr/>
                    <a:lstStyle/>
                    <a:p>
                      <a:pPr marL="0" algn="l" defTabSz="914400" rtl="0" eaLnBrk="1" latinLnBrk="0" hangingPunct="1"/>
                      <a:r>
                        <a:rPr lang="en-US" sz="1050" b="1" u="sng" kern="1200">
                          <a:solidFill>
                            <a:srgbClr val="000000"/>
                          </a:solidFill>
                          <a:latin typeface="+mn-lt"/>
                          <a:ea typeface="+mn-ea"/>
                          <a:cs typeface="+mn-cs"/>
                        </a:rPr>
                        <a:t>BACKGROUND</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lnT w="12700" cmpd="sng">
                      <a:noFill/>
                    </a:lnT>
                  </a:tcPr>
                </a:tc>
                <a:tc hMerge="1">
                  <a:txBody>
                    <a:bodyPr/>
                    <a:lstStyle/>
                    <a:p>
                      <a:endParaRPr lang="en-US"/>
                    </a:p>
                  </a:txBody>
                  <a:tcPr>
                    <a:lnL w="12700" cmpd="sng">
                      <a:noFill/>
                    </a:lnL>
                  </a:tcPr>
                </a:tc>
                <a:tc hMerge="1">
                  <a:txBody>
                    <a:bodyPr/>
                    <a:lstStyle/>
                    <a:p>
                      <a:endParaRPr lang="en-US"/>
                    </a:p>
                  </a:txBody>
                  <a:tcPr/>
                </a:tc>
                <a:extLst>
                  <a:ext uri="{0D108BD9-81ED-4DB2-BD59-A6C34878D82A}">
                    <a16:rowId xmlns:a16="http://schemas.microsoft.com/office/drawing/2014/main" val="3678239183"/>
                  </a:ext>
                </a:extLst>
              </a:tr>
              <a:tr h="941413">
                <a:tc gridSpan="4">
                  <a:txBody>
                    <a:bodyPr/>
                    <a:lstStyle/>
                    <a:p>
                      <a:pPr marL="171450" indent="-171450" algn="l" defTabSz="914400" rtl="0" eaLnBrk="1" latinLnBrk="0" hangingPunct="1">
                        <a:buFont typeface="Arial"/>
                        <a:buChar char="•"/>
                      </a:pPr>
                      <a:r>
                        <a:rPr lang="en-US" sz="1050" b="0" kern="1200">
                          <a:solidFill>
                            <a:srgbClr val="000000"/>
                          </a:solidFill>
                          <a:latin typeface="+mn-lt"/>
                          <a:ea typeface="+mn-ea"/>
                          <a:cs typeface="+mn-cs"/>
                        </a:rPr>
                        <a:t>Lily has over 25 years of management and systems implementation experience in the financial services sector (banking and insurance). She has extensive experience in complex program management and delivery which include core banking, core insurance, merger integration, data mart implementation as well as operating model design for bancassurance  customer digital strategy, CRM, and robotics process automation (RPA).   ​</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a:p>
                  </a:txBody>
                  <a:tcPr>
                    <a:lnL w="12700" cmpd="sng">
                      <a:noFill/>
                    </a:lnL>
                  </a:tcPr>
                </a:tc>
                <a:tc hMerge="1">
                  <a:txBody>
                    <a:bodyPr/>
                    <a:lstStyle/>
                    <a:p>
                      <a:endParaRPr lang="en-US"/>
                    </a:p>
                  </a:txBody>
                  <a:tcPr/>
                </a:tc>
                <a:extLst>
                  <a:ext uri="{0D108BD9-81ED-4DB2-BD59-A6C34878D82A}">
                    <a16:rowId xmlns:a16="http://schemas.microsoft.com/office/drawing/2014/main" val="3917136942"/>
                  </a:ext>
                </a:extLst>
              </a:tr>
              <a:tr h="225120">
                <a:tc gridSpan="4">
                  <a:txBody>
                    <a:bodyPr/>
                    <a:lstStyle/>
                    <a:p>
                      <a:pPr marL="0" marR="0" lvl="0" indent="0" algn="l" defTabSz="1266737" rtl="0" eaLnBrk="1" latinLnBrk="0" hangingPunct="1">
                        <a:lnSpc>
                          <a:spcPct val="100000"/>
                        </a:lnSpc>
                        <a:spcBef>
                          <a:spcPts val="0"/>
                        </a:spcBef>
                        <a:spcAft>
                          <a:spcPts val="0"/>
                        </a:spcAft>
                        <a:buNone/>
                      </a:pPr>
                      <a:r>
                        <a:rPr lang="en-US" sz="1050" b="1" u="sng" kern="1200" noProof="0">
                          <a:solidFill>
                            <a:srgbClr val="000000"/>
                          </a:solidFill>
                          <a:latin typeface="+mn-lt"/>
                          <a:ea typeface="+mn-ea"/>
                          <a:cs typeface="+mn-cs"/>
                        </a:rPr>
                        <a:t>PROFESSIONAL CAPABILITIE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pPr marL="0" marR="0" lvl="0" indent="0" algn="l">
                        <a:lnSpc>
                          <a:spcPct val="100000"/>
                        </a:lnSpc>
                        <a:spcBef>
                          <a:spcPts val="0"/>
                        </a:spcBef>
                        <a:spcAft>
                          <a:spcPts val="0"/>
                        </a:spcAft>
                        <a:buNone/>
                      </a:pPr>
                      <a:endParaRPr lang="en-US" sz="1050" b="0" i="0" u="none" strike="noStrike" kern="1200" noProof="0">
                        <a:highlight>
                          <a:srgbClr val="FFFF00"/>
                        </a:highlight>
                      </a:endParaRPr>
                    </a:p>
                  </a:txBody>
                  <a:tcPr>
                    <a:lnL w="12700" cmpd="sng">
                      <a:noFill/>
                    </a:lnL>
                    <a:lnT w="12700" cmpd="sng">
                      <a:noFill/>
                    </a:lnT>
                  </a:tcPr>
                </a:tc>
                <a:tc hMerge="1">
                  <a:txBody>
                    <a:bodyPr/>
                    <a:lstStyle/>
                    <a:p>
                      <a:endParaRPr lang="en-US"/>
                    </a:p>
                  </a:txBody>
                  <a:tcPr/>
                </a:tc>
                <a:extLst>
                  <a:ext uri="{0D108BD9-81ED-4DB2-BD59-A6C34878D82A}">
                    <a16:rowId xmlns:a16="http://schemas.microsoft.com/office/drawing/2014/main" val="3711216452"/>
                  </a:ext>
                </a:extLst>
              </a:tr>
              <a:tr h="225120">
                <a:tc gridSpan="4">
                  <a:txBody>
                    <a:bodyPr/>
                    <a:lstStyle/>
                    <a:p>
                      <a:pPr marL="171450" marR="0" lvl="0" indent="-171450" algn="l" defTabSz="1266737" rtl="0" eaLnBrk="1" latinLnBrk="0" hangingPunct="1">
                        <a:lnSpc>
                          <a:spcPct val="100000"/>
                        </a:lnSpc>
                        <a:spcBef>
                          <a:spcPts val="0"/>
                        </a:spcBef>
                        <a:spcAft>
                          <a:spcPts val="0"/>
                        </a:spcAft>
                        <a:buFont typeface="Arial" panose="020B0604020202020204" pitchFamily="34" charset="0"/>
                        <a:buChar char="•"/>
                      </a:pPr>
                      <a:r>
                        <a:rPr kumimoji="0" lang="en-US" sz="1050" b="0" i="0" u="none" strike="noStrike" kern="1200" cap="none" spc="0" normalizeH="0" baseline="0" noProof="0">
                          <a:ln>
                            <a:noFill/>
                          </a:ln>
                          <a:solidFill>
                            <a:srgbClr val="000000"/>
                          </a:solidFill>
                          <a:effectLst/>
                          <a:uLnTx/>
                          <a:uFillTx/>
                          <a:latin typeface="+mn-lt"/>
                          <a:ea typeface="+mn-ea"/>
                          <a:cs typeface="+mn-cs"/>
                        </a:rPr>
                        <a:t>Retail Banking, Wealth Management, Credit Card Industry</a:t>
                      </a:r>
                    </a:p>
                    <a:p>
                      <a:pPr marL="171450" marR="0" lvl="0" indent="-171450" algn="l" defTabSz="1266737" rtl="0" eaLnBrk="1" latinLnBrk="0" hangingPunct="1">
                        <a:lnSpc>
                          <a:spcPct val="100000"/>
                        </a:lnSpc>
                        <a:spcBef>
                          <a:spcPts val="0"/>
                        </a:spcBef>
                        <a:spcAft>
                          <a:spcPts val="0"/>
                        </a:spcAft>
                        <a:buFont typeface="Arial" panose="020B0604020202020204" pitchFamily="34" charset="0"/>
                        <a:buChar char="•"/>
                      </a:pPr>
                      <a:r>
                        <a:rPr kumimoji="0" lang="en-US" sz="1050" b="0" i="0" u="none" strike="noStrike" kern="1200" cap="none" spc="0" normalizeH="0" baseline="0" noProof="0">
                          <a:ln>
                            <a:noFill/>
                          </a:ln>
                          <a:solidFill>
                            <a:srgbClr val="000000"/>
                          </a:solidFill>
                          <a:effectLst/>
                          <a:uLnTx/>
                          <a:uFillTx/>
                          <a:latin typeface="+mn-lt"/>
                          <a:ea typeface="+mn-ea"/>
                          <a:cs typeface="+mn-cs"/>
                        </a:rPr>
                        <a:t>IT Strategy and Enterprise Architecture</a:t>
                      </a:r>
                    </a:p>
                    <a:p>
                      <a:pPr marL="171450" marR="0" lvl="0" indent="-171450" algn="l" defTabSz="1266737" rtl="0" eaLnBrk="1" latinLnBrk="0" hangingPunct="1">
                        <a:lnSpc>
                          <a:spcPct val="100000"/>
                        </a:lnSpc>
                        <a:spcBef>
                          <a:spcPts val="0"/>
                        </a:spcBef>
                        <a:spcAft>
                          <a:spcPts val="0"/>
                        </a:spcAft>
                        <a:buFont typeface="Arial" panose="020B0604020202020204" pitchFamily="34" charset="0"/>
                        <a:buChar char="•"/>
                      </a:pPr>
                      <a:r>
                        <a:rPr kumimoji="0" lang="en-US" sz="1050" b="0" i="0" u="none" strike="noStrike" kern="1200" cap="none" spc="0" normalizeH="0" baseline="0" noProof="0">
                          <a:ln>
                            <a:noFill/>
                          </a:ln>
                          <a:solidFill>
                            <a:srgbClr val="000000"/>
                          </a:solidFill>
                          <a:effectLst/>
                          <a:uLnTx/>
                          <a:uFillTx/>
                          <a:latin typeface="+mn-lt"/>
                          <a:ea typeface="+mn-ea"/>
                          <a:cs typeface="+mn-cs"/>
                        </a:rPr>
                        <a:t>Insurance</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a:p>
                  </a:txBody>
                  <a:tcPr>
                    <a:lnL w="12700" cmpd="sng">
                      <a:noFill/>
                    </a:lnL>
                  </a:tcPr>
                </a:tc>
                <a:tc hMerge="1">
                  <a:txBody>
                    <a:bodyPr/>
                    <a:lstStyle/>
                    <a:p>
                      <a:endParaRPr lang="en-US"/>
                    </a:p>
                  </a:txBody>
                  <a:tcPr/>
                </a:tc>
                <a:extLst>
                  <a:ext uri="{0D108BD9-81ED-4DB2-BD59-A6C34878D82A}">
                    <a16:rowId xmlns:a16="http://schemas.microsoft.com/office/drawing/2014/main" val="1009631101"/>
                  </a:ext>
                </a:extLst>
              </a:tr>
              <a:tr h="225120">
                <a:tc gridSpan="4">
                  <a:txBody>
                    <a:bodyPr/>
                    <a:lstStyle/>
                    <a:p>
                      <a:pPr marL="0" algn="l" defTabSz="914400" rtl="0" eaLnBrk="1" latinLnBrk="0" hangingPunct="1"/>
                      <a:r>
                        <a:rPr lang="en-US" sz="1050" b="1" u="sng" kern="1200">
                          <a:solidFill>
                            <a:srgbClr val="000000"/>
                          </a:solidFill>
                          <a:latin typeface="+mn-lt"/>
                          <a:ea typeface="+mn-ea"/>
                          <a:cs typeface="+mn-cs"/>
                        </a:rPr>
                        <a:t>RELEVANT EXPERIENCE</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a:p>
                  </a:txBody>
                  <a:tcPr>
                    <a:lnL w="12700" cmpd="sng">
                      <a:noFill/>
                    </a:lnL>
                    <a:lnT w="12700" cmpd="sng">
                      <a:noFill/>
                    </a:lnT>
                  </a:tcPr>
                </a:tc>
                <a:tc hMerge="1">
                  <a:txBody>
                    <a:bodyPr/>
                    <a:lstStyle/>
                    <a:p>
                      <a:endParaRPr lang="en-US"/>
                    </a:p>
                  </a:txBody>
                  <a:tcPr/>
                </a:tc>
                <a:extLst>
                  <a:ext uri="{0D108BD9-81ED-4DB2-BD59-A6C34878D82A}">
                    <a16:rowId xmlns:a16="http://schemas.microsoft.com/office/drawing/2014/main" val="3322682632"/>
                  </a:ext>
                </a:extLst>
              </a:tr>
              <a:tr h="225120">
                <a:tc gridSpan="4">
                  <a:txBody>
                    <a:bodyPr/>
                    <a:lstStyle/>
                    <a:p>
                      <a:pPr marL="171450" marR="0" lvl="0" indent="-171450" algn="l" defTabSz="1266737" rtl="0" eaLnBrk="1" latinLnBrk="0" hangingPunct="1">
                        <a:lnSpc>
                          <a:spcPct val="100000"/>
                        </a:lnSpc>
                        <a:spcBef>
                          <a:spcPts val="0"/>
                        </a:spcBef>
                        <a:spcAft>
                          <a:spcPts val="0"/>
                        </a:spcAft>
                        <a:buFont typeface="Arial" panose="020B0604020202020204" pitchFamily="34" charset="0"/>
                        <a:buChar char="•"/>
                      </a:pPr>
                      <a:r>
                        <a:rPr kumimoji="0" lang="en-US" sz="1050" b="0" i="0" u="none" strike="noStrike" kern="1200" cap="none" spc="0" normalizeH="0" baseline="0" noProof="0">
                          <a:ln>
                            <a:noFill/>
                          </a:ln>
                          <a:solidFill>
                            <a:srgbClr val="000000"/>
                          </a:solidFill>
                          <a:effectLst/>
                          <a:uLnTx/>
                          <a:uFillTx/>
                          <a:latin typeface="+mn-lt"/>
                          <a:ea typeface="+mn-ea"/>
                          <a:cs typeface="+mn-cs"/>
                        </a:rPr>
                        <a:t>Regional Insurer - RPA COE Design and implementation.  The COE was designed with the intent to support the insurer’s vision of capitalizing on technology to lift its productivity and speed to market.  A customized tool was developed to allow the insurer to prioritize its processes against a set of common KPIs across lines of business.​</a:t>
                      </a:r>
                    </a:p>
                    <a:p>
                      <a:pPr marL="0" marR="0" lvl="0" indent="0" algn="l" defTabSz="1266737" rtl="0" eaLnBrk="1" latinLnBrk="0" hangingPunct="1">
                        <a:lnSpc>
                          <a:spcPct val="100000"/>
                        </a:lnSpc>
                        <a:spcBef>
                          <a:spcPts val="0"/>
                        </a:spcBef>
                        <a:spcAft>
                          <a:spcPts val="0"/>
                        </a:spcAft>
                        <a:buFont typeface="Arial" panose="020B0604020202020204" pitchFamily="34" charset="0"/>
                        <a:buNone/>
                      </a:pPr>
                      <a:endParaRPr kumimoji="0" lang="en-US" sz="1050" b="0" i="0" u="none" strike="noStrike" kern="1200" cap="none" spc="0" normalizeH="0" baseline="0" noProof="0">
                        <a:ln>
                          <a:noFill/>
                        </a:ln>
                        <a:solidFill>
                          <a:srgbClr val="000000"/>
                        </a:solidFill>
                        <a:effectLst/>
                        <a:uLnTx/>
                        <a:uFillTx/>
                        <a:latin typeface="+mn-lt"/>
                        <a:ea typeface="+mn-ea"/>
                        <a:cs typeface="+mn-cs"/>
                      </a:endParaRPr>
                    </a:p>
                    <a:p>
                      <a:pPr marL="171450" marR="0" lvl="0" indent="-171450" algn="l" defTabSz="1266737" rtl="0" eaLnBrk="1" latinLnBrk="0" hangingPunct="1">
                        <a:lnSpc>
                          <a:spcPct val="100000"/>
                        </a:lnSpc>
                        <a:spcBef>
                          <a:spcPts val="0"/>
                        </a:spcBef>
                        <a:spcAft>
                          <a:spcPts val="0"/>
                        </a:spcAft>
                        <a:buFont typeface="Arial" panose="020B0604020202020204" pitchFamily="34" charset="0"/>
                        <a:buChar char="•"/>
                      </a:pPr>
                      <a:r>
                        <a:rPr kumimoji="0" lang="en-US" sz="1050" b="0" i="0" u="none" strike="noStrike" kern="1200" cap="none" spc="0" normalizeH="0" baseline="0" noProof="0">
                          <a:ln>
                            <a:noFill/>
                          </a:ln>
                          <a:solidFill>
                            <a:srgbClr val="000000"/>
                          </a:solidFill>
                          <a:effectLst/>
                          <a:uLnTx/>
                          <a:uFillTx/>
                          <a:latin typeface="+mn-lt"/>
                          <a:ea typeface="+mn-ea"/>
                          <a:cs typeface="+mn-cs"/>
                        </a:rPr>
                        <a:t>Regional Life Insurer – Digital Strategy. Team performed a close-up review of insurer’s key digital technology program, focusing on key risks and mitigation for its release plan, timeline, milestones, resource plan and budget. Developed a 3 – 5 year digital implementation roadmap based on the review outcome.​</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a:p>
                  </a:txBody>
                  <a:tcPr>
                    <a:lnL w="12700" cmpd="sng">
                      <a:noFill/>
                    </a:lnL>
                  </a:tcPr>
                </a:tc>
                <a:tc hMerge="1">
                  <a:txBody>
                    <a:bodyPr/>
                    <a:lstStyle/>
                    <a:p>
                      <a:endParaRPr lang="en-US"/>
                    </a:p>
                  </a:txBody>
                  <a:tcPr/>
                </a:tc>
                <a:extLst>
                  <a:ext uri="{0D108BD9-81ED-4DB2-BD59-A6C34878D82A}">
                    <a16:rowId xmlns:a16="http://schemas.microsoft.com/office/drawing/2014/main" val="2087447848"/>
                  </a:ext>
                </a:extLst>
              </a:tr>
            </a:tbl>
          </a:graphicData>
        </a:graphic>
      </p:graphicFrame>
      <p:sp>
        <p:nvSpPr>
          <p:cNvPr id="3" name="Title 2">
            <a:extLst>
              <a:ext uri="{FF2B5EF4-FFF2-40B4-BE49-F238E27FC236}">
                <a16:creationId xmlns:a16="http://schemas.microsoft.com/office/drawing/2014/main" id="{2628184F-BB51-4520-9982-EA93EF50D704}"/>
              </a:ext>
            </a:extLst>
          </p:cNvPr>
          <p:cNvSpPr>
            <a:spLocks noGrp="1"/>
          </p:cNvSpPr>
          <p:nvPr>
            <p:ph type="title"/>
          </p:nvPr>
        </p:nvSpPr>
        <p:spPr/>
        <p:txBody>
          <a:bodyPr/>
          <a:lstStyle/>
          <a:p>
            <a:r>
              <a:rPr lang="en-GB"/>
              <a:t>Our leadership team</a:t>
            </a:r>
            <a:endParaRPr lang="en-US"/>
          </a:p>
        </p:txBody>
      </p:sp>
      <p:pic>
        <p:nvPicPr>
          <p:cNvPr id="7" name="Picture 8" descr="User Photo">
            <a:extLst>
              <a:ext uri="{FF2B5EF4-FFF2-40B4-BE49-F238E27FC236}">
                <a16:creationId xmlns:a16="http://schemas.microsoft.com/office/drawing/2014/main" id="{D1EB8C8A-BF8F-43D5-88A6-A0C1A5CF386D}"/>
              </a:ext>
            </a:extLst>
          </p:cNvPr>
          <p:cNvPicPr>
            <a:picLocks noChangeAspect="1" noChangeArrowheads="1"/>
          </p:cNvPicPr>
          <p:nvPr/>
        </p:nvPicPr>
        <p:blipFill>
          <a:blip r:embed="rId3">
            <a:grayscl/>
            <a:extLst>
              <a:ext uri="{28A0092B-C50C-407E-A947-70E740481C1C}">
                <a14:useLocalDpi xmlns:a14="http://schemas.microsoft.com/office/drawing/2010/main" val="0"/>
              </a:ext>
            </a:extLst>
          </a:blip>
          <a:srcRect/>
          <a:stretch>
            <a:fillRect/>
          </a:stretch>
        </p:blipFill>
        <p:spPr bwMode="auto">
          <a:xfrm>
            <a:off x="1367399" y="1325715"/>
            <a:ext cx="718646" cy="718646"/>
          </a:xfrm>
          <a:prstGeom prst="flowChartConnector">
            <a:avLst/>
          </a:prstGeom>
          <a:noFill/>
          <a:effectLst/>
          <a:extLst>
            <a:ext uri="{909E8E84-426E-40DD-AFC4-6F175D3DCCD1}">
              <a14:hiddenFill xmlns:a14="http://schemas.microsoft.com/office/drawing/2010/main">
                <a:solidFill>
                  <a:srgbClr val="FFFFFF"/>
                </a:solidFill>
              </a14:hiddenFill>
            </a:ext>
          </a:extLst>
        </p:spPr>
      </p:pic>
      <p:graphicFrame>
        <p:nvGraphicFramePr>
          <p:cNvPr id="8" name="Table 7">
            <a:extLst>
              <a:ext uri="{FF2B5EF4-FFF2-40B4-BE49-F238E27FC236}">
                <a16:creationId xmlns:a16="http://schemas.microsoft.com/office/drawing/2014/main" id="{7A5A2827-2BFA-429B-B529-AC1ADBCD2C0A}"/>
              </a:ext>
            </a:extLst>
          </p:cNvPr>
          <p:cNvGraphicFramePr>
            <a:graphicFrameLocks noGrp="1"/>
          </p:cNvGraphicFramePr>
          <p:nvPr>
            <p:extLst>
              <p:ext uri="{D42A27DB-BD31-4B8C-83A1-F6EECF244321}">
                <p14:modId xmlns:p14="http://schemas.microsoft.com/office/powerpoint/2010/main" val="1487852754"/>
              </p:ext>
            </p:extLst>
          </p:nvPr>
        </p:nvGraphicFramePr>
        <p:xfrm>
          <a:off x="7306898" y="959322"/>
          <a:ext cx="6036962" cy="6286500"/>
        </p:xfrm>
        <a:graphic>
          <a:graphicData uri="http://schemas.openxmlformats.org/drawingml/2006/table">
            <a:tbl>
              <a:tblPr firstRow="1" bandRow="1">
                <a:tableStyleId>{073A0DAA-6AF3-43AB-8588-CEC1D06C72B9}</a:tableStyleId>
              </a:tblPr>
              <a:tblGrid>
                <a:gridCol w="1518962">
                  <a:extLst>
                    <a:ext uri="{9D8B030D-6E8A-4147-A177-3AD203B41FA5}">
                      <a16:colId xmlns:a16="http://schemas.microsoft.com/office/drawing/2014/main" val="3339861616"/>
                    </a:ext>
                  </a:extLst>
                </a:gridCol>
                <a:gridCol w="1526107">
                  <a:extLst>
                    <a:ext uri="{9D8B030D-6E8A-4147-A177-3AD203B41FA5}">
                      <a16:colId xmlns:a16="http://schemas.microsoft.com/office/drawing/2014/main" val="2049419460"/>
                    </a:ext>
                  </a:extLst>
                </a:gridCol>
                <a:gridCol w="965095">
                  <a:extLst>
                    <a:ext uri="{9D8B030D-6E8A-4147-A177-3AD203B41FA5}">
                      <a16:colId xmlns:a16="http://schemas.microsoft.com/office/drawing/2014/main" val="2797806556"/>
                    </a:ext>
                  </a:extLst>
                </a:gridCol>
                <a:gridCol w="2026798">
                  <a:extLst>
                    <a:ext uri="{9D8B030D-6E8A-4147-A177-3AD203B41FA5}">
                      <a16:colId xmlns:a16="http://schemas.microsoft.com/office/drawing/2014/main" val="3084177346"/>
                    </a:ext>
                  </a:extLst>
                </a:gridCol>
              </a:tblGrid>
              <a:tr h="251864">
                <a:tc gridSpan="4">
                  <a:txBody>
                    <a:bodyPr/>
                    <a:lstStyle/>
                    <a:p>
                      <a:r>
                        <a:rPr lang="en-US" sz="1200">
                          <a:solidFill>
                            <a:schemeClr val="tx2"/>
                          </a:solidFill>
                        </a:rPr>
                        <a:t>ENGAGEMENT DIRECTOR</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00A3AE"/>
                    </a:solidFill>
                  </a:tcPr>
                </a:tc>
                <a:tc hMerge="1">
                  <a:txBody>
                    <a:bodyPr/>
                    <a:lstStyle/>
                    <a:p>
                      <a:endParaRPr lang="en-US" sz="1400">
                        <a:solidFill>
                          <a:srgbClr val="000000"/>
                        </a:solidFill>
                      </a:endParaRPr>
                    </a:p>
                  </a:txBody>
                  <a:tcP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267045867"/>
                  </a:ext>
                </a:extLst>
              </a:tr>
              <a:tr h="274320">
                <a:tc gridSpan="4">
                  <a:txBody>
                    <a:bodyPr/>
                    <a:lstStyle/>
                    <a:p>
                      <a:endParaRPr lang="en-US" sz="1050">
                        <a:solidFill>
                          <a:srgbClr val="45B9BE"/>
                        </a:solidFill>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2152776218"/>
                  </a:ext>
                </a:extLst>
              </a:tr>
              <a:tr h="225120">
                <a:tc>
                  <a:txBody>
                    <a:bodyPr/>
                    <a:lstStyle/>
                    <a:p>
                      <a:endParaRPr lang="en-US" sz="1050"/>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r>
                        <a:rPr kumimoji="0" lang="en-IN" sz="1200" b="1" i="0" u="none" strike="noStrike" kern="1200" cap="none" spc="0" normalizeH="0" baseline="0" noProof="0">
                          <a:ln>
                            <a:noFill/>
                          </a:ln>
                          <a:solidFill>
                            <a:srgbClr val="000000"/>
                          </a:solidFill>
                          <a:effectLst/>
                          <a:uLnTx/>
                          <a:uFillTx/>
                          <a:latin typeface="+mn-lt"/>
                        </a:rPr>
                        <a:t>Nitin Datta</a:t>
                      </a:r>
                    </a:p>
                  </a:txBody>
                  <a:tcPr>
                    <a:lnL w="12700" cmpd="sng">
                      <a:noFill/>
                    </a:lnL>
                    <a:lnR w="9525" cap="flat" cmpd="sng" algn="ctr">
                      <a:solidFill>
                        <a:srgbClr val="000000"/>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r>
                        <a:rPr kumimoji="0" lang="en-IN" sz="1200" b="0" i="0" u="none" strike="noStrike" kern="1200" cap="none" spc="0" normalizeH="0" baseline="0" noProof="0">
                          <a:ln>
                            <a:noFill/>
                          </a:ln>
                          <a:solidFill>
                            <a:srgbClr val="000000"/>
                          </a:solidFill>
                          <a:effectLst/>
                          <a:uLnTx/>
                          <a:uFillTx/>
                          <a:latin typeface="+mn-lt"/>
                        </a:rPr>
                        <a:t>Director, FSO Data &amp; Analytics</a:t>
                      </a:r>
                      <a:endParaRPr lang="en-US"/>
                    </a:p>
                  </a:txBody>
                  <a:tcPr>
                    <a:lnL w="9525" cap="flat" cmpd="sng" algn="ctr">
                      <a:solidFill>
                        <a:srgbClr val="000000"/>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kumimoji="0" lang="en-IN" sz="1200" b="1" i="0" u="none" strike="noStrike" kern="1200" cap="none" spc="0" normalizeH="0" baseline="0" noProof="0">
                        <a:ln>
                          <a:noFill/>
                        </a:ln>
                        <a:solidFill>
                          <a:srgbClr val="000000"/>
                        </a:solidFill>
                        <a:effectLst/>
                        <a:uLnTx/>
                        <a:uFillTx/>
                        <a:latin typeface="+mn-lt"/>
                      </a:endParaRPr>
                    </a:p>
                  </a:txBody>
                  <a:tcP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3915768"/>
                  </a:ext>
                </a:extLst>
              </a:tr>
              <a:tr h="225120">
                <a:tc>
                  <a:txBody>
                    <a:bodyPr/>
                    <a:lstStyle/>
                    <a:p>
                      <a:endParaRPr lang="en-US" sz="1050"/>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gridSpan="3">
                  <a:txBody>
                    <a:bodyPr/>
                    <a:lstStyle/>
                    <a:p>
                      <a:endParaRPr lang="en-US" sz="1050">
                        <a:solidFill>
                          <a:srgbClr val="000000"/>
                        </a:solidFill>
                      </a:endParaRPr>
                    </a:p>
                  </a:txBody>
                  <a:tcPr>
                    <a:lnL w="12700" cmpd="sng">
                      <a:noFill/>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2018406057"/>
                  </a:ext>
                </a:extLst>
              </a:tr>
              <a:tr h="22512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b="1" u="sng">
                          <a:solidFill>
                            <a:srgbClr val="000000"/>
                          </a:solidFill>
                        </a:rPr>
                        <a:t>ABLE TO WORK IN SG</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b="1" u="sng">
                          <a:solidFill>
                            <a:srgbClr val="000000"/>
                          </a:solidFill>
                        </a:rPr>
                        <a:t>HIGHEST EDUCATION</a:t>
                      </a:r>
                      <a:endParaRPr lang="en-US" sz="1050" b="1">
                        <a:solidFill>
                          <a:srgbClr val="000000"/>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50" b="1">
                        <a:solidFill>
                          <a:srgbClr val="000000"/>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b="1" u="sng">
                          <a:solidFill>
                            <a:srgbClr val="000000"/>
                          </a:solidFill>
                        </a:rPr>
                        <a:t>EMPLOYMENT (LAST 3 YEARS)</a:t>
                      </a:r>
                      <a:endParaRPr lang="en-US" sz="1050" b="1">
                        <a:solidFill>
                          <a:srgbClr val="000000"/>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546864712"/>
                  </a:ext>
                </a:extLst>
              </a:tr>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b="0" kern="1200">
                          <a:solidFill>
                            <a:srgbClr val="000000"/>
                          </a:solidFill>
                          <a:latin typeface="+mn-lt"/>
                          <a:ea typeface="+mn-ea"/>
                          <a:cs typeface="+mn-cs"/>
                        </a:rPr>
                        <a:t>Ye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marR="0" lvl="0" indent="0" algn="l" defTabSz="1266737" rtl="0" eaLnBrk="1" fontAlgn="auto" latinLnBrk="0" hangingPunct="1">
                        <a:lnSpc>
                          <a:spcPct val="100000"/>
                        </a:lnSpc>
                        <a:spcBef>
                          <a:spcPts val="0"/>
                        </a:spcBef>
                        <a:spcAft>
                          <a:spcPts val="0"/>
                        </a:spcAft>
                        <a:buClrTx/>
                        <a:buSzTx/>
                        <a:buFontTx/>
                        <a:buNone/>
                        <a:tabLst/>
                        <a:defRPr/>
                      </a:pPr>
                      <a:r>
                        <a:rPr lang="en-US" sz="1050" kern="0">
                          <a:solidFill>
                            <a:srgbClr val="000000"/>
                          </a:solidFill>
                        </a:rPr>
                        <a:t>Masters in Economics from Delhi School of Economics, India</a:t>
                      </a:r>
                      <a:endParaRPr lang="en-US" sz="1050" b="0" kern="1200">
                        <a:solidFill>
                          <a:schemeClr val="bg1"/>
                        </a:solidFill>
                        <a:latin typeface="+mn-lt"/>
                        <a:ea typeface="+mn-ea"/>
                        <a:cs typeface="+mn-cs"/>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l" defTabSz="1266737" rtl="0" eaLnBrk="1" fontAlgn="auto" latinLnBrk="0" hangingPunct="1">
                        <a:lnSpc>
                          <a:spcPct val="100000"/>
                        </a:lnSpc>
                        <a:spcBef>
                          <a:spcPts val="0"/>
                        </a:spcBef>
                        <a:spcAft>
                          <a:spcPts val="0"/>
                        </a:spcAft>
                        <a:buClrTx/>
                        <a:buSzTx/>
                        <a:buFontTx/>
                        <a:buNone/>
                        <a:tabLst/>
                        <a:defRPr/>
                      </a:pPr>
                      <a:endParaRPr lang="en-US" sz="1050" b="0" kern="1200">
                        <a:solidFill>
                          <a:schemeClr val="bg1"/>
                        </a:solidFill>
                        <a:latin typeface="+mn-lt"/>
                        <a:ea typeface="+mn-ea"/>
                        <a:cs typeface="+mn-cs"/>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266737" rtl="0" eaLnBrk="1" fontAlgn="auto" latinLnBrk="0" hangingPunct="1">
                        <a:lnSpc>
                          <a:spcPct val="100000"/>
                        </a:lnSpc>
                        <a:spcBef>
                          <a:spcPts val="0"/>
                        </a:spcBef>
                        <a:spcAft>
                          <a:spcPts val="0"/>
                        </a:spcAft>
                        <a:buClrTx/>
                        <a:buSzTx/>
                        <a:buFontTx/>
                        <a:buNone/>
                        <a:tabLst/>
                        <a:defRPr/>
                      </a:pPr>
                      <a:r>
                        <a:rPr lang="en-US" sz="1050" b="0" i="0" u="none" strike="noStrike" kern="1200" noProof="0"/>
                        <a:t>EY</a:t>
                      </a:r>
                      <a:endParaRPr lang="en-US" sz="1050" b="0" kern="1200">
                        <a:solidFill>
                          <a:schemeClr val="bg1"/>
                        </a:solidFill>
                        <a:latin typeface="+mn-lt"/>
                        <a:ea typeface="+mn-ea"/>
                        <a:cs typeface="+mn-cs"/>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47307066"/>
                  </a:ext>
                </a:extLst>
              </a:tr>
              <a:tr h="225120">
                <a:tc gridSpan="4">
                  <a:txBody>
                    <a:bodyPr/>
                    <a:lstStyle/>
                    <a:p>
                      <a:pPr marL="0" algn="l" defTabSz="914400" rtl="0" eaLnBrk="1" latinLnBrk="0" hangingPunct="1"/>
                      <a:r>
                        <a:rPr lang="en-US" sz="1050" b="1" u="sng" kern="1200">
                          <a:solidFill>
                            <a:srgbClr val="000000"/>
                          </a:solidFill>
                          <a:latin typeface="+mn-lt"/>
                          <a:ea typeface="+mn-ea"/>
                          <a:cs typeface="+mn-cs"/>
                        </a:rPr>
                        <a:t>BACKGROUND</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3678239183"/>
                  </a:ext>
                </a:extLst>
              </a:tr>
              <a:tr h="708406">
                <a:tc gridSpan="4">
                  <a:txBody>
                    <a:bodyPr/>
                    <a:lstStyle/>
                    <a:p>
                      <a:pPr marL="171450" indent="-171450" algn="l" defTabSz="914400" rtl="0" eaLnBrk="1" latinLnBrk="0" hangingPunct="1">
                        <a:buFont typeface="Arial"/>
                        <a:buChar char="•"/>
                      </a:pPr>
                      <a:r>
                        <a:rPr lang="en-US" sz="1050" b="0" kern="1200">
                          <a:solidFill>
                            <a:srgbClr val="000000"/>
                          </a:solidFill>
                          <a:latin typeface="+mn-lt"/>
                          <a:ea typeface="+mn-ea"/>
                          <a:cs typeface="+mn-cs"/>
                        </a:rPr>
                        <a:t>Nitin is a Director with our Performance Improvement practice, focusing on Banking &amp; Financial Services sector.</a:t>
                      </a:r>
                    </a:p>
                    <a:p>
                      <a:pPr marL="171450" indent="-171450" algn="l" defTabSz="914400" rtl="0" eaLnBrk="1" latinLnBrk="0" hangingPunct="1">
                        <a:buFont typeface="Arial"/>
                        <a:buChar char="•"/>
                      </a:pPr>
                      <a:r>
                        <a:rPr lang="en-US" sz="1050" b="0" kern="1200">
                          <a:solidFill>
                            <a:srgbClr val="000000"/>
                          </a:solidFill>
                          <a:latin typeface="+mn-lt"/>
                          <a:ea typeface="+mn-ea"/>
                          <a:cs typeface="+mn-cs"/>
                        </a:rPr>
                        <a:t>Nitin has 15 years of experience and his core areas of focus are data governance, data usage (BI &amp; Analytics), data architecture &amp; management, data quality and data migration.</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3917136942"/>
                  </a:ext>
                </a:extLst>
              </a:tr>
              <a:tr h="225120">
                <a:tc gridSpan="4">
                  <a:txBody>
                    <a:bodyPr/>
                    <a:lstStyle/>
                    <a:p>
                      <a:pPr marL="0" marR="0" lvl="0" indent="0" algn="l" defTabSz="1266737" rtl="0" eaLnBrk="1" latinLnBrk="0" hangingPunct="1">
                        <a:lnSpc>
                          <a:spcPct val="100000"/>
                        </a:lnSpc>
                        <a:spcBef>
                          <a:spcPts val="0"/>
                        </a:spcBef>
                        <a:spcAft>
                          <a:spcPts val="0"/>
                        </a:spcAft>
                        <a:buNone/>
                      </a:pPr>
                      <a:r>
                        <a:rPr lang="en-US" sz="1050" b="1" u="sng" kern="1200" noProof="0">
                          <a:solidFill>
                            <a:srgbClr val="000000"/>
                          </a:solidFill>
                          <a:latin typeface="+mn-lt"/>
                          <a:ea typeface="+mn-ea"/>
                          <a:cs typeface="+mn-cs"/>
                        </a:rPr>
                        <a:t>PROFESSIONAL CAPABILITIE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3711216452"/>
                  </a:ext>
                </a:extLst>
              </a:tr>
              <a:tr h="221943">
                <a:tc gridSpan="4">
                  <a:txBody>
                    <a:bodyPr/>
                    <a:lstStyle/>
                    <a:p>
                      <a:pPr marL="171450" marR="0" lvl="0" indent="-171450" algn="l" defTabSz="1266737" rtl="0" eaLnBrk="1" latinLnBrk="0" hangingPunct="1">
                        <a:lnSpc>
                          <a:spcPct val="100000"/>
                        </a:lnSpc>
                        <a:spcBef>
                          <a:spcPts val="0"/>
                        </a:spcBef>
                        <a:spcAft>
                          <a:spcPts val="0"/>
                        </a:spcAft>
                        <a:buFont typeface="Arial" panose="020B0604020202020204" pitchFamily="34" charset="0"/>
                        <a:buChar char="•"/>
                      </a:pPr>
                      <a:r>
                        <a:rPr kumimoji="0" lang="en-US" sz="1050" b="0" i="0" u="none" strike="noStrike" kern="1200" cap="none" spc="0" normalizeH="0" baseline="0" noProof="0">
                          <a:ln>
                            <a:noFill/>
                          </a:ln>
                          <a:solidFill>
                            <a:srgbClr val="000000"/>
                          </a:solidFill>
                          <a:effectLst/>
                          <a:uLnTx/>
                          <a:uFillTx/>
                          <a:latin typeface="+mn-lt"/>
                          <a:ea typeface="+mn-ea"/>
                          <a:cs typeface="+mn-cs"/>
                        </a:rPr>
                        <a:t>Business Intelligence, Analytics &amp; Data Modeling</a:t>
                      </a:r>
                    </a:p>
                    <a:p>
                      <a:pPr marL="171450" marR="0" lvl="0" indent="-171450" algn="l" defTabSz="1266737" rtl="0" eaLnBrk="1" latinLnBrk="0" hangingPunct="1">
                        <a:lnSpc>
                          <a:spcPct val="100000"/>
                        </a:lnSpc>
                        <a:spcBef>
                          <a:spcPts val="0"/>
                        </a:spcBef>
                        <a:spcAft>
                          <a:spcPts val="0"/>
                        </a:spcAft>
                        <a:buFont typeface="Arial" panose="020B0604020202020204" pitchFamily="34" charset="0"/>
                        <a:buChar char="•"/>
                      </a:pPr>
                      <a:r>
                        <a:rPr kumimoji="0" lang="en-US" sz="1050" b="0" i="0" u="none" strike="noStrike" kern="1200" cap="none" spc="0" normalizeH="0" baseline="0" noProof="0">
                          <a:ln>
                            <a:noFill/>
                          </a:ln>
                          <a:solidFill>
                            <a:srgbClr val="000000"/>
                          </a:solidFill>
                          <a:effectLst/>
                          <a:uLnTx/>
                          <a:uFillTx/>
                          <a:latin typeface="+mn-lt"/>
                          <a:ea typeface="+mn-ea"/>
                          <a:cs typeface="+mn-cs"/>
                        </a:rPr>
                        <a:t>Data Governance, Policies &amp; Standards viz. Metadata, Reference Data &amp; Data Provisioning</a:t>
                      </a:r>
                    </a:p>
                    <a:p>
                      <a:pPr marL="171450" marR="0" lvl="0" indent="-171450" algn="l" defTabSz="1266737" rtl="0" eaLnBrk="1" latinLnBrk="0" hangingPunct="1">
                        <a:lnSpc>
                          <a:spcPct val="100000"/>
                        </a:lnSpc>
                        <a:spcBef>
                          <a:spcPts val="0"/>
                        </a:spcBef>
                        <a:spcAft>
                          <a:spcPts val="0"/>
                        </a:spcAft>
                        <a:buFont typeface="Arial" panose="020B0604020202020204" pitchFamily="34" charset="0"/>
                        <a:buChar char="•"/>
                      </a:pPr>
                      <a:r>
                        <a:rPr kumimoji="0" lang="en-US" sz="1050" b="0" i="0" u="none" strike="noStrike" kern="1200" cap="none" spc="0" normalizeH="0" baseline="0" noProof="0">
                          <a:ln>
                            <a:noFill/>
                          </a:ln>
                          <a:solidFill>
                            <a:srgbClr val="000000"/>
                          </a:solidFill>
                          <a:effectLst/>
                          <a:uLnTx/>
                          <a:uFillTx/>
                          <a:latin typeface="+mn-lt"/>
                          <a:ea typeface="+mn-ea"/>
                          <a:cs typeface="+mn-cs"/>
                        </a:rPr>
                        <a:t>Data governance tools from IBM</a:t>
                      </a:r>
                    </a:p>
                    <a:p>
                      <a:pPr marL="171450" marR="0" lvl="0" indent="-171450" algn="l" defTabSz="1266737" rtl="0" eaLnBrk="1" latinLnBrk="0" hangingPunct="1">
                        <a:lnSpc>
                          <a:spcPct val="100000"/>
                        </a:lnSpc>
                        <a:spcBef>
                          <a:spcPts val="0"/>
                        </a:spcBef>
                        <a:spcAft>
                          <a:spcPts val="0"/>
                        </a:spcAft>
                        <a:buFont typeface="Arial" panose="020B0604020202020204" pitchFamily="34" charset="0"/>
                        <a:buChar char="•"/>
                      </a:pPr>
                      <a:r>
                        <a:rPr kumimoji="0" lang="en-US" sz="1050" b="0" i="0" u="none" strike="noStrike" kern="1200" cap="none" spc="0" normalizeH="0" baseline="0" noProof="0">
                          <a:ln>
                            <a:noFill/>
                          </a:ln>
                          <a:solidFill>
                            <a:srgbClr val="000000"/>
                          </a:solidFill>
                          <a:effectLst/>
                          <a:uLnTx/>
                          <a:uFillTx/>
                          <a:latin typeface="+mn-lt"/>
                          <a:ea typeface="+mn-ea"/>
                          <a:cs typeface="+mn-cs"/>
                        </a:rPr>
                        <a:t>Hands on experience with SAS, SPSS </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9631101"/>
                  </a:ext>
                </a:extLst>
              </a:tr>
              <a:tr h="225120">
                <a:tc gridSpan="4">
                  <a:txBody>
                    <a:bodyPr/>
                    <a:lstStyle/>
                    <a:p>
                      <a:pPr marL="0" algn="l" defTabSz="914400" rtl="0" eaLnBrk="1" latinLnBrk="0" hangingPunct="1"/>
                      <a:r>
                        <a:rPr lang="en-US" sz="1050" b="1" u="sng" kern="1200">
                          <a:solidFill>
                            <a:srgbClr val="000000"/>
                          </a:solidFill>
                          <a:latin typeface="+mn-lt"/>
                          <a:ea typeface="+mn-ea"/>
                          <a:cs typeface="+mn-cs"/>
                        </a:rPr>
                        <a:t>RELEVANT EXPERIENCE</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3322682632"/>
                  </a:ext>
                </a:extLst>
              </a:tr>
              <a:tr h="225120">
                <a:tc gridSpan="4">
                  <a:txBody>
                    <a:bodyPr/>
                    <a:lstStyle/>
                    <a:p>
                      <a:pPr marL="171450" marR="0" lvl="0" indent="-171450" algn="l" defTabSz="1266737" rtl="0" eaLnBrk="1" latinLnBrk="0" hangingPunct="1">
                        <a:lnSpc>
                          <a:spcPct val="100000"/>
                        </a:lnSpc>
                        <a:spcBef>
                          <a:spcPts val="0"/>
                        </a:spcBef>
                        <a:spcAft>
                          <a:spcPts val="0"/>
                        </a:spcAft>
                        <a:buFont typeface="Arial" panose="020B0604020202020204" pitchFamily="34" charset="0"/>
                        <a:buChar char="•"/>
                      </a:pPr>
                      <a:r>
                        <a:rPr kumimoji="0" lang="en-US" sz="1050" b="0" i="0" u="none" strike="noStrike" kern="1200" cap="none" spc="0" normalizeH="0" baseline="0" noProof="0" dirty="0">
                          <a:ln>
                            <a:noFill/>
                          </a:ln>
                          <a:solidFill>
                            <a:srgbClr val="000000"/>
                          </a:solidFill>
                          <a:effectLst/>
                          <a:uLnTx/>
                          <a:uFillTx/>
                          <a:latin typeface="+mn-lt"/>
                          <a:ea typeface="+mn-ea"/>
                          <a:cs typeface="+mn-cs"/>
                        </a:rPr>
                        <a:t>Led the BI strategy &amp; predictive analytics project for a large life insurance company. The client was facing the twin issues of retention of existing customers as well as dysfunctional information architecture. The client has managed a significant gain 3-5% lift in collections vs. dues in the first month of the roll out and a way forward on the future state information architecture.</a:t>
                      </a:r>
                    </a:p>
                    <a:p>
                      <a:pPr marL="171450" marR="0" lvl="0" indent="-171450" algn="l" defTabSz="1266737" rtl="0" eaLnBrk="1" latinLnBrk="0" hangingPunct="1">
                        <a:lnSpc>
                          <a:spcPct val="100000"/>
                        </a:lnSpc>
                        <a:spcBef>
                          <a:spcPts val="0"/>
                        </a:spcBef>
                        <a:spcAft>
                          <a:spcPts val="0"/>
                        </a:spcAft>
                        <a:buFont typeface="Arial" panose="020B0604020202020204" pitchFamily="34" charset="0"/>
                        <a:buChar char="•"/>
                      </a:pPr>
                      <a:r>
                        <a:rPr kumimoji="0" lang="en-US" sz="1050" b="0" i="0" u="none" strike="noStrike" kern="1200" cap="none" spc="0" normalizeH="0" baseline="0" noProof="0" dirty="0">
                          <a:ln>
                            <a:noFill/>
                          </a:ln>
                          <a:solidFill>
                            <a:srgbClr val="000000"/>
                          </a:solidFill>
                          <a:effectLst/>
                          <a:uLnTx/>
                          <a:uFillTx/>
                          <a:latin typeface="+mn-lt"/>
                          <a:ea typeface="+mn-ea"/>
                          <a:cs typeface="+mn-cs"/>
                        </a:rPr>
                        <a:t>Led health analytics project for a major multinational insurer based in Singapore that involved analyzing the existing claims in terms of overall risk, quality and cost benchmarking by looking at family history, claims history, doctors info, agent info, claims forms and supporting documents and coming up with intervention strategies in order to manage their health book.</a:t>
                      </a:r>
                    </a:p>
                    <a:p>
                      <a:pPr marL="171450" marR="0" lvl="0" indent="-171450" algn="l" defTabSz="1266737" rtl="0" eaLnBrk="1" latinLnBrk="0" hangingPunct="1">
                        <a:lnSpc>
                          <a:spcPct val="100000"/>
                        </a:lnSpc>
                        <a:spcBef>
                          <a:spcPts val="0"/>
                        </a:spcBef>
                        <a:spcAft>
                          <a:spcPts val="0"/>
                        </a:spcAft>
                        <a:buFont typeface="Arial" panose="020B0604020202020204" pitchFamily="34" charset="0"/>
                        <a:buChar char="•"/>
                      </a:pPr>
                      <a:r>
                        <a:rPr kumimoji="0" lang="en-US" sz="1050" b="0" i="0" u="none" strike="noStrike" kern="1200" cap="none" spc="0" normalizeH="0" baseline="0" noProof="0" dirty="0">
                          <a:ln>
                            <a:noFill/>
                          </a:ln>
                          <a:solidFill>
                            <a:srgbClr val="000000"/>
                          </a:solidFill>
                          <a:effectLst/>
                          <a:uLnTx/>
                          <a:uFillTx/>
                          <a:latin typeface="+mn-lt"/>
                          <a:ea typeface="+mn-ea"/>
                          <a:cs typeface="+mn-cs"/>
                        </a:rPr>
                        <a:t>Led the build &amp; delivery of micro customer segmentation models, statistical scoring for cross sell and up sell, provided recommendations on integration &amp; interface requirements with channels to assist in marketing analytics campaigns for a large insurer in Singapore.</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2087447848"/>
                  </a:ext>
                </a:extLst>
              </a:tr>
            </a:tbl>
          </a:graphicData>
        </a:graphic>
      </p:graphicFrame>
      <p:pic>
        <p:nvPicPr>
          <p:cNvPr id="9" name="Picture 8">
            <a:extLst>
              <a:ext uri="{FF2B5EF4-FFF2-40B4-BE49-F238E27FC236}">
                <a16:creationId xmlns:a16="http://schemas.microsoft.com/office/drawing/2014/main" id="{78EBA35F-797F-4149-9368-C1503AE2288C}"/>
              </a:ext>
            </a:extLst>
          </p:cNvPr>
          <p:cNvPicPr>
            <a:picLocks noChangeAspect="1"/>
          </p:cNvPicPr>
          <p:nvPr/>
        </p:nvPicPr>
        <p:blipFill rotWithShape="1">
          <a:blip r:embed="rId4" cstate="print">
            <a:extLst>
              <a:ext uri="{BEBA8EAE-BF5A-486C-A8C5-ECC9F3942E4B}">
                <a14:imgProps xmlns:a14="http://schemas.microsoft.com/office/drawing/2010/main">
                  <a14:imgLayer r:embed="rId5">
                    <a14:imgEffect>
                      <a14:saturation sat="0"/>
                    </a14:imgEffect>
                  </a14:imgLayer>
                </a14:imgProps>
              </a:ext>
              <a:ext uri="{28A0092B-C50C-407E-A947-70E740481C1C}">
                <a14:useLocalDpi xmlns:a14="http://schemas.microsoft.com/office/drawing/2010/main" val="0"/>
              </a:ext>
            </a:extLst>
          </a:blip>
          <a:srcRect/>
          <a:stretch/>
        </p:blipFill>
        <p:spPr>
          <a:xfrm>
            <a:off x="7755149" y="1280847"/>
            <a:ext cx="777240" cy="777240"/>
          </a:xfrm>
          <a:prstGeom prst="ellipse">
            <a:avLst/>
          </a:prstGeom>
        </p:spPr>
      </p:pic>
    </p:spTree>
    <p:extLst>
      <p:ext uri="{BB962C8B-B14F-4D97-AF65-F5344CB8AC3E}">
        <p14:creationId xmlns:p14="http://schemas.microsoft.com/office/powerpoint/2010/main" val="419245039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628184F-BB51-4520-9982-EA93EF50D704}"/>
              </a:ext>
            </a:extLst>
          </p:cNvPr>
          <p:cNvSpPr>
            <a:spLocks noGrp="1"/>
          </p:cNvSpPr>
          <p:nvPr>
            <p:ph type="title"/>
          </p:nvPr>
        </p:nvSpPr>
        <p:spPr/>
        <p:txBody>
          <a:bodyPr/>
          <a:lstStyle/>
          <a:p>
            <a:r>
              <a:rPr lang="en-GB"/>
              <a:t>Our leadership team</a:t>
            </a:r>
            <a:endParaRPr lang="en-US"/>
          </a:p>
        </p:txBody>
      </p:sp>
      <p:graphicFrame>
        <p:nvGraphicFramePr>
          <p:cNvPr id="11" name="Table 10">
            <a:extLst>
              <a:ext uri="{FF2B5EF4-FFF2-40B4-BE49-F238E27FC236}">
                <a16:creationId xmlns:a16="http://schemas.microsoft.com/office/drawing/2014/main" id="{7D1F39A2-7E82-4E60-AEA7-9041B6935519}"/>
              </a:ext>
            </a:extLst>
          </p:cNvPr>
          <p:cNvGraphicFramePr>
            <a:graphicFrameLocks noGrp="1"/>
          </p:cNvGraphicFramePr>
          <p:nvPr>
            <p:extLst>
              <p:ext uri="{D42A27DB-BD31-4B8C-83A1-F6EECF244321}">
                <p14:modId xmlns:p14="http://schemas.microsoft.com/office/powerpoint/2010/main" val="1948549095"/>
              </p:ext>
            </p:extLst>
          </p:nvPr>
        </p:nvGraphicFramePr>
        <p:xfrm>
          <a:off x="799748" y="1177980"/>
          <a:ext cx="5921726" cy="5486400"/>
        </p:xfrm>
        <a:graphic>
          <a:graphicData uri="http://schemas.openxmlformats.org/drawingml/2006/table">
            <a:tbl>
              <a:tblPr firstRow="1" bandRow="1">
                <a:tableStyleId>{073A0DAA-6AF3-43AB-8588-CEC1D06C72B9}</a:tableStyleId>
              </a:tblPr>
              <a:tblGrid>
                <a:gridCol w="1246595">
                  <a:extLst>
                    <a:ext uri="{9D8B030D-6E8A-4147-A177-3AD203B41FA5}">
                      <a16:colId xmlns:a16="http://schemas.microsoft.com/office/drawing/2014/main" val="3339861616"/>
                    </a:ext>
                  </a:extLst>
                </a:gridCol>
                <a:gridCol w="161364">
                  <a:extLst>
                    <a:ext uri="{9D8B030D-6E8A-4147-A177-3AD203B41FA5}">
                      <a16:colId xmlns:a16="http://schemas.microsoft.com/office/drawing/2014/main" val="2722221907"/>
                    </a:ext>
                  </a:extLst>
                </a:gridCol>
                <a:gridCol w="1333948">
                  <a:extLst>
                    <a:ext uri="{9D8B030D-6E8A-4147-A177-3AD203B41FA5}">
                      <a16:colId xmlns:a16="http://schemas.microsoft.com/office/drawing/2014/main" val="2049419460"/>
                    </a:ext>
                  </a:extLst>
                </a:gridCol>
                <a:gridCol w="1205910">
                  <a:extLst>
                    <a:ext uri="{9D8B030D-6E8A-4147-A177-3AD203B41FA5}">
                      <a16:colId xmlns:a16="http://schemas.microsoft.com/office/drawing/2014/main" val="3827351894"/>
                    </a:ext>
                  </a:extLst>
                </a:gridCol>
                <a:gridCol w="1973909">
                  <a:extLst>
                    <a:ext uri="{9D8B030D-6E8A-4147-A177-3AD203B41FA5}">
                      <a16:colId xmlns:a16="http://schemas.microsoft.com/office/drawing/2014/main" val="807682477"/>
                    </a:ext>
                  </a:extLst>
                </a:gridCol>
              </a:tblGrid>
              <a:tr h="251864">
                <a:tc gridSpan="5">
                  <a:txBody>
                    <a:bodyPr/>
                    <a:lstStyle/>
                    <a:p>
                      <a:r>
                        <a:rPr lang="en-US" sz="1200">
                          <a:solidFill>
                            <a:schemeClr val="tx2"/>
                          </a:solidFill>
                        </a:rPr>
                        <a:t>SUBJECT MATTER ADVISOR, DIGITAL EXPERIENCE</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00A3AE"/>
                    </a:solidFill>
                  </a:tcPr>
                </a:tc>
                <a:tc hMerge="1">
                  <a:txBody>
                    <a:bodyPr/>
                    <a:lstStyle/>
                    <a:p>
                      <a:endParaRPr lang="en-US"/>
                    </a:p>
                  </a:txBody>
                  <a:tcPr/>
                </a:tc>
                <a:tc hMerge="1">
                  <a:txBody>
                    <a:bodyPr/>
                    <a:lstStyle/>
                    <a:p>
                      <a:endParaRPr lang="en-US" sz="1400">
                        <a:solidFill>
                          <a:srgbClr val="000000"/>
                        </a:solidFill>
                      </a:endParaRPr>
                    </a:p>
                  </a:txBody>
                  <a:tcP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lnL w="12700" cmpd="sng">
                      <a:noFill/>
                    </a:lnL>
                  </a:tcPr>
                </a:tc>
                <a:tc hMerge="1">
                  <a:txBody>
                    <a:bodyPr/>
                    <a:lstStyle/>
                    <a:p>
                      <a:endParaRPr lang="en-US"/>
                    </a:p>
                  </a:txBody>
                  <a:tcPr/>
                </a:tc>
                <a:extLst>
                  <a:ext uri="{0D108BD9-81ED-4DB2-BD59-A6C34878D82A}">
                    <a16:rowId xmlns:a16="http://schemas.microsoft.com/office/drawing/2014/main" val="1267045867"/>
                  </a:ext>
                </a:extLst>
              </a:tr>
              <a:tr h="274320">
                <a:tc gridSpan="5">
                  <a:txBody>
                    <a:bodyPr/>
                    <a:lstStyle/>
                    <a:p>
                      <a:endParaRPr lang="en-US" sz="1050">
                        <a:solidFill>
                          <a:srgbClr val="45B9BE"/>
                        </a:solidFill>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a:p>
                  </a:txBody>
                  <a:tcPr/>
                </a:tc>
                <a:tc hMerge="1">
                  <a:txBody>
                    <a:bodyPr/>
                    <a:lstStyle/>
                    <a:p>
                      <a:endParaRPr lang="en-US"/>
                    </a:p>
                  </a:txBody>
                  <a:tcPr>
                    <a:lnL w="12700" cmpd="sng">
                      <a:noFill/>
                    </a:lnL>
                  </a:tcPr>
                </a:tc>
                <a:tc hMerge="1">
                  <a:txBody>
                    <a:bodyPr/>
                    <a:lstStyle/>
                    <a:p>
                      <a:endParaRPr lang="en-US"/>
                    </a:p>
                  </a:txBody>
                  <a:tcPr/>
                </a:tc>
                <a:extLst>
                  <a:ext uri="{0D108BD9-81ED-4DB2-BD59-A6C34878D82A}">
                    <a16:rowId xmlns:a16="http://schemas.microsoft.com/office/drawing/2014/main" val="2152776218"/>
                  </a:ext>
                </a:extLst>
              </a:tr>
              <a:tr h="225120">
                <a:tc>
                  <a:txBody>
                    <a:bodyPr/>
                    <a:lstStyle/>
                    <a:p>
                      <a:endParaRPr lang="en-US" sz="1050"/>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gridSpan="2">
                  <a:txBody>
                    <a:bodyPr/>
                    <a:lstStyle/>
                    <a:p>
                      <a:r>
                        <a:rPr lang="en-US" sz="1200" b="1">
                          <a:solidFill>
                            <a:srgbClr val="000000"/>
                          </a:solidFill>
                          <a:latin typeface="EYInterstate" panose="02000503020000020004" pitchFamily="2" charset="0"/>
                          <a:ea typeface="Century Gothic" charset="0"/>
                          <a:cs typeface="Century Gothic" charset="0"/>
                        </a:rPr>
                        <a:t>Anshuman Singh</a:t>
                      </a:r>
                      <a:endParaRPr lang="en-US" sz="1050"/>
                    </a:p>
                  </a:txBody>
                  <a:tcPr>
                    <a:lnL w="12700" cmpd="sng">
                      <a:noFill/>
                    </a:lnL>
                    <a:lnR w="9525" cap="flat" cmpd="sng" algn="ctr">
                      <a:solidFill>
                        <a:srgbClr val="000000"/>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spcAft>
                          <a:spcPct val="0"/>
                        </a:spcAft>
                        <a:buClrTx/>
                        <a:buSzTx/>
                        <a:buFontTx/>
                        <a:buNone/>
                      </a:pPr>
                      <a:r>
                        <a:rPr lang="en-US" sz="1200" b="1">
                          <a:solidFill>
                            <a:srgbClr val="000000"/>
                          </a:solidFill>
                          <a:latin typeface="EYInterstate" panose="02000503020000020004" pitchFamily="2" charset="0"/>
                          <a:ea typeface="Century Gothic" charset="0"/>
                          <a:cs typeface="Century Gothic" charset="0"/>
                        </a:rPr>
                        <a:t>Anshuman Singh</a:t>
                      </a:r>
                    </a:p>
                  </a:txBody>
                  <a:tcPr>
                    <a:lnL w="12700" cmpd="sng">
                      <a:noFill/>
                    </a:lnL>
                    <a:lnR w="9525" cap="flat" cmpd="sng" algn="ctr">
                      <a:solidFill>
                        <a:srgbClr val="000000"/>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r>
                        <a:rPr kumimoji="0" lang="en-US" sz="1200" b="0" i="0" u="none" strike="noStrike" kern="1200" cap="none" spc="0" normalizeH="0" baseline="0" noProof="0">
                          <a:ln>
                            <a:noFill/>
                          </a:ln>
                          <a:solidFill>
                            <a:srgbClr val="000000"/>
                          </a:solidFill>
                          <a:effectLst/>
                          <a:uLnTx/>
                          <a:uFillTx/>
                          <a:latin typeface="+mn-lt"/>
                        </a:rPr>
                        <a:t>Partner, Financial Services, ASEAN</a:t>
                      </a:r>
                    </a:p>
                  </a:txBody>
                  <a:tcPr>
                    <a:lnL w="9525" cap="flat" cmpd="sng" algn="ctr">
                      <a:solidFill>
                        <a:srgbClr val="000000"/>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extLst>
                  <a:ext uri="{0D108BD9-81ED-4DB2-BD59-A6C34878D82A}">
                    <a16:rowId xmlns:a16="http://schemas.microsoft.com/office/drawing/2014/main" val="2083915768"/>
                  </a:ext>
                </a:extLst>
              </a:tr>
              <a:tr h="225120">
                <a:tc gridSpan="5">
                  <a:txBody>
                    <a:bodyPr/>
                    <a:lstStyle/>
                    <a:p>
                      <a:endParaRPr lang="en-US" sz="1050"/>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sz="1050">
                        <a:solidFill>
                          <a:srgbClr val="000000"/>
                        </a:solidFill>
                      </a:endParaRPr>
                    </a:p>
                  </a:txBody>
                  <a:tcPr>
                    <a:lnL w="12700" cmpd="sng">
                      <a:noFill/>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IN" sz="1200" b="0" i="0">
                        <a:solidFill>
                          <a:srgbClr val="000000"/>
                        </a:solidFill>
                        <a:latin typeface="+mn-lt"/>
                      </a:endParaRPr>
                    </a:p>
                  </a:txBody>
                  <a:tcPr>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extLst>
                  <a:ext uri="{0D108BD9-81ED-4DB2-BD59-A6C34878D82A}">
                    <a16:rowId xmlns:a16="http://schemas.microsoft.com/office/drawing/2014/main" val="2018406057"/>
                  </a:ext>
                </a:extLst>
              </a:tr>
              <a:tr h="225120">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b="1" u="sng">
                          <a:solidFill>
                            <a:srgbClr val="000000"/>
                          </a:solidFill>
                        </a:rPr>
                        <a:t>ABLE TO WORK IN SG</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50" b="1" u="sng">
                        <a:solidFill>
                          <a:srgbClr val="000000"/>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b="1" u="sng">
                          <a:solidFill>
                            <a:srgbClr val="000000"/>
                          </a:solidFill>
                        </a:rPr>
                        <a:t>HIGHEST EDUCATION</a:t>
                      </a:r>
                      <a:endParaRPr lang="en-US" sz="1050" b="1">
                        <a:solidFill>
                          <a:srgbClr val="000000"/>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50" b="1">
                        <a:solidFill>
                          <a:srgbClr val="000000"/>
                        </a:solidFill>
                      </a:endParaRPr>
                    </a:p>
                  </a:txBody>
                  <a:tcPr>
                    <a:lnL w="12700" cmpd="sng">
                      <a:noFill/>
                    </a:lnL>
                    <a:lnT w="12700" cmpd="sng">
                      <a:noFill/>
                    </a:lnT>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b="1" u="sng">
                          <a:solidFill>
                            <a:srgbClr val="000000"/>
                          </a:solidFill>
                        </a:rPr>
                        <a:t>EMPLOYMENT (LAST 3 YEARS)</a:t>
                      </a:r>
                      <a:endParaRPr lang="en-US" sz="1050" b="1">
                        <a:solidFill>
                          <a:srgbClr val="000000"/>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46864712"/>
                  </a:ext>
                </a:extLst>
              </a:tr>
              <a:tr h="141494">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b="0" kern="1200">
                          <a:solidFill>
                            <a:srgbClr val="000000"/>
                          </a:solidFill>
                          <a:latin typeface="+mn-lt"/>
                          <a:ea typeface="+mn-ea"/>
                          <a:cs typeface="+mn-cs"/>
                        </a:rPr>
                        <a:t>Ye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50" b="0" kern="1200">
                        <a:solidFill>
                          <a:srgbClr val="000000"/>
                        </a:solidFill>
                        <a:latin typeface="+mn-lt"/>
                        <a:ea typeface="+mn-ea"/>
                        <a:cs typeface="+mn-cs"/>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marR="0" lvl="0" indent="0" algn="l" defTabSz="1266737" rtl="0" eaLnBrk="1" fontAlgn="auto" latinLnBrk="0" hangingPunct="1">
                        <a:lnSpc>
                          <a:spcPct val="100000"/>
                        </a:lnSpc>
                        <a:spcBef>
                          <a:spcPts val="0"/>
                        </a:spcBef>
                        <a:spcAft>
                          <a:spcPts val="0"/>
                        </a:spcAft>
                        <a:buClrTx/>
                        <a:buSzTx/>
                        <a:buFontTx/>
                        <a:buNone/>
                        <a:tabLst/>
                        <a:defRPr/>
                      </a:pPr>
                      <a:r>
                        <a:rPr lang="en-US" sz="1050" kern="0">
                          <a:solidFill>
                            <a:srgbClr val="000000"/>
                          </a:solidFill>
                        </a:rPr>
                        <a:t>MBA from Melbourne Business School, Australia</a:t>
                      </a:r>
                      <a:endParaRPr lang="en-US" sz="1050" b="0" kern="1200">
                        <a:solidFill>
                          <a:schemeClr val="bg1"/>
                        </a:solidFill>
                        <a:latin typeface="+mn-lt"/>
                        <a:ea typeface="+mn-ea"/>
                        <a:cs typeface="+mn-cs"/>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lnL w="12700" cmpd="sng">
                      <a:noFill/>
                    </a:lnL>
                  </a:tcPr>
                </a:tc>
                <a:tc>
                  <a:txBody>
                    <a:bodyPr/>
                    <a:lstStyle/>
                    <a:p>
                      <a:pPr marL="0" marR="0" lvl="0" indent="0" algn="l">
                        <a:lnSpc>
                          <a:spcPct val="100000"/>
                        </a:lnSpc>
                        <a:spcBef>
                          <a:spcPts val="0"/>
                        </a:spcBef>
                        <a:spcAft>
                          <a:spcPts val="0"/>
                        </a:spcAft>
                        <a:buNone/>
                      </a:pPr>
                      <a:r>
                        <a:rPr lang="en-US" sz="1050" b="0" i="0" u="none" strike="noStrike" kern="1200" noProof="0"/>
                        <a:t>EY: 2018 – Present</a:t>
                      </a:r>
                    </a:p>
                    <a:p>
                      <a:pPr marL="0" marR="0" lvl="0" indent="0" algn="l">
                        <a:lnSpc>
                          <a:spcPct val="100000"/>
                        </a:lnSpc>
                        <a:spcBef>
                          <a:spcPts val="0"/>
                        </a:spcBef>
                        <a:spcAft>
                          <a:spcPts val="0"/>
                        </a:spcAft>
                        <a:buNone/>
                      </a:pPr>
                      <a:r>
                        <a:rPr lang="en-US" sz="1050" b="0" i="0" u="none" strike="noStrike" kern="1200" noProof="0"/>
                        <a:t>Accenture: Prior to 2018</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47307066"/>
                  </a:ext>
                </a:extLst>
              </a:tr>
              <a:tr h="225120">
                <a:tc gridSpan="5">
                  <a:txBody>
                    <a:bodyPr/>
                    <a:lstStyle/>
                    <a:p>
                      <a:pPr marL="0" algn="l" defTabSz="914400" rtl="0" eaLnBrk="1" latinLnBrk="0" hangingPunct="1"/>
                      <a:r>
                        <a:rPr lang="en-US" sz="1050" b="1" u="sng" kern="1200">
                          <a:solidFill>
                            <a:srgbClr val="000000"/>
                          </a:solidFill>
                          <a:latin typeface="+mn-lt"/>
                          <a:ea typeface="+mn-ea"/>
                          <a:cs typeface="+mn-cs"/>
                        </a:rPr>
                        <a:t>BACKGROUND</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a:p>
                  </a:txBody>
                  <a:tcPr/>
                </a:tc>
                <a:tc hMerge="1">
                  <a:txBody>
                    <a:bodyPr/>
                    <a:lstStyle/>
                    <a:p>
                      <a:endParaRPr lang="en-US"/>
                    </a:p>
                  </a:txBody>
                  <a:tcPr>
                    <a:lnL w="12700" cmpd="sng">
                      <a:noFill/>
                    </a:lnL>
                  </a:tcPr>
                </a:tc>
                <a:tc hMerge="1">
                  <a:txBody>
                    <a:bodyPr/>
                    <a:lstStyle/>
                    <a:p>
                      <a:endParaRPr lang="en-US"/>
                    </a:p>
                  </a:txBody>
                  <a:tcPr/>
                </a:tc>
                <a:extLst>
                  <a:ext uri="{0D108BD9-81ED-4DB2-BD59-A6C34878D82A}">
                    <a16:rowId xmlns:a16="http://schemas.microsoft.com/office/drawing/2014/main" val="3678239183"/>
                  </a:ext>
                </a:extLst>
              </a:tr>
              <a:tr h="708152">
                <a:tc gridSpan="5">
                  <a:txBody>
                    <a:bodyPr/>
                    <a:lstStyle/>
                    <a:p>
                      <a:pPr marL="171450" indent="-171450" algn="l" defTabSz="914400" rtl="0" eaLnBrk="1" latinLnBrk="0" hangingPunct="1">
                        <a:buFont typeface="Arial" panose="020B0604020202020204" pitchFamily="34" charset="0"/>
                        <a:buChar char="•"/>
                      </a:pPr>
                      <a:r>
                        <a:rPr lang="en-US" sz="1050" b="0" kern="1200">
                          <a:solidFill>
                            <a:srgbClr val="000000"/>
                          </a:solidFill>
                          <a:latin typeface="+mn-lt"/>
                          <a:ea typeface="+mn-ea"/>
                          <a:cs typeface="+mn-cs"/>
                        </a:rPr>
                        <a:t>Anshuman Singh is a Partner in the Financial Services group based in Singapore. With more than 18 years of consulting experience to leading banks and insurers in the Asia Pacific region, Anshuman is an experienced digital strategy and transformation advisor. </a:t>
                      </a:r>
                    </a:p>
                    <a:p>
                      <a:pPr marL="171450" indent="-171450" algn="l" defTabSz="914400" rtl="0" eaLnBrk="1" latinLnBrk="0" hangingPunct="1">
                        <a:buFont typeface="Arial" panose="020B0604020202020204" pitchFamily="34" charset="0"/>
                        <a:buChar char="•"/>
                      </a:pPr>
                      <a:r>
                        <a:rPr lang="en-US" sz="1050" b="0" kern="1200">
                          <a:solidFill>
                            <a:srgbClr val="000000"/>
                          </a:solidFill>
                          <a:latin typeface="+mn-lt"/>
                          <a:ea typeface="+mn-ea"/>
                          <a:cs typeface="+mn-cs"/>
                        </a:rPr>
                        <a:t>Currently, Anshuman leads EY’s Southeast Asia and Singapore’s Digital practice within Financial Service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a:p>
                  </a:txBody>
                  <a:tcPr/>
                </a:tc>
                <a:tc hMerge="1">
                  <a:txBody>
                    <a:bodyPr/>
                    <a:lstStyle/>
                    <a:p>
                      <a:endParaRPr lang="en-US"/>
                    </a:p>
                  </a:txBody>
                  <a:tcPr>
                    <a:lnL w="12700" cmpd="sng">
                      <a:noFill/>
                    </a:lnL>
                  </a:tcPr>
                </a:tc>
                <a:tc hMerge="1">
                  <a:txBody>
                    <a:bodyPr/>
                    <a:lstStyle/>
                    <a:p>
                      <a:endParaRPr lang="en-US"/>
                    </a:p>
                  </a:txBody>
                  <a:tcPr/>
                </a:tc>
                <a:extLst>
                  <a:ext uri="{0D108BD9-81ED-4DB2-BD59-A6C34878D82A}">
                    <a16:rowId xmlns:a16="http://schemas.microsoft.com/office/drawing/2014/main" val="3917136942"/>
                  </a:ext>
                </a:extLst>
              </a:tr>
              <a:tr h="225120">
                <a:tc gridSpan="5">
                  <a:txBody>
                    <a:bodyPr/>
                    <a:lstStyle/>
                    <a:p>
                      <a:pPr marL="0" marR="0" lvl="0" indent="0" algn="l" defTabSz="1266737" rtl="0" eaLnBrk="1" latinLnBrk="0" hangingPunct="1">
                        <a:lnSpc>
                          <a:spcPct val="100000"/>
                        </a:lnSpc>
                        <a:spcBef>
                          <a:spcPts val="0"/>
                        </a:spcBef>
                        <a:spcAft>
                          <a:spcPts val="0"/>
                        </a:spcAft>
                        <a:buNone/>
                      </a:pPr>
                      <a:r>
                        <a:rPr lang="en-US" sz="1050" b="1" u="sng" kern="1200" noProof="0">
                          <a:solidFill>
                            <a:srgbClr val="000000"/>
                          </a:solidFill>
                          <a:latin typeface="+mn-lt"/>
                          <a:ea typeface="+mn-ea"/>
                          <a:cs typeface="+mn-cs"/>
                        </a:rPr>
                        <a:t>PROFESSIONAL CAPABILITIE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a:p>
                  </a:txBody>
                  <a:tcPr/>
                </a:tc>
                <a:tc hMerge="1">
                  <a:txBody>
                    <a:bodyPr/>
                    <a:lstStyle/>
                    <a:p>
                      <a:pPr marL="0" marR="0" lvl="0" indent="0" algn="l">
                        <a:lnSpc>
                          <a:spcPct val="100000"/>
                        </a:lnSpc>
                        <a:spcBef>
                          <a:spcPts val="0"/>
                        </a:spcBef>
                        <a:spcAft>
                          <a:spcPts val="0"/>
                        </a:spcAft>
                        <a:buNone/>
                      </a:pPr>
                      <a:endParaRPr lang="en-US" sz="1050" b="0" i="0" u="none" strike="noStrike" kern="1200" noProof="0">
                        <a:highlight>
                          <a:srgbClr val="FFFF00"/>
                        </a:highlight>
                      </a:endParaRPr>
                    </a:p>
                  </a:txBody>
                  <a:tcPr>
                    <a:lnL w="12700" cmpd="sng">
                      <a:noFill/>
                    </a:lnL>
                    <a:lnT w="12700" cmpd="sng">
                      <a:noFill/>
                    </a:lnT>
                  </a:tcPr>
                </a:tc>
                <a:tc hMerge="1">
                  <a:txBody>
                    <a:bodyPr/>
                    <a:lstStyle/>
                    <a:p>
                      <a:endParaRPr lang="en-US"/>
                    </a:p>
                  </a:txBody>
                  <a:tcPr/>
                </a:tc>
                <a:extLst>
                  <a:ext uri="{0D108BD9-81ED-4DB2-BD59-A6C34878D82A}">
                    <a16:rowId xmlns:a16="http://schemas.microsoft.com/office/drawing/2014/main" val="2989454977"/>
                  </a:ext>
                </a:extLst>
              </a:tr>
              <a:tr h="0">
                <a:tc gridSpan="5">
                  <a:txBody>
                    <a:bodyPr/>
                    <a:lstStyle/>
                    <a:p>
                      <a:pPr marL="171450" marR="0" lvl="0" indent="-171450" algn="l" defTabSz="1266737" rtl="0" eaLnBrk="1" latinLnBrk="0" hangingPunct="1">
                        <a:lnSpc>
                          <a:spcPct val="100000"/>
                        </a:lnSpc>
                        <a:spcBef>
                          <a:spcPts val="0"/>
                        </a:spcBef>
                        <a:spcAft>
                          <a:spcPts val="0"/>
                        </a:spcAft>
                        <a:buFont typeface="Arial" panose="020B0604020202020204" pitchFamily="34" charset="0"/>
                        <a:buChar char="•"/>
                      </a:pPr>
                      <a:r>
                        <a:rPr kumimoji="0" lang="en-US" sz="1050" b="0" i="0" u="none" strike="noStrike" kern="1200" cap="none" spc="0" normalizeH="0" baseline="0" noProof="0">
                          <a:ln>
                            <a:noFill/>
                          </a:ln>
                          <a:solidFill>
                            <a:srgbClr val="000000"/>
                          </a:solidFill>
                          <a:effectLst/>
                          <a:uLnTx/>
                          <a:uFillTx/>
                          <a:latin typeface="+mn-lt"/>
                          <a:ea typeface="+mn-ea"/>
                          <a:cs typeface="+mn-cs"/>
                        </a:rPr>
                        <a:t>Reorienting corporate and business strategy to digital</a:t>
                      </a:r>
                    </a:p>
                    <a:p>
                      <a:pPr marL="171450" marR="0" lvl="0" indent="-171450" algn="l" defTabSz="1266737" rtl="0" eaLnBrk="1" latinLnBrk="0" hangingPunct="1">
                        <a:lnSpc>
                          <a:spcPct val="100000"/>
                        </a:lnSpc>
                        <a:spcBef>
                          <a:spcPts val="0"/>
                        </a:spcBef>
                        <a:spcAft>
                          <a:spcPts val="0"/>
                        </a:spcAft>
                        <a:buFont typeface="Arial" panose="020B0604020202020204" pitchFamily="34" charset="0"/>
                        <a:buChar char="•"/>
                      </a:pPr>
                      <a:r>
                        <a:rPr kumimoji="0" lang="en-US" sz="1050" b="0" i="0" u="none" strike="noStrike" kern="1200" cap="none" spc="0" normalizeH="0" baseline="0" noProof="0">
                          <a:ln>
                            <a:noFill/>
                          </a:ln>
                          <a:solidFill>
                            <a:srgbClr val="000000"/>
                          </a:solidFill>
                          <a:effectLst/>
                          <a:uLnTx/>
                          <a:uFillTx/>
                          <a:latin typeface="+mn-lt"/>
                          <a:ea typeface="+mn-ea"/>
                          <a:cs typeface="+mn-cs"/>
                        </a:rPr>
                        <a:t>Customer strategy and customer experience design</a:t>
                      </a:r>
                    </a:p>
                    <a:p>
                      <a:pPr marL="171450" marR="0" lvl="0" indent="-171450" algn="l" defTabSz="1266737" rtl="0" eaLnBrk="1" latinLnBrk="0" hangingPunct="1">
                        <a:lnSpc>
                          <a:spcPct val="100000"/>
                        </a:lnSpc>
                        <a:spcBef>
                          <a:spcPts val="0"/>
                        </a:spcBef>
                        <a:spcAft>
                          <a:spcPts val="0"/>
                        </a:spcAft>
                        <a:buFont typeface="Arial" panose="020B0604020202020204" pitchFamily="34" charset="0"/>
                        <a:buChar char="•"/>
                      </a:pPr>
                      <a:r>
                        <a:rPr kumimoji="0" lang="en-US" sz="1050" b="0" i="0" u="none" strike="noStrike" kern="1200" cap="none" spc="0" normalizeH="0" baseline="0" noProof="0">
                          <a:ln>
                            <a:noFill/>
                          </a:ln>
                          <a:solidFill>
                            <a:srgbClr val="000000"/>
                          </a:solidFill>
                          <a:effectLst/>
                          <a:uLnTx/>
                          <a:uFillTx/>
                          <a:latin typeface="+mn-lt"/>
                          <a:ea typeface="+mn-ea"/>
                          <a:cs typeface="+mn-cs"/>
                        </a:rPr>
                        <a:t>Technology strategy including digital platforms architecture and multi-speed operating models</a:t>
                      </a:r>
                    </a:p>
                    <a:p>
                      <a:pPr marL="171450" marR="0" lvl="0" indent="-171450" algn="l" defTabSz="1266737" rtl="0" eaLnBrk="1" latinLnBrk="0" hangingPunct="1">
                        <a:lnSpc>
                          <a:spcPct val="100000"/>
                        </a:lnSpc>
                        <a:spcBef>
                          <a:spcPts val="0"/>
                        </a:spcBef>
                        <a:spcAft>
                          <a:spcPts val="0"/>
                        </a:spcAft>
                        <a:buFont typeface="Arial" panose="020B0604020202020204" pitchFamily="34" charset="0"/>
                        <a:buChar char="•"/>
                      </a:pPr>
                      <a:r>
                        <a:rPr lang="en-US" altLang="zh-TW" sz="1050">
                          <a:latin typeface="Arial" panose="020B0604020202020204" pitchFamily="34" charset="0"/>
                          <a:cs typeface="Arial" panose="020B0604020202020204" pitchFamily="34" charset="0"/>
                        </a:rPr>
                        <a:t>Innovation agenda and governance</a:t>
                      </a:r>
                    </a:p>
                    <a:p>
                      <a:pPr marL="171450" marR="0" lvl="0" indent="-171450" algn="l" defTabSz="1266737" rtl="0" eaLnBrk="1" latinLnBrk="0" hangingPunct="1">
                        <a:lnSpc>
                          <a:spcPct val="100000"/>
                        </a:lnSpc>
                        <a:spcBef>
                          <a:spcPts val="0"/>
                        </a:spcBef>
                        <a:spcAft>
                          <a:spcPts val="0"/>
                        </a:spcAft>
                        <a:buFont typeface="Arial" panose="020B0604020202020204" pitchFamily="34" charset="0"/>
                        <a:buChar char="•"/>
                      </a:pPr>
                      <a:r>
                        <a:rPr lang="en-US" altLang="zh-TW" sz="1050">
                          <a:latin typeface="Arial" panose="020B0604020202020204" pitchFamily="34" charset="0"/>
                          <a:cs typeface="Arial" panose="020B0604020202020204" pitchFamily="34" charset="0"/>
                        </a:rPr>
                        <a:t>Digital culture and mind-set</a:t>
                      </a:r>
                      <a:endParaRPr kumimoji="0" lang="en-US" sz="1050" b="0" i="0" u="none" strike="noStrike" kern="1200" cap="none" spc="0" normalizeH="0" baseline="0" noProof="0">
                        <a:ln>
                          <a:noFill/>
                        </a:ln>
                        <a:solidFill>
                          <a:srgbClr val="000000"/>
                        </a:solidFill>
                        <a:effectLst/>
                        <a:uLnTx/>
                        <a:uFillTx/>
                        <a:latin typeface="+mn-lt"/>
                        <a:ea typeface="+mn-ea"/>
                        <a:cs typeface="+mn-cs"/>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a:p>
                  </a:txBody>
                  <a:tcPr/>
                </a:tc>
                <a:tc hMerge="1">
                  <a:txBody>
                    <a:bodyPr/>
                    <a:lstStyle/>
                    <a:p>
                      <a:endParaRPr lang="en-US"/>
                    </a:p>
                  </a:txBody>
                  <a:tcPr>
                    <a:lnL w="12700" cmpd="sng">
                      <a:noFill/>
                    </a:lnL>
                  </a:tcPr>
                </a:tc>
                <a:tc hMerge="1">
                  <a:txBody>
                    <a:bodyPr/>
                    <a:lstStyle/>
                    <a:p>
                      <a:endParaRPr lang="en-US"/>
                    </a:p>
                  </a:txBody>
                  <a:tcPr/>
                </a:tc>
                <a:extLst>
                  <a:ext uri="{0D108BD9-81ED-4DB2-BD59-A6C34878D82A}">
                    <a16:rowId xmlns:a16="http://schemas.microsoft.com/office/drawing/2014/main" val="325936331"/>
                  </a:ext>
                </a:extLst>
              </a:tr>
              <a:tr h="225120">
                <a:tc gridSpan="5">
                  <a:txBody>
                    <a:bodyPr/>
                    <a:lstStyle/>
                    <a:p>
                      <a:pPr marL="0" algn="l" defTabSz="914400" rtl="0" eaLnBrk="1" latinLnBrk="0" hangingPunct="1"/>
                      <a:r>
                        <a:rPr lang="en-US" sz="1050" b="1" u="sng" kern="1200">
                          <a:solidFill>
                            <a:srgbClr val="000000"/>
                          </a:solidFill>
                          <a:latin typeface="+mn-lt"/>
                          <a:ea typeface="+mn-ea"/>
                          <a:cs typeface="+mn-cs"/>
                        </a:rPr>
                        <a:t>RELEVANT EXPERIENCE</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a:p>
                  </a:txBody>
                  <a:tcPr/>
                </a:tc>
                <a:tc hMerge="1">
                  <a:txBody>
                    <a:bodyPr/>
                    <a:lstStyle/>
                    <a:p>
                      <a:endParaRPr lang="en-US"/>
                    </a:p>
                  </a:txBody>
                  <a:tcPr>
                    <a:lnL w="12700" cmpd="sng">
                      <a:noFill/>
                    </a:lnL>
                    <a:lnT w="12700" cmpd="sng">
                      <a:noFill/>
                    </a:lnT>
                  </a:tcPr>
                </a:tc>
                <a:tc hMerge="1">
                  <a:txBody>
                    <a:bodyPr/>
                    <a:lstStyle/>
                    <a:p>
                      <a:endParaRPr lang="en-US"/>
                    </a:p>
                  </a:txBody>
                  <a:tcPr/>
                </a:tc>
                <a:extLst>
                  <a:ext uri="{0D108BD9-81ED-4DB2-BD59-A6C34878D82A}">
                    <a16:rowId xmlns:a16="http://schemas.microsoft.com/office/drawing/2014/main" val="3322682632"/>
                  </a:ext>
                </a:extLst>
              </a:tr>
              <a:tr h="225120">
                <a:tc gridSpan="5">
                  <a:txBody>
                    <a:bodyPr/>
                    <a:lstStyle/>
                    <a:p>
                      <a:pPr marL="171450" marR="0" lvl="0" indent="-171450" algn="l" defTabSz="1266737" rtl="0" eaLnBrk="1" latinLnBrk="0" hangingPunct="1">
                        <a:lnSpc>
                          <a:spcPct val="100000"/>
                        </a:lnSpc>
                        <a:spcBef>
                          <a:spcPts val="0"/>
                        </a:spcBef>
                        <a:spcAft>
                          <a:spcPts val="0"/>
                        </a:spcAft>
                        <a:buFont typeface="Arial" panose="020B0604020202020204" pitchFamily="34" charset="0"/>
                        <a:buChar char="•"/>
                      </a:pPr>
                      <a:r>
                        <a:rPr kumimoji="0" lang="en-US" sz="1050" b="0" i="0" u="none" strike="noStrike" kern="1200" cap="none" spc="0" normalizeH="0" baseline="0" noProof="0">
                          <a:ln>
                            <a:noFill/>
                          </a:ln>
                          <a:solidFill>
                            <a:srgbClr val="000000"/>
                          </a:solidFill>
                          <a:effectLst/>
                          <a:uLnTx/>
                          <a:uFillTx/>
                          <a:latin typeface="+mn-lt"/>
                          <a:ea typeface="+mn-ea"/>
                          <a:cs typeface="+mn-cs"/>
                        </a:rPr>
                        <a:t>Anshuman’s most recent engagements have ranged from launching greenfield digital-only banks and insurers, digitizing mature banks and insurers across all segments and across all channels and operations, deploying wholly new banking business models in partnership with platform players, implementing the right digital platforms, operating models and mindset to setting up the innovation agenda and model.</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a:p>
                  </a:txBody>
                  <a:tcPr/>
                </a:tc>
                <a:tc hMerge="1">
                  <a:txBody>
                    <a:bodyPr/>
                    <a:lstStyle/>
                    <a:p>
                      <a:endParaRPr lang="en-US"/>
                    </a:p>
                  </a:txBody>
                  <a:tcPr>
                    <a:lnL w="12700" cmpd="sng">
                      <a:noFill/>
                    </a:lnL>
                  </a:tcPr>
                </a:tc>
                <a:tc hMerge="1">
                  <a:txBody>
                    <a:bodyPr/>
                    <a:lstStyle/>
                    <a:p>
                      <a:endParaRPr lang="en-US"/>
                    </a:p>
                  </a:txBody>
                  <a:tcPr/>
                </a:tc>
                <a:extLst>
                  <a:ext uri="{0D108BD9-81ED-4DB2-BD59-A6C34878D82A}">
                    <a16:rowId xmlns:a16="http://schemas.microsoft.com/office/drawing/2014/main" val="2087447848"/>
                  </a:ext>
                </a:extLst>
              </a:tr>
            </a:tbl>
          </a:graphicData>
        </a:graphic>
      </p:graphicFrame>
      <p:pic>
        <p:nvPicPr>
          <p:cNvPr id="12" name="Picture 11">
            <a:extLst>
              <a:ext uri="{FF2B5EF4-FFF2-40B4-BE49-F238E27FC236}">
                <a16:creationId xmlns:a16="http://schemas.microsoft.com/office/drawing/2014/main" id="{3A37B617-C904-4EDA-BE2A-45586D255947}"/>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a:stretch/>
        </p:blipFill>
        <p:spPr>
          <a:xfrm>
            <a:off x="1238031" y="1509444"/>
            <a:ext cx="777240" cy="777240"/>
          </a:xfrm>
          <a:prstGeom prst="ellipse">
            <a:avLst/>
          </a:prstGeom>
        </p:spPr>
      </p:pic>
      <p:graphicFrame>
        <p:nvGraphicFramePr>
          <p:cNvPr id="13" name="Table 12">
            <a:extLst>
              <a:ext uri="{FF2B5EF4-FFF2-40B4-BE49-F238E27FC236}">
                <a16:creationId xmlns:a16="http://schemas.microsoft.com/office/drawing/2014/main" id="{CB9EA1E5-2A46-43E9-80B6-CCBCACFE3A0A}"/>
              </a:ext>
            </a:extLst>
          </p:cNvPr>
          <p:cNvGraphicFramePr>
            <a:graphicFrameLocks noGrp="1"/>
          </p:cNvGraphicFramePr>
          <p:nvPr>
            <p:extLst>
              <p:ext uri="{D42A27DB-BD31-4B8C-83A1-F6EECF244321}">
                <p14:modId xmlns:p14="http://schemas.microsoft.com/office/powerpoint/2010/main" val="3757824672"/>
              </p:ext>
            </p:extLst>
          </p:nvPr>
        </p:nvGraphicFramePr>
        <p:xfrm>
          <a:off x="7159756" y="1177980"/>
          <a:ext cx="6094426" cy="6126480"/>
        </p:xfrm>
        <a:graphic>
          <a:graphicData uri="http://schemas.openxmlformats.org/drawingml/2006/table">
            <a:tbl>
              <a:tblPr firstRow="1" bandRow="1">
                <a:tableStyleId>{073A0DAA-6AF3-43AB-8588-CEC1D06C72B9}</a:tableStyleId>
              </a:tblPr>
              <a:tblGrid>
                <a:gridCol w="1282950">
                  <a:extLst>
                    <a:ext uri="{9D8B030D-6E8A-4147-A177-3AD203B41FA5}">
                      <a16:colId xmlns:a16="http://schemas.microsoft.com/office/drawing/2014/main" val="3339861616"/>
                    </a:ext>
                  </a:extLst>
                </a:gridCol>
                <a:gridCol w="166070">
                  <a:extLst>
                    <a:ext uri="{9D8B030D-6E8A-4147-A177-3AD203B41FA5}">
                      <a16:colId xmlns:a16="http://schemas.microsoft.com/office/drawing/2014/main" val="2722221907"/>
                    </a:ext>
                  </a:extLst>
                </a:gridCol>
                <a:gridCol w="1372851">
                  <a:extLst>
                    <a:ext uri="{9D8B030D-6E8A-4147-A177-3AD203B41FA5}">
                      <a16:colId xmlns:a16="http://schemas.microsoft.com/office/drawing/2014/main" val="2049419460"/>
                    </a:ext>
                  </a:extLst>
                </a:gridCol>
                <a:gridCol w="225342">
                  <a:extLst>
                    <a:ext uri="{9D8B030D-6E8A-4147-A177-3AD203B41FA5}">
                      <a16:colId xmlns:a16="http://schemas.microsoft.com/office/drawing/2014/main" val="3827351894"/>
                    </a:ext>
                  </a:extLst>
                </a:gridCol>
                <a:gridCol w="1015738">
                  <a:extLst>
                    <a:ext uri="{9D8B030D-6E8A-4147-A177-3AD203B41FA5}">
                      <a16:colId xmlns:a16="http://schemas.microsoft.com/office/drawing/2014/main" val="3596676333"/>
                    </a:ext>
                  </a:extLst>
                </a:gridCol>
                <a:gridCol w="2031475">
                  <a:extLst>
                    <a:ext uri="{9D8B030D-6E8A-4147-A177-3AD203B41FA5}">
                      <a16:colId xmlns:a16="http://schemas.microsoft.com/office/drawing/2014/main" val="807682477"/>
                    </a:ext>
                  </a:extLst>
                </a:gridCol>
              </a:tblGrid>
              <a:tr h="251864">
                <a:tc gridSpan="6">
                  <a:txBody>
                    <a:bodyPr/>
                    <a:lstStyle/>
                    <a:p>
                      <a:r>
                        <a:rPr lang="en-US" sz="1200">
                          <a:solidFill>
                            <a:schemeClr val="tx2"/>
                          </a:solidFill>
                        </a:rPr>
                        <a:t>SUBJECT MATTER ADVISOR, DATA ANALYTICS</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00A3AE"/>
                    </a:solidFill>
                  </a:tcPr>
                </a:tc>
                <a:tc hMerge="1">
                  <a:txBody>
                    <a:bodyPr/>
                    <a:lstStyle/>
                    <a:p>
                      <a:endParaRPr lang="en-US"/>
                    </a:p>
                  </a:txBody>
                  <a:tcPr/>
                </a:tc>
                <a:tc hMerge="1">
                  <a:txBody>
                    <a:bodyPr/>
                    <a:lstStyle/>
                    <a:p>
                      <a:endParaRPr lang="en-US" sz="1400">
                        <a:solidFill>
                          <a:srgbClr val="000000"/>
                        </a:solidFill>
                      </a:endParaRPr>
                    </a:p>
                  </a:txBody>
                  <a:tcP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lnL w="12700" cmpd="sng">
                      <a:noFill/>
                    </a:ln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267045867"/>
                  </a:ext>
                </a:extLst>
              </a:tr>
              <a:tr h="274320">
                <a:tc gridSpan="6">
                  <a:txBody>
                    <a:bodyPr/>
                    <a:lstStyle/>
                    <a:p>
                      <a:endParaRPr lang="en-US" sz="1050">
                        <a:solidFill>
                          <a:srgbClr val="45B9BE"/>
                        </a:solidFill>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a:p>
                  </a:txBody>
                  <a:tcPr/>
                </a:tc>
                <a:tc hMerge="1">
                  <a:txBody>
                    <a:bodyPr/>
                    <a:lstStyle/>
                    <a:p>
                      <a:endParaRPr lang="en-US"/>
                    </a:p>
                  </a:txBody>
                  <a:tcPr>
                    <a:lnL w="12700" cmpd="sng">
                      <a:noFill/>
                    </a:ln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2152776218"/>
                  </a:ext>
                </a:extLst>
              </a:tr>
              <a:tr h="225120">
                <a:tc>
                  <a:txBody>
                    <a:bodyPr/>
                    <a:lstStyle/>
                    <a:p>
                      <a:endParaRPr lang="en-US" sz="1050"/>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gridSpan="2">
                  <a:txBody>
                    <a:bodyPr/>
                    <a:lstStyle/>
                    <a:p>
                      <a:r>
                        <a:rPr lang="en-US" sz="1200" b="1">
                          <a:solidFill>
                            <a:srgbClr val="000000"/>
                          </a:solidFill>
                          <a:latin typeface="EYInterstate" panose="02000503020000020004" pitchFamily="2" charset="0"/>
                          <a:ea typeface="Century Gothic" charset="0"/>
                          <a:cs typeface="Century Gothic" charset="0"/>
                        </a:rPr>
                        <a:t>Vivek </a:t>
                      </a:r>
                      <a:r>
                        <a:rPr lang="en-US" sz="1200" b="1" err="1">
                          <a:solidFill>
                            <a:srgbClr val="000000"/>
                          </a:solidFill>
                          <a:latin typeface="EYInterstate" panose="02000503020000020004" pitchFamily="2" charset="0"/>
                          <a:ea typeface="Century Gothic" charset="0"/>
                          <a:cs typeface="Century Gothic" charset="0"/>
                        </a:rPr>
                        <a:t>Chugh</a:t>
                      </a:r>
                      <a:endParaRPr lang="en-US" sz="1050"/>
                    </a:p>
                  </a:txBody>
                  <a:tcPr>
                    <a:lnL w="12700" cmpd="sng">
                      <a:noFill/>
                    </a:lnL>
                    <a:lnR w="9525" cap="flat" cmpd="sng" algn="ctr">
                      <a:solidFill>
                        <a:srgbClr val="000000"/>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spcAft>
                          <a:spcPct val="0"/>
                        </a:spcAft>
                        <a:buClrTx/>
                        <a:buSzTx/>
                        <a:buFontTx/>
                        <a:buNone/>
                      </a:pPr>
                      <a:r>
                        <a:rPr lang="en-US" sz="1200" b="1">
                          <a:solidFill>
                            <a:srgbClr val="000000"/>
                          </a:solidFill>
                          <a:latin typeface="EYInterstate" panose="02000503020000020004" pitchFamily="2" charset="0"/>
                          <a:ea typeface="Century Gothic" charset="0"/>
                          <a:cs typeface="Century Gothic" charset="0"/>
                        </a:rPr>
                        <a:t>Anshuman Singh</a:t>
                      </a:r>
                    </a:p>
                  </a:txBody>
                  <a:tcPr>
                    <a:lnL w="12700" cmpd="sng">
                      <a:noFill/>
                    </a:lnL>
                    <a:lnR w="9525" cap="flat" cmpd="sng" algn="ctr">
                      <a:solidFill>
                        <a:srgbClr val="000000"/>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r>
                        <a:rPr kumimoji="0" lang="en-US" sz="1200" b="0" i="0" u="none" strike="noStrike" kern="1200" cap="none" spc="0" normalizeH="0" baseline="0" noProof="0">
                          <a:ln>
                            <a:noFill/>
                          </a:ln>
                          <a:solidFill>
                            <a:srgbClr val="000000"/>
                          </a:solidFill>
                          <a:effectLst/>
                          <a:uLnTx/>
                          <a:uFillTx/>
                          <a:latin typeface="+mn-lt"/>
                        </a:rPr>
                        <a:t>Associate Partner, Analytics &amp; EI</a:t>
                      </a:r>
                    </a:p>
                  </a:txBody>
                  <a:tcPr>
                    <a:lnL w="9525" cap="flat" cmpd="sng" algn="ctr">
                      <a:solidFill>
                        <a:srgbClr val="000000"/>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2083915768"/>
                  </a:ext>
                </a:extLst>
              </a:tr>
              <a:tr h="225120">
                <a:tc gridSpan="6">
                  <a:txBody>
                    <a:bodyPr/>
                    <a:lstStyle/>
                    <a:p>
                      <a:endParaRPr lang="en-US" sz="1050"/>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sz="1050">
                        <a:solidFill>
                          <a:srgbClr val="000000"/>
                        </a:solidFill>
                      </a:endParaRPr>
                    </a:p>
                  </a:txBody>
                  <a:tcPr>
                    <a:lnL w="12700" cmpd="sng">
                      <a:noFill/>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IN" sz="1200" b="0" i="0">
                        <a:solidFill>
                          <a:srgbClr val="000000"/>
                        </a:solidFill>
                        <a:latin typeface="+mn-lt"/>
                      </a:endParaRPr>
                    </a:p>
                  </a:txBody>
                  <a:tcPr>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2018406057"/>
                  </a:ext>
                </a:extLst>
              </a:tr>
              <a:tr h="225120">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b="1" u="sng">
                          <a:solidFill>
                            <a:srgbClr val="000000"/>
                          </a:solidFill>
                        </a:rPr>
                        <a:t>ABLE TO WORK IN SG</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50" b="1" u="sng">
                        <a:solidFill>
                          <a:srgbClr val="000000"/>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b="1" u="sng">
                          <a:solidFill>
                            <a:srgbClr val="000000"/>
                          </a:solidFill>
                        </a:rPr>
                        <a:t>HIGHEST EDUCATION</a:t>
                      </a:r>
                      <a:endParaRPr lang="en-US" sz="1050" b="1">
                        <a:solidFill>
                          <a:srgbClr val="000000"/>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50" b="1">
                        <a:solidFill>
                          <a:srgbClr val="000000"/>
                        </a:solidFill>
                      </a:endParaRPr>
                    </a:p>
                  </a:txBody>
                  <a:tcPr>
                    <a:lnL w="12700" cmpd="sng">
                      <a:noFill/>
                    </a:lnL>
                    <a:lnT w="12700" cmpd="sng">
                      <a:noFill/>
                    </a:lnT>
                  </a:tcPr>
                </a:tc>
                <a:tc hMerge="1">
                  <a:txBody>
                    <a:bodyPr/>
                    <a:lstStyle/>
                    <a:p>
                      <a:endParaRPr lang="en-US"/>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b="1" u="sng">
                          <a:solidFill>
                            <a:srgbClr val="000000"/>
                          </a:solidFill>
                        </a:rPr>
                        <a:t>EMPLOYMENT (LAST 3 YEARS)</a:t>
                      </a:r>
                      <a:endParaRPr lang="en-US" sz="1050" b="1">
                        <a:solidFill>
                          <a:srgbClr val="000000"/>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46864712"/>
                  </a:ext>
                </a:extLst>
              </a:tr>
              <a:tr h="141494">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b="0" kern="1200">
                          <a:solidFill>
                            <a:srgbClr val="000000"/>
                          </a:solidFill>
                          <a:latin typeface="+mn-lt"/>
                          <a:ea typeface="+mn-ea"/>
                          <a:cs typeface="+mn-cs"/>
                        </a:rPr>
                        <a:t>Ye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50" b="0" kern="1200">
                        <a:solidFill>
                          <a:srgbClr val="000000"/>
                        </a:solidFill>
                        <a:latin typeface="+mn-lt"/>
                        <a:ea typeface="+mn-ea"/>
                        <a:cs typeface="+mn-cs"/>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marL="0" marR="0" lvl="0" indent="0" algn="l" defTabSz="1266737" rtl="0" eaLnBrk="1" fontAlgn="auto" latinLnBrk="0" hangingPunct="1">
                        <a:lnSpc>
                          <a:spcPct val="100000"/>
                        </a:lnSpc>
                        <a:spcBef>
                          <a:spcPts val="0"/>
                        </a:spcBef>
                        <a:spcAft>
                          <a:spcPts val="0"/>
                        </a:spcAft>
                        <a:buClrTx/>
                        <a:buSzTx/>
                        <a:buFontTx/>
                        <a:buNone/>
                        <a:tabLst/>
                        <a:defRPr/>
                      </a:pPr>
                      <a:r>
                        <a:rPr lang="en-US" sz="1050" kern="0">
                          <a:solidFill>
                            <a:srgbClr val="808080">
                              <a:lumMod val="50000"/>
                            </a:srgbClr>
                          </a:solidFill>
                          <a:latin typeface="EYInterstate" panose="02000503020000020004" pitchFamily="2" charset="0"/>
                          <a:cs typeface="Arial" panose="020B0604020202020204" pitchFamily="34" charset="0"/>
                          <a:sym typeface="EYInterstate" panose="02000503020000020004" pitchFamily="2" charset="0"/>
                        </a:rPr>
                        <a:t>MBA with specialization in marketing</a:t>
                      </a:r>
                      <a:r>
                        <a:rPr lang="en-US" sz="1050" kern="0">
                          <a:solidFill>
                            <a:srgbClr val="000000"/>
                          </a:solidFill>
                        </a:rPr>
                        <a:t> </a:t>
                      </a:r>
                      <a:endParaRPr lang="en-US" sz="1050" b="0" kern="1200">
                        <a:solidFill>
                          <a:schemeClr val="bg1"/>
                        </a:solidFill>
                        <a:latin typeface="+mn-lt"/>
                        <a:ea typeface="+mn-ea"/>
                        <a:cs typeface="+mn-cs"/>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lnL w="12700" cmpd="sng">
                      <a:noFill/>
                    </a:lnL>
                  </a:tcPr>
                </a:tc>
                <a:tc hMerge="1">
                  <a:txBody>
                    <a:bodyPr/>
                    <a:lstStyle/>
                    <a:p>
                      <a:endParaRPr lang="en-US"/>
                    </a:p>
                  </a:txBody>
                  <a:tcPr/>
                </a:tc>
                <a:tc>
                  <a:txBody>
                    <a:bodyPr/>
                    <a:lstStyle/>
                    <a:p>
                      <a:pPr marL="0" marR="0" lvl="0" indent="0" algn="l">
                        <a:lnSpc>
                          <a:spcPct val="100000"/>
                        </a:lnSpc>
                        <a:spcBef>
                          <a:spcPts val="0"/>
                        </a:spcBef>
                        <a:spcAft>
                          <a:spcPts val="0"/>
                        </a:spcAft>
                        <a:buNone/>
                      </a:pPr>
                      <a:r>
                        <a:rPr lang="en-US" sz="1050" b="0" i="0" u="none" strike="noStrike" kern="1200" noProof="0"/>
                        <a:t>EY: 2020 – Present</a:t>
                      </a:r>
                    </a:p>
                    <a:p>
                      <a:pPr marL="0" marR="0" lvl="0" indent="0" algn="l">
                        <a:lnSpc>
                          <a:spcPct val="100000"/>
                        </a:lnSpc>
                        <a:spcBef>
                          <a:spcPts val="0"/>
                        </a:spcBef>
                        <a:spcAft>
                          <a:spcPts val="0"/>
                        </a:spcAft>
                        <a:buNone/>
                      </a:pPr>
                      <a:r>
                        <a:rPr lang="en-US" sz="1050" b="0" i="0" u="none" strike="noStrike" kern="1200" noProof="0"/>
                        <a:t>IBM: Prior to 2020</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47307066"/>
                  </a:ext>
                </a:extLst>
              </a:tr>
              <a:tr h="225120">
                <a:tc gridSpan="6">
                  <a:txBody>
                    <a:bodyPr/>
                    <a:lstStyle/>
                    <a:p>
                      <a:pPr marL="0" algn="l" defTabSz="914400" rtl="0" eaLnBrk="1" latinLnBrk="0" hangingPunct="1"/>
                      <a:r>
                        <a:rPr lang="en-US" sz="1050" b="1" u="sng" kern="1200">
                          <a:solidFill>
                            <a:srgbClr val="000000"/>
                          </a:solidFill>
                          <a:latin typeface="+mn-lt"/>
                          <a:ea typeface="+mn-ea"/>
                          <a:cs typeface="+mn-cs"/>
                        </a:rPr>
                        <a:t>BACKGROUND</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a:p>
                  </a:txBody>
                  <a:tcPr/>
                </a:tc>
                <a:tc hMerge="1">
                  <a:txBody>
                    <a:bodyPr/>
                    <a:lstStyle/>
                    <a:p>
                      <a:endParaRPr lang="en-US"/>
                    </a:p>
                  </a:txBody>
                  <a:tcPr>
                    <a:lnL w="12700" cmpd="sng">
                      <a:noFill/>
                    </a:ln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3678239183"/>
                  </a:ext>
                </a:extLst>
              </a:tr>
              <a:tr h="708152">
                <a:tc gridSpan="6">
                  <a:txBody>
                    <a:bodyPr/>
                    <a:lstStyle/>
                    <a:p>
                      <a:pPr marL="171450" indent="-171450" algn="l" defTabSz="914400" rtl="0" eaLnBrk="1" latinLnBrk="0" hangingPunct="1">
                        <a:buFont typeface="Arial" panose="020B0604020202020204" pitchFamily="34" charset="0"/>
                        <a:buChar char="•"/>
                      </a:pPr>
                      <a:r>
                        <a:rPr lang="en-US" sz="1050" b="0" kern="1200" dirty="0">
                          <a:solidFill>
                            <a:srgbClr val="000000"/>
                          </a:solidFill>
                          <a:latin typeface="+mn-lt"/>
                          <a:ea typeface="+mn-ea"/>
                          <a:cs typeface="+mn-cs"/>
                        </a:rPr>
                        <a:t>Vivek is a EY </a:t>
                      </a:r>
                      <a:r>
                        <a:rPr lang="en-US" sz="1050" b="0" kern="1200" dirty="0" err="1">
                          <a:solidFill>
                            <a:srgbClr val="000000"/>
                          </a:solidFill>
                          <a:latin typeface="+mn-lt"/>
                          <a:ea typeface="+mn-ea"/>
                          <a:cs typeface="+mn-cs"/>
                        </a:rPr>
                        <a:t>DnA</a:t>
                      </a:r>
                      <a:r>
                        <a:rPr lang="en-US" sz="1050" b="0" kern="1200" dirty="0">
                          <a:solidFill>
                            <a:srgbClr val="000000"/>
                          </a:solidFill>
                          <a:latin typeface="+mn-lt"/>
                          <a:ea typeface="+mn-ea"/>
                          <a:cs typeface="+mn-cs"/>
                        </a:rPr>
                        <a:t> Advisory Associate Partner based in Singapore, specializing in delivering business value through analytics with focus on Customer and Marketing Analytics.</a:t>
                      </a:r>
                    </a:p>
                    <a:p>
                      <a:pPr marL="171450" indent="-171450" algn="l" defTabSz="914400" rtl="0" eaLnBrk="1" latinLnBrk="0" hangingPunct="1">
                        <a:buFont typeface="Arial" panose="020B0604020202020204" pitchFamily="34" charset="0"/>
                        <a:buChar char="•"/>
                      </a:pPr>
                      <a:r>
                        <a:rPr lang="en-US" sz="1050" b="0" kern="1200" dirty="0">
                          <a:solidFill>
                            <a:srgbClr val="000000"/>
                          </a:solidFill>
                          <a:latin typeface="+mn-lt"/>
                          <a:ea typeface="+mn-ea"/>
                          <a:cs typeface="+mn-cs"/>
                        </a:rPr>
                        <a:t>He has 20+ years cross functional experience across Retail, CPG, Airlines and Telecom. He has led several large engagements combining analytics, digital marketing and customer loyalty.</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a:p>
                  </a:txBody>
                  <a:tcPr/>
                </a:tc>
                <a:tc hMerge="1">
                  <a:txBody>
                    <a:bodyPr/>
                    <a:lstStyle/>
                    <a:p>
                      <a:endParaRPr lang="en-US"/>
                    </a:p>
                  </a:txBody>
                  <a:tcPr>
                    <a:lnL w="12700" cmpd="sng">
                      <a:noFill/>
                    </a:ln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3917136942"/>
                  </a:ext>
                </a:extLst>
              </a:tr>
              <a:tr h="225120">
                <a:tc gridSpan="6">
                  <a:txBody>
                    <a:bodyPr/>
                    <a:lstStyle/>
                    <a:p>
                      <a:pPr marL="0" marR="0" lvl="0" indent="0" algn="l" defTabSz="1266737" rtl="0" eaLnBrk="1" latinLnBrk="0" hangingPunct="1">
                        <a:lnSpc>
                          <a:spcPct val="100000"/>
                        </a:lnSpc>
                        <a:spcBef>
                          <a:spcPts val="0"/>
                        </a:spcBef>
                        <a:spcAft>
                          <a:spcPts val="0"/>
                        </a:spcAft>
                        <a:buNone/>
                      </a:pPr>
                      <a:r>
                        <a:rPr lang="en-US" sz="1050" b="1" u="sng" kern="1200" noProof="0">
                          <a:solidFill>
                            <a:srgbClr val="000000"/>
                          </a:solidFill>
                          <a:latin typeface="+mn-lt"/>
                          <a:ea typeface="+mn-ea"/>
                          <a:cs typeface="+mn-cs"/>
                        </a:rPr>
                        <a:t>PROFESSIONAL CAPABILITIE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a:p>
                  </a:txBody>
                  <a:tcPr/>
                </a:tc>
                <a:tc hMerge="1">
                  <a:txBody>
                    <a:bodyPr/>
                    <a:lstStyle/>
                    <a:p>
                      <a:pPr marL="0" marR="0" lvl="0" indent="0" algn="l">
                        <a:lnSpc>
                          <a:spcPct val="100000"/>
                        </a:lnSpc>
                        <a:spcBef>
                          <a:spcPts val="0"/>
                        </a:spcBef>
                        <a:spcAft>
                          <a:spcPts val="0"/>
                        </a:spcAft>
                        <a:buNone/>
                      </a:pPr>
                      <a:endParaRPr lang="en-US" sz="1050" b="0" i="0" u="none" strike="noStrike" kern="1200" noProof="0">
                        <a:highlight>
                          <a:srgbClr val="FFFF00"/>
                        </a:highlight>
                      </a:endParaRPr>
                    </a:p>
                  </a:txBody>
                  <a:tcPr>
                    <a:lnL w="12700" cmpd="sng">
                      <a:noFill/>
                    </a:lnL>
                    <a:lnT w="12700" cmpd="sng">
                      <a:noFill/>
                    </a:lnT>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2989454977"/>
                  </a:ext>
                </a:extLst>
              </a:tr>
              <a:tr h="0">
                <a:tc gridSpan="4">
                  <a:txBody>
                    <a:bodyPr/>
                    <a:lstStyle/>
                    <a:p>
                      <a:pPr marL="171450" marR="0" lvl="0" indent="-171450" algn="l" defTabSz="1266737" rtl="0" eaLnBrk="1" latinLnBrk="0" hangingPunct="1">
                        <a:lnSpc>
                          <a:spcPct val="100000"/>
                        </a:lnSpc>
                        <a:spcBef>
                          <a:spcPts val="0"/>
                        </a:spcBef>
                        <a:spcAft>
                          <a:spcPts val="0"/>
                        </a:spcAft>
                        <a:buFont typeface="Arial" panose="020B0604020202020204" pitchFamily="34" charset="0"/>
                        <a:buChar char="•"/>
                      </a:pPr>
                      <a:r>
                        <a:rPr kumimoji="0" lang="en-US" sz="1050" b="0" i="0" u="none" strike="noStrike" kern="1200" cap="none" spc="0" normalizeH="0" baseline="0" noProof="0">
                          <a:ln>
                            <a:noFill/>
                          </a:ln>
                          <a:solidFill>
                            <a:srgbClr val="000000"/>
                          </a:solidFill>
                          <a:effectLst/>
                          <a:uLnTx/>
                          <a:uFillTx/>
                          <a:latin typeface="+mn-lt"/>
                          <a:ea typeface="+mn-ea"/>
                          <a:cs typeface="+mn-cs"/>
                        </a:rPr>
                        <a:t>Marketing Analytics </a:t>
                      </a:r>
                    </a:p>
                    <a:p>
                      <a:pPr marL="171450" marR="0" lvl="0" indent="-171450" algn="l" defTabSz="1266737" rtl="0" eaLnBrk="1" latinLnBrk="0" hangingPunct="1">
                        <a:lnSpc>
                          <a:spcPct val="100000"/>
                        </a:lnSpc>
                        <a:spcBef>
                          <a:spcPts val="0"/>
                        </a:spcBef>
                        <a:spcAft>
                          <a:spcPts val="0"/>
                        </a:spcAft>
                        <a:buFont typeface="Arial" panose="020B0604020202020204" pitchFamily="34" charset="0"/>
                        <a:buChar char="•"/>
                      </a:pPr>
                      <a:r>
                        <a:rPr kumimoji="0" lang="en-US" sz="1050" b="0" i="0" u="none" strike="noStrike" kern="1200" cap="none" spc="0" normalizeH="0" baseline="0" noProof="0">
                          <a:ln>
                            <a:noFill/>
                          </a:ln>
                          <a:solidFill>
                            <a:srgbClr val="000000"/>
                          </a:solidFill>
                          <a:effectLst/>
                          <a:uLnTx/>
                          <a:uFillTx/>
                          <a:latin typeface="+mn-lt"/>
                          <a:ea typeface="+mn-ea"/>
                          <a:cs typeface="+mn-cs"/>
                        </a:rPr>
                        <a:t>Customer Analytics</a:t>
                      </a:r>
                    </a:p>
                    <a:p>
                      <a:pPr marL="171450" marR="0" lvl="0" indent="-171450" algn="l" defTabSz="1266737" rtl="0" eaLnBrk="1" latinLnBrk="0" hangingPunct="1">
                        <a:lnSpc>
                          <a:spcPct val="100000"/>
                        </a:lnSpc>
                        <a:spcBef>
                          <a:spcPts val="0"/>
                        </a:spcBef>
                        <a:spcAft>
                          <a:spcPts val="0"/>
                        </a:spcAft>
                        <a:buFont typeface="Arial" panose="020B0604020202020204" pitchFamily="34" charset="0"/>
                        <a:buChar char="•"/>
                      </a:pPr>
                      <a:r>
                        <a:rPr kumimoji="0" lang="en-US" sz="1050" b="0" i="0" u="none" strike="noStrike" kern="1200" cap="none" spc="0" normalizeH="0" baseline="0" noProof="0">
                          <a:ln>
                            <a:noFill/>
                          </a:ln>
                          <a:solidFill>
                            <a:srgbClr val="000000"/>
                          </a:solidFill>
                          <a:effectLst/>
                          <a:uLnTx/>
                          <a:uFillTx/>
                          <a:latin typeface="+mn-lt"/>
                          <a:ea typeface="+mn-ea"/>
                          <a:cs typeface="+mn-cs"/>
                        </a:rPr>
                        <a:t>Operational Analytic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a:p>
                  </a:txBody>
                  <a:tcPr/>
                </a:tc>
                <a:tc hMerge="1">
                  <a:txBody>
                    <a:bodyPr/>
                    <a:lstStyle/>
                    <a:p>
                      <a:endParaRPr lang="en-US"/>
                    </a:p>
                  </a:txBody>
                  <a:tcPr>
                    <a:lnL w="12700" cmpd="sng">
                      <a:noFill/>
                    </a:lnL>
                  </a:tcPr>
                </a:tc>
                <a:tc gridSpan="2">
                  <a:txBody>
                    <a:bodyPr/>
                    <a:lstStyle/>
                    <a:p>
                      <a:pPr marL="171450" marR="0" lvl="0" indent="-171450" algn="l" defTabSz="1266737" rtl="0" eaLnBrk="1" latinLnBrk="0" hangingPunct="1">
                        <a:lnSpc>
                          <a:spcPct val="100000"/>
                        </a:lnSpc>
                        <a:spcBef>
                          <a:spcPts val="0"/>
                        </a:spcBef>
                        <a:spcAft>
                          <a:spcPts val="0"/>
                        </a:spcAft>
                        <a:buFont typeface="Arial" panose="020B0604020202020204" pitchFamily="34" charset="0"/>
                        <a:buChar char="•"/>
                      </a:pPr>
                      <a:r>
                        <a:rPr kumimoji="0" lang="en-US" sz="1050" b="0" i="0" u="none" strike="noStrike" kern="1200" cap="none" spc="0" normalizeH="0" baseline="0" noProof="0">
                          <a:ln>
                            <a:noFill/>
                          </a:ln>
                          <a:solidFill>
                            <a:srgbClr val="000000"/>
                          </a:solidFill>
                          <a:effectLst/>
                          <a:uLnTx/>
                          <a:uFillTx/>
                          <a:latin typeface="+mn-lt"/>
                          <a:ea typeface="+mn-ea"/>
                          <a:cs typeface="+mn-cs"/>
                        </a:rPr>
                        <a:t>Customer Loyalty Management</a:t>
                      </a:r>
                    </a:p>
                    <a:p>
                      <a:pPr marL="171450" marR="0" lvl="0" indent="-171450" algn="l" defTabSz="1266737" rtl="0" eaLnBrk="1" latinLnBrk="0" hangingPunct="1">
                        <a:lnSpc>
                          <a:spcPct val="100000"/>
                        </a:lnSpc>
                        <a:spcBef>
                          <a:spcPts val="0"/>
                        </a:spcBef>
                        <a:spcAft>
                          <a:spcPts val="0"/>
                        </a:spcAft>
                        <a:buFont typeface="Arial" panose="020B0604020202020204" pitchFamily="34" charset="0"/>
                        <a:buChar char="•"/>
                      </a:pPr>
                      <a:r>
                        <a:rPr kumimoji="0" lang="en-US" sz="1050" b="0" i="0" u="none" strike="noStrike" kern="1200" cap="none" spc="0" normalizeH="0" baseline="0" noProof="0">
                          <a:ln>
                            <a:noFill/>
                          </a:ln>
                          <a:solidFill>
                            <a:srgbClr val="000000"/>
                          </a:solidFill>
                          <a:effectLst/>
                          <a:uLnTx/>
                          <a:uFillTx/>
                          <a:latin typeface="+mn-lt"/>
                          <a:ea typeface="+mn-ea"/>
                          <a:cs typeface="+mn-cs"/>
                        </a:rPr>
                        <a:t>Digital Marketing</a:t>
                      </a:r>
                    </a:p>
                    <a:p>
                      <a:pPr marL="171450" marR="0" lvl="0" indent="-171450" algn="l" defTabSz="1266737" rtl="0" eaLnBrk="1" latinLnBrk="0" hangingPunct="1">
                        <a:lnSpc>
                          <a:spcPct val="100000"/>
                        </a:lnSpc>
                        <a:spcBef>
                          <a:spcPts val="0"/>
                        </a:spcBef>
                        <a:spcAft>
                          <a:spcPts val="0"/>
                        </a:spcAft>
                        <a:buFont typeface="Arial" panose="020B0604020202020204" pitchFamily="34" charset="0"/>
                        <a:buChar char="•"/>
                      </a:pPr>
                      <a:endParaRPr kumimoji="0" lang="en-US" sz="1050" b="0" i="0" u="none" strike="noStrike" kern="1200" cap="none" spc="0" normalizeH="0" baseline="0" noProof="0">
                        <a:ln>
                          <a:noFill/>
                        </a:ln>
                        <a:solidFill>
                          <a:srgbClr val="000000"/>
                        </a:solidFill>
                        <a:effectLst/>
                        <a:uLnTx/>
                        <a:uFillTx/>
                        <a:latin typeface="+mn-lt"/>
                        <a:ea typeface="+mn-ea"/>
                        <a:cs typeface="+mn-cs"/>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extLst>
                  <a:ext uri="{0D108BD9-81ED-4DB2-BD59-A6C34878D82A}">
                    <a16:rowId xmlns:a16="http://schemas.microsoft.com/office/drawing/2014/main" val="325936331"/>
                  </a:ext>
                </a:extLst>
              </a:tr>
              <a:tr h="225120">
                <a:tc gridSpan="6">
                  <a:txBody>
                    <a:bodyPr/>
                    <a:lstStyle/>
                    <a:p>
                      <a:pPr marL="0" algn="l" defTabSz="914400" rtl="0" eaLnBrk="1" latinLnBrk="0" hangingPunct="1"/>
                      <a:r>
                        <a:rPr lang="en-US" sz="1050" b="1" u="sng" kern="1200">
                          <a:solidFill>
                            <a:srgbClr val="000000"/>
                          </a:solidFill>
                          <a:latin typeface="+mn-lt"/>
                          <a:ea typeface="+mn-ea"/>
                          <a:cs typeface="+mn-cs"/>
                        </a:rPr>
                        <a:t>RELEVANT EXPERIENCE</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a:p>
                  </a:txBody>
                  <a:tcPr/>
                </a:tc>
                <a:tc hMerge="1">
                  <a:txBody>
                    <a:bodyPr/>
                    <a:lstStyle/>
                    <a:p>
                      <a:endParaRPr lang="en-US"/>
                    </a:p>
                  </a:txBody>
                  <a:tcPr>
                    <a:lnL w="12700" cmpd="sng">
                      <a:noFill/>
                    </a:lnL>
                    <a:lnT w="12700" cmpd="sng">
                      <a:noFill/>
                    </a:lnT>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3322682632"/>
                  </a:ext>
                </a:extLst>
              </a:tr>
              <a:tr h="225120">
                <a:tc gridSpan="6">
                  <a:txBody>
                    <a:bodyPr/>
                    <a:lstStyle/>
                    <a:p>
                      <a:pPr marL="171450" marR="0" lvl="0" indent="-171450" algn="l" defTabSz="1266737" rtl="0" eaLnBrk="1" latinLnBrk="0" hangingPunct="1">
                        <a:lnSpc>
                          <a:spcPct val="100000"/>
                        </a:lnSpc>
                        <a:spcBef>
                          <a:spcPts val="0"/>
                        </a:spcBef>
                        <a:spcAft>
                          <a:spcPts val="0"/>
                        </a:spcAft>
                        <a:buFont typeface="Arial" panose="020B0604020202020204" pitchFamily="34" charset="0"/>
                        <a:buChar char="•"/>
                      </a:pPr>
                      <a:r>
                        <a:rPr kumimoji="0" lang="en-US" sz="1050" b="0" i="0" u="none" strike="noStrike" kern="1200" cap="none" spc="0" normalizeH="0" baseline="0" noProof="0" dirty="0">
                          <a:ln>
                            <a:noFill/>
                          </a:ln>
                          <a:solidFill>
                            <a:srgbClr val="000000"/>
                          </a:solidFill>
                          <a:effectLst/>
                          <a:uLnTx/>
                          <a:uFillTx/>
                          <a:latin typeface="+mn-lt"/>
                          <a:ea typeface="+mn-ea"/>
                          <a:cs typeface="+mn-cs"/>
                        </a:rPr>
                        <a:t>Implemented an analytics driven targeted marketing platform for a leading credit issuer in US, for it to monetize its data.</a:t>
                      </a:r>
                    </a:p>
                    <a:p>
                      <a:pPr marL="171450" marR="0" lvl="0" indent="-171450" algn="l" defTabSz="1266737" rtl="0" eaLnBrk="1" latinLnBrk="0" hangingPunct="1">
                        <a:lnSpc>
                          <a:spcPct val="100000"/>
                        </a:lnSpc>
                        <a:spcBef>
                          <a:spcPts val="0"/>
                        </a:spcBef>
                        <a:spcAft>
                          <a:spcPts val="0"/>
                        </a:spcAft>
                        <a:buFont typeface="Arial" panose="020B0604020202020204" pitchFamily="34" charset="0"/>
                        <a:buChar char="•"/>
                      </a:pPr>
                      <a:r>
                        <a:rPr kumimoji="0" lang="en-US" sz="1050" b="0" i="0" u="none" strike="noStrike" kern="1200" cap="none" spc="0" normalizeH="0" baseline="0" noProof="0" dirty="0">
                          <a:ln>
                            <a:noFill/>
                          </a:ln>
                          <a:solidFill>
                            <a:srgbClr val="000000"/>
                          </a:solidFill>
                          <a:effectLst/>
                          <a:uLnTx/>
                          <a:uFillTx/>
                          <a:latin typeface="+mn-lt"/>
                          <a:ea typeface="+mn-ea"/>
                          <a:cs typeface="+mn-cs"/>
                        </a:rPr>
                        <a:t>Built an AI based recommendation engine for a large retailer in Korea.</a:t>
                      </a:r>
                    </a:p>
                    <a:p>
                      <a:pPr marL="171450" marR="0" lvl="0" indent="-171450" algn="l" defTabSz="1266737" rtl="0" eaLnBrk="1" latinLnBrk="0" hangingPunct="1">
                        <a:lnSpc>
                          <a:spcPct val="100000"/>
                        </a:lnSpc>
                        <a:spcBef>
                          <a:spcPts val="0"/>
                        </a:spcBef>
                        <a:spcAft>
                          <a:spcPts val="0"/>
                        </a:spcAft>
                        <a:buFont typeface="Arial" panose="020B0604020202020204" pitchFamily="34" charset="0"/>
                        <a:buChar char="•"/>
                      </a:pPr>
                      <a:r>
                        <a:rPr kumimoji="0" lang="en-US" sz="1050" b="0" i="0" u="none" strike="noStrike" kern="1200" cap="none" spc="0" normalizeH="0" baseline="0" noProof="0" dirty="0">
                          <a:ln>
                            <a:noFill/>
                          </a:ln>
                          <a:solidFill>
                            <a:srgbClr val="000000"/>
                          </a:solidFill>
                          <a:effectLst/>
                          <a:uLnTx/>
                          <a:uFillTx/>
                          <a:latin typeface="+mn-lt"/>
                          <a:ea typeface="+mn-ea"/>
                          <a:cs typeface="+mn-cs"/>
                        </a:rPr>
                        <a:t>Implemented analytics driven marketing programs for 2 large US retailers. </a:t>
                      </a:r>
                    </a:p>
                    <a:p>
                      <a:pPr marL="171450" marR="0" lvl="0" indent="-171450" algn="l" defTabSz="1266737" rtl="0" eaLnBrk="1" latinLnBrk="0" hangingPunct="1">
                        <a:lnSpc>
                          <a:spcPct val="100000"/>
                        </a:lnSpc>
                        <a:spcBef>
                          <a:spcPts val="0"/>
                        </a:spcBef>
                        <a:spcAft>
                          <a:spcPts val="0"/>
                        </a:spcAft>
                        <a:buFont typeface="Arial" panose="020B0604020202020204" pitchFamily="34" charset="0"/>
                        <a:buChar char="•"/>
                      </a:pPr>
                      <a:r>
                        <a:rPr kumimoji="0" lang="en-US" sz="1050" b="0" i="0" u="none" strike="noStrike" kern="1200" cap="none" spc="0" normalizeH="0" baseline="0" noProof="0" dirty="0">
                          <a:ln>
                            <a:noFill/>
                          </a:ln>
                          <a:solidFill>
                            <a:srgbClr val="000000"/>
                          </a:solidFill>
                          <a:effectLst/>
                          <a:uLnTx/>
                          <a:uFillTx/>
                          <a:latin typeface="+mn-lt"/>
                          <a:ea typeface="+mn-ea"/>
                          <a:cs typeface="+mn-cs"/>
                        </a:rPr>
                        <a:t>Worked with a leading global CPG company in Canada to drive competitive advantage through pricing.</a:t>
                      </a:r>
                    </a:p>
                    <a:p>
                      <a:pPr marL="171450" marR="0" lvl="0" indent="-171450" algn="l" defTabSz="1266737" rtl="0" eaLnBrk="1" latinLnBrk="0" hangingPunct="1">
                        <a:lnSpc>
                          <a:spcPct val="100000"/>
                        </a:lnSpc>
                        <a:spcBef>
                          <a:spcPts val="0"/>
                        </a:spcBef>
                        <a:spcAft>
                          <a:spcPts val="0"/>
                        </a:spcAft>
                        <a:buFont typeface="Arial" panose="020B0604020202020204" pitchFamily="34" charset="0"/>
                        <a:buChar char="•"/>
                      </a:pPr>
                      <a:r>
                        <a:rPr kumimoji="0" lang="en-US" sz="1050" b="0" i="0" u="none" strike="noStrike" kern="1200" cap="none" spc="0" normalizeH="0" baseline="0" noProof="0" dirty="0">
                          <a:ln>
                            <a:noFill/>
                          </a:ln>
                          <a:solidFill>
                            <a:srgbClr val="000000"/>
                          </a:solidFill>
                          <a:effectLst/>
                          <a:uLnTx/>
                          <a:uFillTx/>
                          <a:latin typeface="+mn-lt"/>
                          <a:ea typeface="+mn-ea"/>
                          <a:cs typeface="+mn-cs"/>
                        </a:rPr>
                        <a:t>Helped a global CPG company in Singapore save procurement costs by forecasting Palm Oil yield.</a:t>
                      </a:r>
                    </a:p>
                    <a:p>
                      <a:pPr marL="171450" marR="0" lvl="0" indent="-171450" algn="l" defTabSz="1266737" rtl="0" eaLnBrk="1" latinLnBrk="0" hangingPunct="1">
                        <a:lnSpc>
                          <a:spcPct val="100000"/>
                        </a:lnSpc>
                        <a:spcBef>
                          <a:spcPts val="0"/>
                        </a:spcBef>
                        <a:spcAft>
                          <a:spcPts val="0"/>
                        </a:spcAft>
                        <a:buFont typeface="Arial" panose="020B0604020202020204" pitchFamily="34" charset="0"/>
                        <a:buChar char="•"/>
                      </a:pPr>
                      <a:r>
                        <a:rPr kumimoji="0" lang="en-US" sz="1050" b="0" i="0" u="none" strike="noStrike" kern="1200" cap="none" spc="0" normalizeH="0" baseline="0" noProof="0" dirty="0">
                          <a:ln>
                            <a:noFill/>
                          </a:ln>
                          <a:solidFill>
                            <a:srgbClr val="000000"/>
                          </a:solidFill>
                          <a:effectLst/>
                          <a:uLnTx/>
                          <a:uFillTx/>
                          <a:latin typeface="+mn-lt"/>
                          <a:ea typeface="+mn-ea"/>
                          <a:cs typeface="+mn-cs"/>
                        </a:rPr>
                        <a:t>Led digital transformation for a large agricultural company in Indonesia.</a:t>
                      </a:r>
                    </a:p>
                    <a:p>
                      <a:pPr marL="171450" marR="0" lvl="0" indent="-171450" algn="l" defTabSz="1266737" rtl="0" eaLnBrk="1" latinLnBrk="0" hangingPunct="1">
                        <a:lnSpc>
                          <a:spcPct val="100000"/>
                        </a:lnSpc>
                        <a:spcBef>
                          <a:spcPts val="0"/>
                        </a:spcBef>
                        <a:spcAft>
                          <a:spcPts val="0"/>
                        </a:spcAft>
                        <a:buFont typeface="Arial" panose="020B0604020202020204" pitchFamily="34" charset="0"/>
                        <a:buChar char="•"/>
                      </a:pPr>
                      <a:r>
                        <a:rPr kumimoji="0" lang="en-US" sz="1050" b="0" i="0" u="none" strike="noStrike" kern="1200" cap="none" spc="0" normalizeH="0" baseline="0" noProof="0" dirty="0">
                          <a:ln>
                            <a:noFill/>
                          </a:ln>
                          <a:solidFill>
                            <a:srgbClr val="000000"/>
                          </a:solidFill>
                          <a:effectLst/>
                          <a:uLnTx/>
                          <a:uFillTx/>
                          <a:latin typeface="+mn-lt"/>
                          <a:ea typeface="+mn-ea"/>
                          <a:cs typeface="+mn-cs"/>
                        </a:rPr>
                        <a:t>Developed analytics strategy for 2 leading airlines in Middle East and Europe.</a:t>
                      </a:r>
                    </a:p>
                    <a:p>
                      <a:pPr marL="171450" marR="0" lvl="0" indent="-171450" algn="l" defTabSz="1266737" rtl="0" eaLnBrk="1" latinLnBrk="0" hangingPunct="1">
                        <a:lnSpc>
                          <a:spcPct val="100000"/>
                        </a:lnSpc>
                        <a:spcBef>
                          <a:spcPts val="0"/>
                        </a:spcBef>
                        <a:spcAft>
                          <a:spcPts val="0"/>
                        </a:spcAft>
                        <a:buFont typeface="Arial" panose="020B0604020202020204" pitchFamily="34" charset="0"/>
                        <a:buChar char="•"/>
                      </a:pPr>
                      <a:r>
                        <a:rPr kumimoji="0" lang="en-US" sz="1050" b="0" i="0" u="none" strike="noStrike" kern="1200" cap="none" spc="0" normalizeH="0" baseline="0" noProof="0" dirty="0">
                          <a:ln>
                            <a:noFill/>
                          </a:ln>
                          <a:solidFill>
                            <a:srgbClr val="000000"/>
                          </a:solidFill>
                          <a:effectLst/>
                          <a:uLnTx/>
                          <a:uFillTx/>
                          <a:latin typeface="+mn-lt"/>
                          <a:ea typeface="+mn-ea"/>
                          <a:cs typeface="+mn-cs"/>
                        </a:rPr>
                        <a:t>Analytics driven marketing strategy for a leading Indonesian Telco.</a:t>
                      </a:r>
                    </a:p>
                    <a:p>
                      <a:pPr marL="171450" marR="0" lvl="0" indent="-171450" algn="l" defTabSz="1266737" rtl="0" eaLnBrk="1" latinLnBrk="0" hangingPunct="1">
                        <a:lnSpc>
                          <a:spcPct val="100000"/>
                        </a:lnSpc>
                        <a:spcBef>
                          <a:spcPts val="0"/>
                        </a:spcBef>
                        <a:spcAft>
                          <a:spcPts val="0"/>
                        </a:spcAft>
                        <a:buFont typeface="Arial" panose="020B0604020202020204" pitchFamily="34" charset="0"/>
                        <a:buChar char="•"/>
                      </a:pPr>
                      <a:r>
                        <a:rPr kumimoji="0" lang="en-US" sz="1050" b="0" i="0" u="none" strike="noStrike" kern="1200" cap="none" spc="0" normalizeH="0" baseline="0" noProof="0" dirty="0">
                          <a:ln>
                            <a:noFill/>
                          </a:ln>
                          <a:solidFill>
                            <a:srgbClr val="000000"/>
                          </a:solidFill>
                          <a:effectLst/>
                          <a:uLnTx/>
                          <a:uFillTx/>
                          <a:latin typeface="+mn-lt"/>
                          <a:ea typeface="+mn-ea"/>
                          <a:cs typeface="+mn-cs"/>
                        </a:rPr>
                        <a:t>Advanced analytics driven campaign management system for an African Telco.</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a:p>
                  </a:txBody>
                  <a:tcPr/>
                </a:tc>
                <a:tc hMerge="1">
                  <a:txBody>
                    <a:bodyPr/>
                    <a:lstStyle/>
                    <a:p>
                      <a:endParaRPr lang="en-US"/>
                    </a:p>
                  </a:txBody>
                  <a:tcPr>
                    <a:lnL w="12700" cmpd="sng">
                      <a:noFill/>
                    </a:ln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2087447848"/>
                  </a:ext>
                </a:extLst>
              </a:tr>
            </a:tbl>
          </a:graphicData>
        </a:graphic>
      </p:graphicFrame>
      <p:pic>
        <p:nvPicPr>
          <p:cNvPr id="14" name="Picture 13">
            <a:extLst>
              <a:ext uri="{FF2B5EF4-FFF2-40B4-BE49-F238E27FC236}">
                <a16:creationId xmlns:a16="http://schemas.microsoft.com/office/drawing/2014/main" id="{8CC7DEF2-9487-4413-ABBA-6F67B37BB5BF}"/>
              </a:ext>
            </a:extLst>
          </p:cNvPr>
          <p:cNvPicPr>
            <a:picLocks noChangeAspect="1"/>
          </p:cNvPicPr>
          <p:nvPr/>
        </p:nvPicPr>
        <p:blipFill rotWithShape="1">
          <a:blip r:embed="rId5" cstate="print">
            <a:grayscl/>
            <a:extLst>
              <a:ext uri="{28A0092B-C50C-407E-A947-70E740481C1C}">
                <a14:useLocalDpi xmlns:a14="http://schemas.microsoft.com/office/drawing/2010/main" val="0"/>
              </a:ext>
            </a:extLst>
          </a:blip>
          <a:srcRect l="1927" r="1249" b="8093"/>
          <a:stretch/>
        </p:blipFill>
        <p:spPr>
          <a:xfrm>
            <a:off x="7657761" y="1462834"/>
            <a:ext cx="719622" cy="805932"/>
          </a:xfrm>
          <a:prstGeom prst="flowChartConnector">
            <a:avLst/>
          </a:prstGeom>
        </p:spPr>
      </p:pic>
    </p:spTree>
    <p:extLst>
      <p:ext uri="{BB962C8B-B14F-4D97-AF65-F5344CB8AC3E}">
        <p14:creationId xmlns:p14="http://schemas.microsoft.com/office/powerpoint/2010/main" val="117806920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able 6">
            <a:extLst>
              <a:ext uri="{FF2B5EF4-FFF2-40B4-BE49-F238E27FC236}">
                <a16:creationId xmlns:a16="http://schemas.microsoft.com/office/drawing/2014/main" id="{031644C0-27D7-FE46-9B47-4B6F21517174}"/>
              </a:ext>
            </a:extLst>
          </p:cNvPr>
          <p:cNvGraphicFramePr>
            <a:graphicFrameLocks noGrp="1"/>
          </p:cNvGraphicFramePr>
          <p:nvPr>
            <p:extLst>
              <p:ext uri="{D42A27DB-BD31-4B8C-83A1-F6EECF244321}">
                <p14:modId xmlns:p14="http://schemas.microsoft.com/office/powerpoint/2010/main" val="3167607853"/>
              </p:ext>
            </p:extLst>
          </p:nvPr>
        </p:nvGraphicFramePr>
        <p:xfrm>
          <a:off x="7084582" y="430119"/>
          <a:ext cx="5927955" cy="6360897"/>
        </p:xfrm>
        <a:graphic>
          <a:graphicData uri="http://schemas.openxmlformats.org/drawingml/2006/table">
            <a:tbl>
              <a:tblPr firstRow="1" bandRow="1">
                <a:tableStyleId>{5C22544A-7EE6-4342-B048-85BDC9FD1C3A}</a:tableStyleId>
              </a:tblPr>
              <a:tblGrid>
                <a:gridCol w="717946">
                  <a:extLst>
                    <a:ext uri="{9D8B030D-6E8A-4147-A177-3AD203B41FA5}">
                      <a16:colId xmlns:a16="http://schemas.microsoft.com/office/drawing/2014/main" val="284332728"/>
                    </a:ext>
                  </a:extLst>
                </a:gridCol>
                <a:gridCol w="5210009">
                  <a:extLst>
                    <a:ext uri="{9D8B030D-6E8A-4147-A177-3AD203B41FA5}">
                      <a16:colId xmlns:a16="http://schemas.microsoft.com/office/drawing/2014/main" val="3719937613"/>
                    </a:ext>
                  </a:extLst>
                </a:gridCol>
              </a:tblGrid>
              <a:tr h="1629590">
                <a:tc>
                  <a:txBody>
                    <a:bodyPr/>
                    <a:lstStyle/>
                    <a:p>
                      <a:pPr>
                        <a:lnSpc>
                          <a:spcPct val="150000"/>
                        </a:lnSpc>
                      </a:pPr>
                      <a:endParaRPr lang="en-US" sz="1400">
                        <a:latin typeface="+mn-lt"/>
                      </a:endParaRPr>
                    </a:p>
                  </a:txBody>
                  <a:tcPr marL="91421" marR="91421" marT="45710" marB="4571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l">
                        <a:lnSpc>
                          <a:spcPct val="150000"/>
                        </a:lnSpc>
                      </a:pPr>
                      <a:r>
                        <a:rPr lang="en-US" sz="1400">
                          <a:solidFill>
                            <a:schemeClr val="tx2"/>
                          </a:solidFill>
                          <a:latin typeface="+mn-lt"/>
                        </a:rPr>
                        <a:t>We know GE </a:t>
                      </a:r>
                    </a:p>
                    <a:p>
                      <a:pPr algn="l">
                        <a:lnSpc>
                          <a:spcPct val="100000"/>
                        </a:lnSpc>
                      </a:pPr>
                      <a:r>
                        <a:rPr lang="en-US" sz="1200" b="0">
                          <a:solidFill>
                            <a:schemeClr val="bg1"/>
                          </a:solidFill>
                          <a:latin typeface="+mn-lt"/>
                        </a:rPr>
                        <a:t>W</a:t>
                      </a:r>
                      <a:r>
                        <a:rPr lang="en-US" sz="1200" kern="1200">
                          <a:solidFill>
                            <a:schemeClr val="tx1">
                              <a:lumMod val="20000"/>
                              <a:lumOff val="80000"/>
                            </a:schemeClr>
                          </a:solidFill>
                          <a:latin typeface="+mn-lt"/>
                          <a:ea typeface="+mn-ea"/>
                          <a:cs typeface="+mn-cs"/>
                        </a:rPr>
                        <a:t>e will leverage our understanding of the GELS source systems, underlying data taxonomy  data availability &amp; data quality assessment </a:t>
                      </a:r>
                      <a:r>
                        <a:rPr lang="en-US" sz="1200" b="1" kern="1200">
                          <a:solidFill>
                            <a:schemeClr val="tx1">
                              <a:lumMod val="20000"/>
                              <a:lumOff val="80000"/>
                            </a:schemeClr>
                          </a:solidFill>
                          <a:latin typeface="+mn-lt"/>
                          <a:ea typeface="+mn-ea"/>
                          <a:cs typeface="+mn-cs"/>
                        </a:rPr>
                        <a:t>and future-state customer journeys across affinity partners, digital and online marketing, BANCA partnership to accelerate the overall delivery and tie back to potential business use cases. </a:t>
                      </a:r>
                      <a:endParaRPr lang="en-US" sz="1600" b="0">
                        <a:solidFill>
                          <a:schemeClr val="tx1">
                            <a:lumMod val="20000"/>
                            <a:lumOff val="80000"/>
                          </a:schemeClr>
                        </a:solidFill>
                        <a:latin typeface="+mn-lt"/>
                      </a:endParaRPr>
                    </a:p>
                  </a:txBody>
                  <a:tcPr marL="91421" marR="91421" marT="45710" marB="4571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627658902"/>
                  </a:ext>
                </a:extLst>
              </a:tr>
              <a:tr h="1654019">
                <a:tc>
                  <a:txBody>
                    <a:bodyPr/>
                    <a:lstStyle/>
                    <a:p>
                      <a:pPr>
                        <a:lnSpc>
                          <a:spcPct val="150000"/>
                        </a:lnSpc>
                      </a:pPr>
                      <a:endParaRPr lang="en-US" sz="1400">
                        <a:latin typeface="+mn-lt"/>
                      </a:endParaRPr>
                    </a:p>
                  </a:txBody>
                  <a:tcPr marL="91421" marR="91421" marT="45710" marB="4571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algn="l" defTabSz="1007805" rtl="0" eaLnBrk="1" latinLnBrk="0" hangingPunct="1">
                        <a:lnSpc>
                          <a:spcPct val="150000"/>
                        </a:lnSpc>
                      </a:pPr>
                      <a:r>
                        <a:rPr lang="en-US" sz="1400" b="1" kern="1200">
                          <a:solidFill>
                            <a:schemeClr val="tx2"/>
                          </a:solidFill>
                          <a:latin typeface="+mn-lt"/>
                          <a:ea typeface="+mn-ea"/>
                          <a:cs typeface="+mn-cs"/>
                        </a:rPr>
                        <a:t>Our Team </a:t>
                      </a:r>
                    </a:p>
                    <a:p>
                      <a:pPr marL="0" algn="l" defTabSz="1007805" rtl="0" eaLnBrk="1" latinLnBrk="0" hangingPunct="1">
                        <a:lnSpc>
                          <a:spcPct val="100000"/>
                        </a:lnSpc>
                      </a:pPr>
                      <a:r>
                        <a:rPr lang="en-US" sz="1200" b="1" kern="1200">
                          <a:solidFill>
                            <a:schemeClr val="tx1">
                              <a:lumMod val="20000"/>
                              <a:lumOff val="80000"/>
                            </a:schemeClr>
                          </a:solidFill>
                          <a:latin typeface="+mn-lt"/>
                          <a:ea typeface="+mn-ea"/>
                          <a:cs typeface="+mn-cs"/>
                        </a:rPr>
                        <a:t>We have assembled a multi-disciplinary team of data scientists, data management and marketing analytics SMEs to assist you with your vision. Our data science professionals have more than 5 years of relevant experience and are well versed on SAS </a:t>
                      </a:r>
                      <a:r>
                        <a:rPr lang="en-US" sz="1200" b="1" kern="1200" err="1">
                          <a:solidFill>
                            <a:schemeClr val="tx1">
                              <a:lumMod val="20000"/>
                              <a:lumOff val="80000"/>
                            </a:schemeClr>
                          </a:solidFill>
                          <a:latin typeface="+mn-lt"/>
                          <a:ea typeface="+mn-ea"/>
                          <a:cs typeface="+mn-cs"/>
                        </a:rPr>
                        <a:t>Viya</a:t>
                      </a:r>
                      <a:r>
                        <a:rPr lang="en-US" sz="1200" b="1" kern="1200">
                          <a:solidFill>
                            <a:schemeClr val="tx1">
                              <a:lumMod val="20000"/>
                              <a:lumOff val="80000"/>
                            </a:schemeClr>
                          </a:solidFill>
                          <a:latin typeface="+mn-lt"/>
                          <a:ea typeface="+mn-ea"/>
                          <a:cs typeface="+mn-cs"/>
                        </a:rPr>
                        <a:t> and open source software like Anaconda and Python. ​</a:t>
                      </a:r>
                    </a:p>
                  </a:txBody>
                  <a:tcPr marL="91421" marR="91421" marT="45710" marB="4571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4209833086"/>
                  </a:ext>
                </a:extLst>
              </a:tr>
              <a:tr h="1477108">
                <a:tc>
                  <a:txBody>
                    <a:bodyPr/>
                    <a:lstStyle/>
                    <a:p>
                      <a:pPr>
                        <a:lnSpc>
                          <a:spcPct val="150000"/>
                        </a:lnSpc>
                      </a:pPr>
                      <a:endParaRPr lang="en-US" sz="1400">
                        <a:latin typeface="+mn-lt"/>
                      </a:endParaRPr>
                    </a:p>
                  </a:txBody>
                  <a:tcPr marL="91421" marR="91421" marT="45710" marB="4571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algn="l" defTabSz="1007805" rtl="0" eaLnBrk="1" latinLnBrk="0" hangingPunct="1">
                        <a:lnSpc>
                          <a:spcPct val="150000"/>
                        </a:lnSpc>
                      </a:pPr>
                      <a:r>
                        <a:rPr lang="en-US" sz="1400" b="1" kern="1200">
                          <a:solidFill>
                            <a:schemeClr val="tx2"/>
                          </a:solidFill>
                          <a:latin typeface="+mn-lt"/>
                          <a:ea typeface="+mn-ea"/>
                          <a:cs typeface="+mn-cs"/>
                        </a:rPr>
                        <a:t>Commitment &amp; Collaboration</a:t>
                      </a:r>
                    </a:p>
                    <a:p>
                      <a:pPr marL="0" marR="0" lvl="0" indent="0" algn="l" defTabSz="1007805"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a:ln>
                            <a:noFill/>
                          </a:ln>
                          <a:solidFill>
                            <a:srgbClr val="FFFFFF"/>
                          </a:solidFill>
                          <a:effectLst/>
                          <a:uLnTx/>
                          <a:uFillTx/>
                          <a:latin typeface="+mn-lt"/>
                          <a:ea typeface="+mn-ea"/>
                          <a:cs typeface="+mn-cs"/>
                        </a:rPr>
                        <a:t>We are committed to achieve the model performance desired by GE. Also we will set up the governance, drive the discussions, bring the expertise, propose sound solutions to problems and track actions collaboratively.</a:t>
                      </a:r>
                    </a:p>
                  </a:txBody>
                  <a:tcPr marL="91421" marR="91421" marT="45710" marB="4571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4042878953"/>
                  </a:ext>
                </a:extLst>
              </a:tr>
              <a:tr h="1334046">
                <a:tc>
                  <a:txBody>
                    <a:bodyPr/>
                    <a:lstStyle/>
                    <a:p>
                      <a:pPr>
                        <a:lnSpc>
                          <a:spcPct val="150000"/>
                        </a:lnSpc>
                      </a:pPr>
                      <a:endParaRPr lang="en-US" sz="1400">
                        <a:latin typeface="+mn-lt"/>
                      </a:endParaRPr>
                    </a:p>
                  </a:txBody>
                  <a:tcPr marL="91421" marR="91421" marT="45710" marB="4571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algn="l" defTabSz="1007805" rtl="0" eaLnBrk="1" latinLnBrk="0" hangingPunct="1">
                        <a:lnSpc>
                          <a:spcPct val="150000"/>
                        </a:lnSpc>
                      </a:pPr>
                      <a:r>
                        <a:rPr lang="en-US" sz="1400" b="1" kern="1200" dirty="0">
                          <a:solidFill>
                            <a:schemeClr val="tx2"/>
                          </a:solidFill>
                          <a:latin typeface="+mn-lt"/>
                          <a:ea typeface="+mn-ea"/>
                          <a:cs typeface="+mn-cs"/>
                        </a:rPr>
                        <a:t>EY Data Science &amp; Data Management Platform</a:t>
                      </a:r>
                    </a:p>
                    <a:p>
                      <a:pPr marL="0" marR="0" lvl="0" indent="0" algn="l" defTabSz="1007805"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rgbClr val="FFFFFF"/>
                          </a:solidFill>
                          <a:effectLst/>
                          <a:uLnTx/>
                          <a:uFillTx/>
                          <a:latin typeface="+mn-lt"/>
                          <a:ea typeface="+mn-ea"/>
                          <a:cs typeface="+mn-cs"/>
                        </a:rPr>
                        <a:t>As part of our commitment to support GE on the analytics journey we would share our strategy on design, framework &amp; methodologies and prototype of our platform that provides agility for data acquisition, transformation, data quality assessment and advanced analytics to be offered as a service to users. This enables faster time to market across model build and deployment. </a:t>
                      </a:r>
                    </a:p>
                  </a:txBody>
                  <a:tcPr marL="91421" marR="91421" marT="45710" marB="4571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1035189745"/>
                  </a:ext>
                </a:extLst>
              </a:tr>
            </a:tbl>
          </a:graphicData>
        </a:graphic>
      </p:graphicFrame>
      <p:pic>
        <p:nvPicPr>
          <p:cNvPr id="8" name="Picture 7" descr="A picture containing table, sitting, computer, keyboard&#10;&#10;Description automatically generated">
            <a:extLst>
              <a:ext uri="{FF2B5EF4-FFF2-40B4-BE49-F238E27FC236}">
                <a16:creationId xmlns:a16="http://schemas.microsoft.com/office/drawing/2014/main" id="{A1DCF3DA-B32D-B34D-BFD5-320B7586E764}"/>
              </a:ext>
            </a:extLst>
          </p:cNvPr>
          <p:cNvPicPr>
            <a:picLocks noChangeAspect="1"/>
          </p:cNvPicPr>
          <p:nvPr/>
        </p:nvPicPr>
        <p:blipFill rotWithShape="1">
          <a:blip r:embed="rId2" cstate="screen">
            <a:extLst>
              <a:ext uri="{BEBA8EAE-BF5A-486C-A8C5-ECC9F3942E4B}">
                <a14:imgProps xmlns:a14="http://schemas.microsoft.com/office/drawing/2010/main">
                  <a14:imgLayer r:embed="rId3">
                    <a14:imgEffect>
                      <a14:brightnessContrast bright="-72000"/>
                    </a14:imgEffect>
                  </a14:imgLayer>
                </a14:imgProps>
              </a:ext>
              <a:ext uri="{28A0092B-C50C-407E-A947-70E740481C1C}">
                <a14:useLocalDpi xmlns:a14="http://schemas.microsoft.com/office/drawing/2010/main"/>
              </a:ext>
            </a:extLst>
          </a:blip>
          <a:srcRect/>
          <a:stretch/>
        </p:blipFill>
        <p:spPr>
          <a:xfrm rot="5400000">
            <a:off x="-392727" y="419894"/>
            <a:ext cx="7561261" cy="6721477"/>
          </a:xfrm>
          <a:prstGeom prst="rect">
            <a:avLst/>
          </a:prstGeom>
        </p:spPr>
      </p:pic>
      <p:sp>
        <p:nvSpPr>
          <p:cNvPr id="9" name="Rectangle 7">
            <a:extLst>
              <a:ext uri="{FF2B5EF4-FFF2-40B4-BE49-F238E27FC236}">
                <a16:creationId xmlns:a16="http://schemas.microsoft.com/office/drawing/2014/main" id="{E5CED8EE-120E-9048-959F-B5D258001A7B}"/>
              </a:ext>
            </a:extLst>
          </p:cNvPr>
          <p:cNvSpPr txBox="1"/>
          <p:nvPr/>
        </p:nvSpPr>
        <p:spPr>
          <a:xfrm>
            <a:off x="777619" y="2418890"/>
            <a:ext cx="4385136" cy="584647"/>
          </a:xfrm>
          <a:prstGeom prst="rect">
            <a:avLst/>
          </a:prstGeom>
          <a:ln w="12700">
            <a:miter lim="400000"/>
          </a:ln>
          <a:extLst>
            <a:ext uri="{C572A759-6A51-4108-AA02-DFA0A04FC94B}">
              <ma14:wrappingTextBoxFlag xmlns:ma14="http://schemas.microsoft.com/office/mac/drawingml/2011/main" xmlns="" val="1"/>
            </a:ext>
          </a:extLst>
        </p:spPr>
        <p:txBody>
          <a:bodyPr wrap="square" lIns="50405" rIns="50405" anchor="ctr">
            <a:spAutoFit/>
          </a:bodyPr>
          <a:lstStyle/>
          <a:p>
            <a:pPr marL="0" marR="0" lvl="0" indent="0" algn="l" defTabSz="504027" rtl="0" eaLnBrk="1" fontAlgn="auto" latinLnBrk="0" hangingPunct="1">
              <a:lnSpc>
                <a:spcPct val="100000"/>
              </a:lnSpc>
              <a:spcBef>
                <a:spcPts val="0"/>
              </a:spcBef>
              <a:spcAft>
                <a:spcPts val="0"/>
              </a:spcAft>
              <a:buClrTx/>
              <a:buSzTx/>
              <a:buFont typeface="Arial" charset="0"/>
              <a:buNone/>
              <a:tabLst/>
              <a:defRPr sz="4400">
                <a:solidFill>
                  <a:srgbClr val="333333"/>
                </a:solidFill>
                <a:latin typeface="EYInterstate Regular"/>
                <a:ea typeface="EYInterstate Regular"/>
                <a:cs typeface="EYInterstate Regular"/>
                <a:sym typeface="EYInterstate Regular"/>
              </a:defRPr>
            </a:pPr>
            <a:r>
              <a:rPr kumimoji="0" lang="en-US" sz="3199" b="0" i="0" u="none" strike="noStrike" kern="1200" cap="none" spc="0" normalizeH="0" baseline="0" noProof="0">
                <a:ln>
                  <a:noFill/>
                </a:ln>
                <a:solidFill>
                  <a:srgbClr val="FFE600"/>
                </a:solidFill>
                <a:effectLst/>
                <a:uLnTx/>
                <a:uFillTx/>
                <a:latin typeface="EYInterstate Light"/>
                <a:sym typeface="EYInterstate Regular"/>
              </a:rPr>
              <a:t>EY Advantages</a:t>
            </a:r>
          </a:p>
        </p:txBody>
      </p:sp>
      <p:sp>
        <p:nvSpPr>
          <p:cNvPr id="11" name="TextBox 10">
            <a:extLst>
              <a:ext uri="{FF2B5EF4-FFF2-40B4-BE49-F238E27FC236}">
                <a16:creationId xmlns:a16="http://schemas.microsoft.com/office/drawing/2014/main" id="{FB0E47A8-8FC0-8A41-8CCC-F2A1A56B3930}"/>
              </a:ext>
            </a:extLst>
          </p:cNvPr>
          <p:cNvSpPr txBox="1"/>
          <p:nvPr/>
        </p:nvSpPr>
        <p:spPr>
          <a:xfrm>
            <a:off x="879657" y="4252564"/>
            <a:ext cx="4283098" cy="285527"/>
          </a:xfrm>
          <a:prstGeom prst="rect">
            <a:avLst/>
          </a:prstGeom>
          <a:ln w="12700">
            <a:miter lim="400000"/>
          </a:ln>
          <a:extLst>
            <a:ext uri="{C572A759-6A51-4108-AA02-DFA0A04FC94B}">
              <ma14:wrappingTextBoxFlag xmlns:ma14="http://schemas.microsoft.com/office/mac/drawingml/2011/main" xmlns="" val="1"/>
            </a:ext>
          </a:extLst>
        </p:spPr>
        <p:txBody>
          <a:bodyPr wrap="square" lIns="0" tIns="0" rIns="0" bIns="0" anchor="ctr">
            <a:spAutoFit/>
          </a:bodyPr>
          <a:lstStyle/>
          <a:p>
            <a:pPr marL="0" marR="0" lvl="0" indent="0" algn="l" defTabSz="1008126" rtl="0" eaLnBrk="1" fontAlgn="auto" latinLnBrk="0" hangingPunct="1">
              <a:lnSpc>
                <a:spcPct val="150000"/>
              </a:lnSpc>
              <a:spcBef>
                <a:spcPts val="0"/>
              </a:spcBef>
              <a:spcAft>
                <a:spcPts val="600"/>
              </a:spcAft>
              <a:buClr>
                <a:srgbClr val="27ACAA"/>
              </a:buClr>
              <a:buSzPct val="70000"/>
              <a:buFont typeface="Arial" charset="0"/>
              <a:buNone/>
              <a:tabLst/>
              <a:defRPr/>
            </a:pPr>
            <a:endParaRPr kumimoji="0" lang="en-US" sz="1400" b="0" i="0" u="none" strike="noStrike" kern="1200" cap="none" spc="0" normalizeH="0" baseline="0" noProof="0">
              <a:ln>
                <a:noFill/>
              </a:ln>
              <a:solidFill>
                <a:prstClr val="white"/>
              </a:solidFill>
              <a:effectLst/>
              <a:uLnTx/>
              <a:uFillTx/>
              <a:latin typeface="EYInterstate Light"/>
              <a:ea typeface="+mn-ea"/>
              <a:cs typeface="+mn-cs"/>
            </a:endParaRPr>
          </a:p>
        </p:txBody>
      </p:sp>
      <p:sp>
        <p:nvSpPr>
          <p:cNvPr id="10" name="Title 4">
            <a:extLst>
              <a:ext uri="{FF2B5EF4-FFF2-40B4-BE49-F238E27FC236}">
                <a16:creationId xmlns:a16="http://schemas.microsoft.com/office/drawing/2014/main" id="{48FA4CFD-DC0C-4F7F-BA27-79AC7E1CE2A3}"/>
              </a:ext>
            </a:extLst>
          </p:cNvPr>
          <p:cNvSpPr txBox="1">
            <a:spLocks/>
          </p:cNvSpPr>
          <p:nvPr/>
        </p:nvSpPr>
        <p:spPr>
          <a:xfrm>
            <a:off x="672703" y="584634"/>
            <a:ext cx="12097544" cy="406950"/>
          </a:xfrm>
          <a:prstGeom prst="rect">
            <a:avLst/>
          </a:prstGeom>
        </p:spPr>
        <p:txBody>
          <a:bodyPr/>
          <a:lstStyle>
            <a:lvl1pPr algn="l" defTabSz="1007805" rtl="0" eaLnBrk="1" latinLnBrk="0" hangingPunct="1">
              <a:lnSpc>
                <a:spcPct val="85000"/>
              </a:lnSpc>
              <a:spcBef>
                <a:spcPct val="0"/>
              </a:spcBef>
              <a:buNone/>
              <a:defRPr sz="2645" b="0" kern="1200">
                <a:solidFill>
                  <a:schemeClr val="bg1"/>
                </a:solidFill>
                <a:latin typeface="EYInterstate Light" panose="02000506000000020004" pitchFamily="2" charset="0"/>
                <a:ea typeface="+mj-ea"/>
                <a:cs typeface="Arial" pitchFamily="34" charset="0"/>
              </a:defRPr>
            </a:lvl1pPr>
          </a:lstStyle>
          <a:p>
            <a:pPr marL="0" marR="0" lvl="0" indent="0" algn="l" defTabSz="1111105" rtl="0" eaLnBrk="1" fontAlgn="auto" latinLnBrk="0" hangingPunct="1">
              <a:lnSpc>
                <a:spcPct val="85000"/>
              </a:lnSpc>
              <a:spcBef>
                <a:spcPct val="0"/>
              </a:spcBef>
              <a:spcAft>
                <a:spcPts val="0"/>
              </a:spcAft>
              <a:buClrTx/>
              <a:buSzTx/>
              <a:buFont typeface="Arial" charset="0"/>
              <a:buNone/>
              <a:tabLst/>
              <a:defRPr/>
            </a:pPr>
            <a:r>
              <a:rPr kumimoji="0" lang="en-AU" sz="2644" b="0" i="0" u="none" strike="noStrike" kern="1200" cap="none" spc="0" normalizeH="0" baseline="0" noProof="0">
                <a:ln>
                  <a:noFill/>
                </a:ln>
                <a:solidFill>
                  <a:prstClr val="white"/>
                </a:solidFill>
                <a:effectLst/>
                <a:uLnTx/>
                <a:uFillTx/>
                <a:latin typeface="EYInterstate Light" panose="02000506000000020004" pitchFamily="2" charset="0"/>
                <a:ea typeface="+mj-ea"/>
                <a:cs typeface="Arial" pitchFamily="34" charset="0"/>
              </a:rPr>
              <a:t>Executive Summary</a:t>
            </a:r>
          </a:p>
        </p:txBody>
      </p:sp>
      <p:pic>
        <p:nvPicPr>
          <p:cNvPr id="14" name="Graphic 13" descr="Handshake">
            <a:extLst>
              <a:ext uri="{FF2B5EF4-FFF2-40B4-BE49-F238E27FC236}">
                <a16:creationId xmlns:a16="http://schemas.microsoft.com/office/drawing/2014/main" id="{5AA5564C-7760-44D3-A732-B5746A2AA2F5}"/>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073950" y="466151"/>
            <a:ext cx="548640" cy="548640"/>
          </a:xfrm>
          <a:prstGeom prst="rect">
            <a:avLst/>
          </a:prstGeom>
        </p:spPr>
      </p:pic>
      <p:grpSp>
        <p:nvGrpSpPr>
          <p:cNvPr id="26" name="Group 16">
            <a:extLst>
              <a:ext uri="{FF2B5EF4-FFF2-40B4-BE49-F238E27FC236}">
                <a16:creationId xmlns:a16="http://schemas.microsoft.com/office/drawing/2014/main" id="{62EE21E6-3003-42A9-BCD7-C859D4171839}"/>
              </a:ext>
            </a:extLst>
          </p:cNvPr>
          <p:cNvGrpSpPr>
            <a:grpSpLocks noChangeAspect="1"/>
          </p:cNvGrpSpPr>
          <p:nvPr/>
        </p:nvGrpSpPr>
        <p:grpSpPr bwMode="auto">
          <a:xfrm>
            <a:off x="7147022" y="2345453"/>
            <a:ext cx="429186" cy="365760"/>
            <a:chOff x="3159" y="872"/>
            <a:chExt cx="812" cy="692"/>
          </a:xfrm>
          <a:noFill/>
        </p:grpSpPr>
        <p:sp>
          <p:nvSpPr>
            <p:cNvPr id="27" name="Freeform 17">
              <a:extLst>
                <a:ext uri="{FF2B5EF4-FFF2-40B4-BE49-F238E27FC236}">
                  <a16:creationId xmlns:a16="http://schemas.microsoft.com/office/drawing/2014/main" id="{0E344941-17EB-4C3C-BA1F-9A3CD189A051}"/>
                </a:ext>
              </a:extLst>
            </p:cNvPr>
            <p:cNvSpPr>
              <a:spLocks/>
            </p:cNvSpPr>
            <p:nvPr/>
          </p:nvSpPr>
          <p:spPr bwMode="auto">
            <a:xfrm>
              <a:off x="3159" y="872"/>
              <a:ext cx="526" cy="692"/>
            </a:xfrm>
            <a:custGeom>
              <a:avLst/>
              <a:gdLst>
                <a:gd name="T0" fmla="*/ 206 w 526"/>
                <a:gd name="T1" fmla="*/ 692 h 692"/>
                <a:gd name="T2" fmla="*/ 136 w 526"/>
                <a:gd name="T3" fmla="*/ 586 h 692"/>
                <a:gd name="T4" fmla="*/ 124 w 526"/>
                <a:gd name="T5" fmla="*/ 586 h 692"/>
                <a:gd name="T6" fmla="*/ 106 w 526"/>
                <a:gd name="T7" fmla="*/ 578 h 692"/>
                <a:gd name="T8" fmla="*/ 92 w 526"/>
                <a:gd name="T9" fmla="*/ 564 h 692"/>
                <a:gd name="T10" fmla="*/ 84 w 526"/>
                <a:gd name="T11" fmla="*/ 544 h 692"/>
                <a:gd name="T12" fmla="*/ 84 w 526"/>
                <a:gd name="T13" fmla="*/ 460 h 692"/>
                <a:gd name="T14" fmla="*/ 28 w 526"/>
                <a:gd name="T15" fmla="*/ 460 h 692"/>
                <a:gd name="T16" fmla="*/ 14 w 526"/>
                <a:gd name="T17" fmla="*/ 458 h 692"/>
                <a:gd name="T18" fmla="*/ 4 w 526"/>
                <a:gd name="T19" fmla="*/ 448 h 692"/>
                <a:gd name="T20" fmla="*/ 0 w 526"/>
                <a:gd name="T21" fmla="*/ 442 h 692"/>
                <a:gd name="T22" fmla="*/ 0 w 526"/>
                <a:gd name="T23" fmla="*/ 428 h 692"/>
                <a:gd name="T24" fmla="*/ 62 w 526"/>
                <a:gd name="T25" fmla="*/ 270 h 692"/>
                <a:gd name="T26" fmla="*/ 68 w 526"/>
                <a:gd name="T27" fmla="*/ 240 h 692"/>
                <a:gd name="T28" fmla="*/ 74 w 526"/>
                <a:gd name="T29" fmla="*/ 192 h 692"/>
                <a:gd name="T30" fmla="*/ 88 w 526"/>
                <a:gd name="T31" fmla="*/ 146 h 692"/>
                <a:gd name="T32" fmla="*/ 110 w 526"/>
                <a:gd name="T33" fmla="*/ 106 h 692"/>
                <a:gd name="T34" fmla="*/ 142 w 526"/>
                <a:gd name="T35" fmla="*/ 70 h 692"/>
                <a:gd name="T36" fmla="*/ 178 w 526"/>
                <a:gd name="T37" fmla="*/ 40 h 692"/>
                <a:gd name="T38" fmla="*/ 222 w 526"/>
                <a:gd name="T39" fmla="*/ 18 h 692"/>
                <a:gd name="T40" fmla="*/ 268 w 526"/>
                <a:gd name="T41" fmla="*/ 4 h 692"/>
                <a:gd name="T42" fmla="*/ 320 w 526"/>
                <a:gd name="T43" fmla="*/ 0 h 692"/>
                <a:gd name="T44" fmla="*/ 350 w 526"/>
                <a:gd name="T45" fmla="*/ 2 h 692"/>
                <a:gd name="T46" fmla="*/ 406 w 526"/>
                <a:gd name="T47" fmla="*/ 16 h 692"/>
                <a:gd name="T48" fmla="*/ 458 w 526"/>
                <a:gd name="T49" fmla="*/ 42 h 692"/>
                <a:gd name="T50" fmla="*/ 502 w 526"/>
                <a:gd name="T51" fmla="*/ 80 h 692"/>
                <a:gd name="T52" fmla="*/ 526 w 526"/>
                <a:gd name="T53" fmla="*/ 110 h 692"/>
                <a:gd name="T54" fmla="*/ 506 w 526"/>
                <a:gd name="T55" fmla="*/ 114 h 692"/>
                <a:gd name="T56" fmla="*/ 488 w 526"/>
                <a:gd name="T57" fmla="*/ 92 h 692"/>
                <a:gd name="T58" fmla="*/ 448 w 526"/>
                <a:gd name="T59" fmla="*/ 56 h 692"/>
                <a:gd name="T60" fmla="*/ 400 w 526"/>
                <a:gd name="T61" fmla="*/ 32 h 692"/>
                <a:gd name="T62" fmla="*/ 348 w 526"/>
                <a:gd name="T63" fmla="*/ 20 h 692"/>
                <a:gd name="T64" fmla="*/ 320 w 526"/>
                <a:gd name="T65" fmla="*/ 18 h 692"/>
                <a:gd name="T66" fmla="*/ 272 w 526"/>
                <a:gd name="T67" fmla="*/ 22 h 692"/>
                <a:gd name="T68" fmla="*/ 228 w 526"/>
                <a:gd name="T69" fmla="*/ 36 h 692"/>
                <a:gd name="T70" fmla="*/ 188 w 526"/>
                <a:gd name="T71" fmla="*/ 56 h 692"/>
                <a:gd name="T72" fmla="*/ 154 w 526"/>
                <a:gd name="T73" fmla="*/ 82 h 692"/>
                <a:gd name="T74" fmla="*/ 126 w 526"/>
                <a:gd name="T75" fmla="*/ 116 h 692"/>
                <a:gd name="T76" fmla="*/ 104 w 526"/>
                <a:gd name="T77" fmla="*/ 154 h 692"/>
                <a:gd name="T78" fmla="*/ 90 w 526"/>
                <a:gd name="T79" fmla="*/ 196 h 692"/>
                <a:gd name="T80" fmla="*/ 86 w 526"/>
                <a:gd name="T81" fmla="*/ 242 h 692"/>
                <a:gd name="T82" fmla="*/ 80 w 526"/>
                <a:gd name="T83" fmla="*/ 274 h 692"/>
                <a:gd name="T84" fmla="*/ 18 w 526"/>
                <a:gd name="T85" fmla="*/ 428 h 692"/>
                <a:gd name="T86" fmla="*/ 18 w 526"/>
                <a:gd name="T87" fmla="*/ 438 h 692"/>
                <a:gd name="T88" fmla="*/ 22 w 526"/>
                <a:gd name="T89" fmla="*/ 442 h 692"/>
                <a:gd name="T90" fmla="*/ 102 w 526"/>
                <a:gd name="T91" fmla="*/ 442 h 692"/>
                <a:gd name="T92" fmla="*/ 102 w 526"/>
                <a:gd name="T93" fmla="*/ 534 h 692"/>
                <a:gd name="T94" fmla="*/ 104 w 526"/>
                <a:gd name="T95" fmla="*/ 548 h 692"/>
                <a:gd name="T96" fmla="*/ 112 w 526"/>
                <a:gd name="T97" fmla="*/ 558 h 692"/>
                <a:gd name="T98" fmla="*/ 122 w 526"/>
                <a:gd name="T99" fmla="*/ 566 h 692"/>
                <a:gd name="T100" fmla="*/ 136 w 526"/>
                <a:gd name="T101" fmla="*/ 568 h 692"/>
                <a:gd name="T102" fmla="*/ 224 w 526"/>
                <a:gd name="T103" fmla="*/ 692 h 6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26" h="692">
                  <a:moveTo>
                    <a:pt x="224" y="692"/>
                  </a:moveTo>
                  <a:lnTo>
                    <a:pt x="206" y="692"/>
                  </a:lnTo>
                  <a:lnTo>
                    <a:pt x="206" y="586"/>
                  </a:lnTo>
                  <a:lnTo>
                    <a:pt x="136" y="586"/>
                  </a:lnTo>
                  <a:lnTo>
                    <a:pt x="136" y="586"/>
                  </a:lnTo>
                  <a:lnTo>
                    <a:pt x="124" y="586"/>
                  </a:lnTo>
                  <a:lnTo>
                    <a:pt x="116" y="582"/>
                  </a:lnTo>
                  <a:lnTo>
                    <a:pt x="106" y="578"/>
                  </a:lnTo>
                  <a:lnTo>
                    <a:pt x="98" y="572"/>
                  </a:lnTo>
                  <a:lnTo>
                    <a:pt x="92" y="564"/>
                  </a:lnTo>
                  <a:lnTo>
                    <a:pt x="88" y="554"/>
                  </a:lnTo>
                  <a:lnTo>
                    <a:pt x="84" y="544"/>
                  </a:lnTo>
                  <a:lnTo>
                    <a:pt x="84" y="534"/>
                  </a:lnTo>
                  <a:lnTo>
                    <a:pt x="84" y="460"/>
                  </a:lnTo>
                  <a:lnTo>
                    <a:pt x="28" y="460"/>
                  </a:lnTo>
                  <a:lnTo>
                    <a:pt x="28" y="460"/>
                  </a:lnTo>
                  <a:lnTo>
                    <a:pt x="22" y="460"/>
                  </a:lnTo>
                  <a:lnTo>
                    <a:pt x="14" y="458"/>
                  </a:lnTo>
                  <a:lnTo>
                    <a:pt x="8" y="454"/>
                  </a:lnTo>
                  <a:lnTo>
                    <a:pt x="4" y="448"/>
                  </a:lnTo>
                  <a:lnTo>
                    <a:pt x="4" y="448"/>
                  </a:lnTo>
                  <a:lnTo>
                    <a:pt x="0" y="442"/>
                  </a:lnTo>
                  <a:lnTo>
                    <a:pt x="0" y="434"/>
                  </a:lnTo>
                  <a:lnTo>
                    <a:pt x="0" y="428"/>
                  </a:lnTo>
                  <a:lnTo>
                    <a:pt x="2" y="420"/>
                  </a:lnTo>
                  <a:lnTo>
                    <a:pt x="62" y="270"/>
                  </a:lnTo>
                  <a:lnTo>
                    <a:pt x="68" y="240"/>
                  </a:lnTo>
                  <a:lnTo>
                    <a:pt x="68" y="240"/>
                  </a:lnTo>
                  <a:lnTo>
                    <a:pt x="70" y="216"/>
                  </a:lnTo>
                  <a:lnTo>
                    <a:pt x="74" y="192"/>
                  </a:lnTo>
                  <a:lnTo>
                    <a:pt x="80" y="168"/>
                  </a:lnTo>
                  <a:lnTo>
                    <a:pt x="88" y="146"/>
                  </a:lnTo>
                  <a:lnTo>
                    <a:pt x="98" y="124"/>
                  </a:lnTo>
                  <a:lnTo>
                    <a:pt x="110" y="106"/>
                  </a:lnTo>
                  <a:lnTo>
                    <a:pt x="126" y="86"/>
                  </a:lnTo>
                  <a:lnTo>
                    <a:pt x="142" y="70"/>
                  </a:lnTo>
                  <a:lnTo>
                    <a:pt x="160" y="54"/>
                  </a:lnTo>
                  <a:lnTo>
                    <a:pt x="178" y="40"/>
                  </a:lnTo>
                  <a:lnTo>
                    <a:pt x="200" y="28"/>
                  </a:lnTo>
                  <a:lnTo>
                    <a:pt x="222" y="18"/>
                  </a:lnTo>
                  <a:lnTo>
                    <a:pt x="244" y="10"/>
                  </a:lnTo>
                  <a:lnTo>
                    <a:pt x="268" y="4"/>
                  </a:lnTo>
                  <a:lnTo>
                    <a:pt x="294" y="2"/>
                  </a:lnTo>
                  <a:lnTo>
                    <a:pt x="320" y="0"/>
                  </a:lnTo>
                  <a:lnTo>
                    <a:pt x="320" y="0"/>
                  </a:lnTo>
                  <a:lnTo>
                    <a:pt x="350" y="2"/>
                  </a:lnTo>
                  <a:lnTo>
                    <a:pt x="378" y="8"/>
                  </a:lnTo>
                  <a:lnTo>
                    <a:pt x="406" y="16"/>
                  </a:lnTo>
                  <a:lnTo>
                    <a:pt x="432" y="28"/>
                  </a:lnTo>
                  <a:lnTo>
                    <a:pt x="458" y="42"/>
                  </a:lnTo>
                  <a:lnTo>
                    <a:pt x="482" y="60"/>
                  </a:lnTo>
                  <a:lnTo>
                    <a:pt x="502" y="80"/>
                  </a:lnTo>
                  <a:lnTo>
                    <a:pt x="520" y="102"/>
                  </a:lnTo>
                  <a:lnTo>
                    <a:pt x="526" y="110"/>
                  </a:lnTo>
                  <a:lnTo>
                    <a:pt x="512" y="120"/>
                  </a:lnTo>
                  <a:lnTo>
                    <a:pt x="506" y="114"/>
                  </a:lnTo>
                  <a:lnTo>
                    <a:pt x="506" y="114"/>
                  </a:lnTo>
                  <a:lnTo>
                    <a:pt x="488" y="92"/>
                  </a:lnTo>
                  <a:lnTo>
                    <a:pt x="470" y="74"/>
                  </a:lnTo>
                  <a:lnTo>
                    <a:pt x="448" y="56"/>
                  </a:lnTo>
                  <a:lnTo>
                    <a:pt x="424" y="44"/>
                  </a:lnTo>
                  <a:lnTo>
                    <a:pt x="400" y="32"/>
                  </a:lnTo>
                  <a:lnTo>
                    <a:pt x="374" y="24"/>
                  </a:lnTo>
                  <a:lnTo>
                    <a:pt x="348" y="20"/>
                  </a:lnTo>
                  <a:lnTo>
                    <a:pt x="320" y="18"/>
                  </a:lnTo>
                  <a:lnTo>
                    <a:pt x="320" y="18"/>
                  </a:lnTo>
                  <a:lnTo>
                    <a:pt x="296" y="20"/>
                  </a:lnTo>
                  <a:lnTo>
                    <a:pt x="272" y="22"/>
                  </a:lnTo>
                  <a:lnTo>
                    <a:pt x="250" y="28"/>
                  </a:lnTo>
                  <a:lnTo>
                    <a:pt x="228" y="36"/>
                  </a:lnTo>
                  <a:lnTo>
                    <a:pt x="208" y="44"/>
                  </a:lnTo>
                  <a:lnTo>
                    <a:pt x="188" y="56"/>
                  </a:lnTo>
                  <a:lnTo>
                    <a:pt x="170" y="68"/>
                  </a:lnTo>
                  <a:lnTo>
                    <a:pt x="154" y="82"/>
                  </a:lnTo>
                  <a:lnTo>
                    <a:pt x="138" y="98"/>
                  </a:lnTo>
                  <a:lnTo>
                    <a:pt x="126" y="116"/>
                  </a:lnTo>
                  <a:lnTo>
                    <a:pt x="114" y="134"/>
                  </a:lnTo>
                  <a:lnTo>
                    <a:pt x="104" y="154"/>
                  </a:lnTo>
                  <a:lnTo>
                    <a:pt x="96" y="174"/>
                  </a:lnTo>
                  <a:lnTo>
                    <a:pt x="90" y="196"/>
                  </a:lnTo>
                  <a:lnTo>
                    <a:pt x="88" y="218"/>
                  </a:lnTo>
                  <a:lnTo>
                    <a:pt x="86" y="242"/>
                  </a:lnTo>
                  <a:lnTo>
                    <a:pt x="86" y="242"/>
                  </a:lnTo>
                  <a:lnTo>
                    <a:pt x="80" y="274"/>
                  </a:lnTo>
                  <a:lnTo>
                    <a:pt x="18" y="428"/>
                  </a:lnTo>
                  <a:lnTo>
                    <a:pt x="18" y="428"/>
                  </a:lnTo>
                  <a:lnTo>
                    <a:pt x="18" y="432"/>
                  </a:lnTo>
                  <a:lnTo>
                    <a:pt x="18" y="438"/>
                  </a:lnTo>
                  <a:lnTo>
                    <a:pt x="18" y="438"/>
                  </a:lnTo>
                  <a:lnTo>
                    <a:pt x="22" y="442"/>
                  </a:lnTo>
                  <a:lnTo>
                    <a:pt x="28" y="442"/>
                  </a:lnTo>
                  <a:lnTo>
                    <a:pt x="102" y="442"/>
                  </a:lnTo>
                  <a:lnTo>
                    <a:pt x="102" y="534"/>
                  </a:lnTo>
                  <a:lnTo>
                    <a:pt x="102" y="534"/>
                  </a:lnTo>
                  <a:lnTo>
                    <a:pt x="102" y="542"/>
                  </a:lnTo>
                  <a:lnTo>
                    <a:pt x="104" y="548"/>
                  </a:lnTo>
                  <a:lnTo>
                    <a:pt x="108" y="554"/>
                  </a:lnTo>
                  <a:lnTo>
                    <a:pt x="112" y="558"/>
                  </a:lnTo>
                  <a:lnTo>
                    <a:pt x="116" y="562"/>
                  </a:lnTo>
                  <a:lnTo>
                    <a:pt x="122" y="566"/>
                  </a:lnTo>
                  <a:lnTo>
                    <a:pt x="128" y="568"/>
                  </a:lnTo>
                  <a:lnTo>
                    <a:pt x="136" y="568"/>
                  </a:lnTo>
                  <a:lnTo>
                    <a:pt x="224" y="568"/>
                  </a:lnTo>
                  <a:lnTo>
                    <a:pt x="224" y="69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50000"/>
                </a:spcAft>
                <a:buClr>
                  <a:srgbClr val="27ACAA"/>
                </a:buClr>
                <a:buSzPct val="80000"/>
                <a:buFont typeface="Arial" charset="0"/>
                <a:buNone/>
                <a:tabLst/>
                <a:defRPr/>
              </a:pPr>
              <a:endParaRPr kumimoji="0" lang="en-US" sz="900" b="0" i="0" u="none" strike="noStrike" kern="1200" cap="none" spc="0" normalizeH="0" baseline="0" noProof="0">
                <a:ln>
                  <a:noFill/>
                </a:ln>
                <a:solidFill>
                  <a:srgbClr val="2E2E38"/>
                </a:solidFill>
                <a:effectLst/>
                <a:uLnTx/>
                <a:uFillTx/>
                <a:latin typeface="EYInterstate Light" pitchFamily="2" charset="0"/>
                <a:ea typeface="+mn-ea"/>
                <a:cs typeface="+mn-cs"/>
              </a:endParaRPr>
            </a:p>
          </p:txBody>
        </p:sp>
        <p:sp>
          <p:nvSpPr>
            <p:cNvPr id="28" name="Freeform 18">
              <a:extLst>
                <a:ext uri="{FF2B5EF4-FFF2-40B4-BE49-F238E27FC236}">
                  <a16:creationId xmlns:a16="http://schemas.microsoft.com/office/drawing/2014/main" id="{AFB56ABE-BA47-48F2-97B3-E7E4C9917883}"/>
                </a:ext>
              </a:extLst>
            </p:cNvPr>
            <p:cNvSpPr>
              <a:spLocks/>
            </p:cNvSpPr>
            <p:nvPr/>
          </p:nvSpPr>
          <p:spPr bwMode="auto">
            <a:xfrm>
              <a:off x="3451" y="872"/>
              <a:ext cx="520" cy="692"/>
            </a:xfrm>
            <a:custGeom>
              <a:avLst/>
              <a:gdLst>
                <a:gd name="T0" fmla="*/ 296 w 520"/>
                <a:gd name="T1" fmla="*/ 692 h 692"/>
                <a:gd name="T2" fmla="*/ 384 w 520"/>
                <a:gd name="T3" fmla="*/ 568 h 692"/>
                <a:gd name="T4" fmla="*/ 392 w 520"/>
                <a:gd name="T5" fmla="*/ 568 h 692"/>
                <a:gd name="T6" fmla="*/ 404 w 520"/>
                <a:gd name="T7" fmla="*/ 562 h 692"/>
                <a:gd name="T8" fmla="*/ 412 w 520"/>
                <a:gd name="T9" fmla="*/ 554 h 692"/>
                <a:gd name="T10" fmla="*/ 418 w 520"/>
                <a:gd name="T11" fmla="*/ 542 h 692"/>
                <a:gd name="T12" fmla="*/ 418 w 520"/>
                <a:gd name="T13" fmla="*/ 442 h 692"/>
                <a:gd name="T14" fmla="*/ 492 w 520"/>
                <a:gd name="T15" fmla="*/ 442 h 692"/>
                <a:gd name="T16" fmla="*/ 500 w 520"/>
                <a:gd name="T17" fmla="*/ 438 h 692"/>
                <a:gd name="T18" fmla="*/ 502 w 520"/>
                <a:gd name="T19" fmla="*/ 432 h 692"/>
                <a:gd name="T20" fmla="*/ 442 w 520"/>
                <a:gd name="T21" fmla="*/ 276 h 692"/>
                <a:gd name="T22" fmla="*/ 434 w 520"/>
                <a:gd name="T23" fmla="*/ 242 h 692"/>
                <a:gd name="T24" fmla="*/ 430 w 520"/>
                <a:gd name="T25" fmla="*/ 196 h 692"/>
                <a:gd name="T26" fmla="*/ 416 w 520"/>
                <a:gd name="T27" fmla="*/ 154 h 692"/>
                <a:gd name="T28" fmla="*/ 394 w 520"/>
                <a:gd name="T29" fmla="*/ 116 h 692"/>
                <a:gd name="T30" fmla="*/ 366 w 520"/>
                <a:gd name="T31" fmla="*/ 82 h 692"/>
                <a:gd name="T32" fmla="*/ 332 w 520"/>
                <a:gd name="T33" fmla="*/ 56 h 692"/>
                <a:gd name="T34" fmla="*/ 292 w 520"/>
                <a:gd name="T35" fmla="*/ 36 h 692"/>
                <a:gd name="T36" fmla="*/ 248 w 520"/>
                <a:gd name="T37" fmla="*/ 22 h 692"/>
                <a:gd name="T38" fmla="*/ 200 w 520"/>
                <a:gd name="T39" fmla="*/ 18 h 692"/>
                <a:gd name="T40" fmla="*/ 174 w 520"/>
                <a:gd name="T41" fmla="*/ 20 h 692"/>
                <a:gd name="T42" fmla="*/ 122 w 520"/>
                <a:gd name="T43" fmla="*/ 32 h 692"/>
                <a:gd name="T44" fmla="*/ 76 w 520"/>
                <a:gd name="T45" fmla="*/ 54 h 692"/>
                <a:gd name="T46" fmla="*/ 36 w 520"/>
                <a:gd name="T47" fmla="*/ 86 h 692"/>
                <a:gd name="T48" fmla="*/ 14 w 520"/>
                <a:gd name="T49" fmla="*/ 114 h 692"/>
                <a:gd name="T50" fmla="*/ 4 w 520"/>
                <a:gd name="T51" fmla="*/ 94 h 692"/>
                <a:gd name="T52" fmla="*/ 24 w 520"/>
                <a:gd name="T53" fmla="*/ 74 h 692"/>
                <a:gd name="T54" fmla="*/ 68 w 520"/>
                <a:gd name="T55" fmla="*/ 38 h 692"/>
                <a:gd name="T56" fmla="*/ 116 w 520"/>
                <a:gd name="T57" fmla="*/ 14 h 692"/>
                <a:gd name="T58" fmla="*/ 172 w 520"/>
                <a:gd name="T59" fmla="*/ 2 h 692"/>
                <a:gd name="T60" fmla="*/ 200 w 520"/>
                <a:gd name="T61" fmla="*/ 0 h 692"/>
                <a:gd name="T62" fmla="*/ 252 w 520"/>
                <a:gd name="T63" fmla="*/ 4 h 692"/>
                <a:gd name="T64" fmla="*/ 298 w 520"/>
                <a:gd name="T65" fmla="*/ 18 h 692"/>
                <a:gd name="T66" fmla="*/ 342 w 520"/>
                <a:gd name="T67" fmla="*/ 40 h 692"/>
                <a:gd name="T68" fmla="*/ 378 w 520"/>
                <a:gd name="T69" fmla="*/ 70 h 692"/>
                <a:gd name="T70" fmla="*/ 408 w 520"/>
                <a:gd name="T71" fmla="*/ 106 h 692"/>
                <a:gd name="T72" fmla="*/ 432 w 520"/>
                <a:gd name="T73" fmla="*/ 146 h 692"/>
                <a:gd name="T74" fmla="*/ 446 w 520"/>
                <a:gd name="T75" fmla="*/ 192 h 692"/>
                <a:gd name="T76" fmla="*/ 452 w 520"/>
                <a:gd name="T77" fmla="*/ 240 h 692"/>
                <a:gd name="T78" fmla="*/ 518 w 520"/>
                <a:gd name="T79" fmla="*/ 420 h 692"/>
                <a:gd name="T80" fmla="*/ 520 w 520"/>
                <a:gd name="T81" fmla="*/ 428 h 692"/>
                <a:gd name="T82" fmla="*/ 520 w 520"/>
                <a:gd name="T83" fmla="*/ 442 h 692"/>
                <a:gd name="T84" fmla="*/ 516 w 520"/>
                <a:gd name="T85" fmla="*/ 448 h 692"/>
                <a:gd name="T86" fmla="*/ 506 w 520"/>
                <a:gd name="T87" fmla="*/ 458 h 692"/>
                <a:gd name="T88" fmla="*/ 492 w 520"/>
                <a:gd name="T89" fmla="*/ 460 h 692"/>
                <a:gd name="T90" fmla="*/ 436 w 520"/>
                <a:gd name="T91" fmla="*/ 534 h 692"/>
                <a:gd name="T92" fmla="*/ 436 w 520"/>
                <a:gd name="T93" fmla="*/ 544 h 692"/>
                <a:gd name="T94" fmla="*/ 428 w 520"/>
                <a:gd name="T95" fmla="*/ 564 h 692"/>
                <a:gd name="T96" fmla="*/ 414 w 520"/>
                <a:gd name="T97" fmla="*/ 578 h 692"/>
                <a:gd name="T98" fmla="*/ 396 w 520"/>
                <a:gd name="T99" fmla="*/ 586 h 692"/>
                <a:gd name="T100" fmla="*/ 314 w 520"/>
                <a:gd name="T101" fmla="*/ 586 h 6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20" h="692">
                  <a:moveTo>
                    <a:pt x="314" y="692"/>
                  </a:moveTo>
                  <a:lnTo>
                    <a:pt x="296" y="692"/>
                  </a:lnTo>
                  <a:lnTo>
                    <a:pt x="296" y="568"/>
                  </a:lnTo>
                  <a:lnTo>
                    <a:pt x="384" y="568"/>
                  </a:lnTo>
                  <a:lnTo>
                    <a:pt x="384" y="568"/>
                  </a:lnTo>
                  <a:lnTo>
                    <a:pt x="392" y="568"/>
                  </a:lnTo>
                  <a:lnTo>
                    <a:pt x="398" y="566"/>
                  </a:lnTo>
                  <a:lnTo>
                    <a:pt x="404" y="562"/>
                  </a:lnTo>
                  <a:lnTo>
                    <a:pt x="408" y="558"/>
                  </a:lnTo>
                  <a:lnTo>
                    <a:pt x="412" y="554"/>
                  </a:lnTo>
                  <a:lnTo>
                    <a:pt x="416" y="548"/>
                  </a:lnTo>
                  <a:lnTo>
                    <a:pt x="418" y="542"/>
                  </a:lnTo>
                  <a:lnTo>
                    <a:pt x="418" y="534"/>
                  </a:lnTo>
                  <a:lnTo>
                    <a:pt x="418" y="442"/>
                  </a:lnTo>
                  <a:lnTo>
                    <a:pt x="492" y="442"/>
                  </a:lnTo>
                  <a:lnTo>
                    <a:pt x="492" y="442"/>
                  </a:lnTo>
                  <a:lnTo>
                    <a:pt x="496" y="442"/>
                  </a:lnTo>
                  <a:lnTo>
                    <a:pt x="500" y="438"/>
                  </a:lnTo>
                  <a:lnTo>
                    <a:pt x="500" y="438"/>
                  </a:lnTo>
                  <a:lnTo>
                    <a:pt x="502" y="432"/>
                  </a:lnTo>
                  <a:lnTo>
                    <a:pt x="502" y="428"/>
                  </a:lnTo>
                  <a:lnTo>
                    <a:pt x="442" y="276"/>
                  </a:lnTo>
                  <a:lnTo>
                    <a:pt x="434" y="242"/>
                  </a:lnTo>
                  <a:lnTo>
                    <a:pt x="434" y="242"/>
                  </a:lnTo>
                  <a:lnTo>
                    <a:pt x="432" y="218"/>
                  </a:lnTo>
                  <a:lnTo>
                    <a:pt x="430" y="196"/>
                  </a:lnTo>
                  <a:lnTo>
                    <a:pt x="424" y="174"/>
                  </a:lnTo>
                  <a:lnTo>
                    <a:pt x="416" y="154"/>
                  </a:lnTo>
                  <a:lnTo>
                    <a:pt x="406" y="134"/>
                  </a:lnTo>
                  <a:lnTo>
                    <a:pt x="394" y="116"/>
                  </a:lnTo>
                  <a:lnTo>
                    <a:pt x="380" y="98"/>
                  </a:lnTo>
                  <a:lnTo>
                    <a:pt x="366" y="82"/>
                  </a:lnTo>
                  <a:lnTo>
                    <a:pt x="350" y="68"/>
                  </a:lnTo>
                  <a:lnTo>
                    <a:pt x="332" y="56"/>
                  </a:lnTo>
                  <a:lnTo>
                    <a:pt x="312" y="44"/>
                  </a:lnTo>
                  <a:lnTo>
                    <a:pt x="292" y="36"/>
                  </a:lnTo>
                  <a:lnTo>
                    <a:pt x="270" y="28"/>
                  </a:lnTo>
                  <a:lnTo>
                    <a:pt x="248" y="22"/>
                  </a:lnTo>
                  <a:lnTo>
                    <a:pt x="224" y="20"/>
                  </a:lnTo>
                  <a:lnTo>
                    <a:pt x="200" y="18"/>
                  </a:lnTo>
                  <a:lnTo>
                    <a:pt x="200" y="18"/>
                  </a:lnTo>
                  <a:lnTo>
                    <a:pt x="174" y="20"/>
                  </a:lnTo>
                  <a:lnTo>
                    <a:pt x="148" y="24"/>
                  </a:lnTo>
                  <a:lnTo>
                    <a:pt x="122" y="32"/>
                  </a:lnTo>
                  <a:lnTo>
                    <a:pt x="100" y="42"/>
                  </a:lnTo>
                  <a:lnTo>
                    <a:pt x="76" y="54"/>
                  </a:lnTo>
                  <a:lnTo>
                    <a:pt x="56" y="68"/>
                  </a:lnTo>
                  <a:lnTo>
                    <a:pt x="36" y="86"/>
                  </a:lnTo>
                  <a:lnTo>
                    <a:pt x="18" y="106"/>
                  </a:lnTo>
                  <a:lnTo>
                    <a:pt x="14" y="114"/>
                  </a:lnTo>
                  <a:lnTo>
                    <a:pt x="0" y="102"/>
                  </a:lnTo>
                  <a:lnTo>
                    <a:pt x="4" y="94"/>
                  </a:lnTo>
                  <a:lnTo>
                    <a:pt x="4" y="94"/>
                  </a:lnTo>
                  <a:lnTo>
                    <a:pt x="24" y="74"/>
                  </a:lnTo>
                  <a:lnTo>
                    <a:pt x="44" y="54"/>
                  </a:lnTo>
                  <a:lnTo>
                    <a:pt x="68" y="38"/>
                  </a:lnTo>
                  <a:lnTo>
                    <a:pt x="92" y="24"/>
                  </a:lnTo>
                  <a:lnTo>
                    <a:pt x="116" y="14"/>
                  </a:lnTo>
                  <a:lnTo>
                    <a:pt x="144" y="6"/>
                  </a:lnTo>
                  <a:lnTo>
                    <a:pt x="172" y="2"/>
                  </a:lnTo>
                  <a:lnTo>
                    <a:pt x="200" y="0"/>
                  </a:lnTo>
                  <a:lnTo>
                    <a:pt x="200" y="0"/>
                  </a:lnTo>
                  <a:lnTo>
                    <a:pt x="226" y="2"/>
                  </a:lnTo>
                  <a:lnTo>
                    <a:pt x="252" y="4"/>
                  </a:lnTo>
                  <a:lnTo>
                    <a:pt x="276" y="10"/>
                  </a:lnTo>
                  <a:lnTo>
                    <a:pt x="298" y="18"/>
                  </a:lnTo>
                  <a:lnTo>
                    <a:pt x="320" y="28"/>
                  </a:lnTo>
                  <a:lnTo>
                    <a:pt x="342" y="40"/>
                  </a:lnTo>
                  <a:lnTo>
                    <a:pt x="360" y="54"/>
                  </a:lnTo>
                  <a:lnTo>
                    <a:pt x="378" y="70"/>
                  </a:lnTo>
                  <a:lnTo>
                    <a:pt x="394" y="86"/>
                  </a:lnTo>
                  <a:lnTo>
                    <a:pt x="408" y="106"/>
                  </a:lnTo>
                  <a:lnTo>
                    <a:pt x="422" y="124"/>
                  </a:lnTo>
                  <a:lnTo>
                    <a:pt x="432" y="146"/>
                  </a:lnTo>
                  <a:lnTo>
                    <a:pt x="440" y="168"/>
                  </a:lnTo>
                  <a:lnTo>
                    <a:pt x="446" y="192"/>
                  </a:lnTo>
                  <a:lnTo>
                    <a:pt x="450" y="216"/>
                  </a:lnTo>
                  <a:lnTo>
                    <a:pt x="452" y="240"/>
                  </a:lnTo>
                  <a:lnTo>
                    <a:pt x="458" y="270"/>
                  </a:lnTo>
                  <a:lnTo>
                    <a:pt x="518" y="420"/>
                  </a:lnTo>
                  <a:lnTo>
                    <a:pt x="518" y="420"/>
                  </a:lnTo>
                  <a:lnTo>
                    <a:pt x="520" y="428"/>
                  </a:lnTo>
                  <a:lnTo>
                    <a:pt x="520" y="434"/>
                  </a:lnTo>
                  <a:lnTo>
                    <a:pt x="520" y="442"/>
                  </a:lnTo>
                  <a:lnTo>
                    <a:pt x="516" y="448"/>
                  </a:lnTo>
                  <a:lnTo>
                    <a:pt x="516" y="448"/>
                  </a:lnTo>
                  <a:lnTo>
                    <a:pt x="512" y="454"/>
                  </a:lnTo>
                  <a:lnTo>
                    <a:pt x="506" y="458"/>
                  </a:lnTo>
                  <a:lnTo>
                    <a:pt x="498" y="460"/>
                  </a:lnTo>
                  <a:lnTo>
                    <a:pt x="492" y="460"/>
                  </a:lnTo>
                  <a:lnTo>
                    <a:pt x="436" y="460"/>
                  </a:lnTo>
                  <a:lnTo>
                    <a:pt x="436" y="534"/>
                  </a:lnTo>
                  <a:lnTo>
                    <a:pt x="436" y="534"/>
                  </a:lnTo>
                  <a:lnTo>
                    <a:pt x="436" y="544"/>
                  </a:lnTo>
                  <a:lnTo>
                    <a:pt x="432" y="554"/>
                  </a:lnTo>
                  <a:lnTo>
                    <a:pt x="428" y="564"/>
                  </a:lnTo>
                  <a:lnTo>
                    <a:pt x="422" y="572"/>
                  </a:lnTo>
                  <a:lnTo>
                    <a:pt x="414" y="578"/>
                  </a:lnTo>
                  <a:lnTo>
                    <a:pt x="404" y="582"/>
                  </a:lnTo>
                  <a:lnTo>
                    <a:pt x="396" y="586"/>
                  </a:lnTo>
                  <a:lnTo>
                    <a:pt x="384" y="586"/>
                  </a:lnTo>
                  <a:lnTo>
                    <a:pt x="314" y="586"/>
                  </a:lnTo>
                  <a:lnTo>
                    <a:pt x="314" y="69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50000"/>
                </a:spcAft>
                <a:buClr>
                  <a:srgbClr val="27ACAA"/>
                </a:buClr>
                <a:buSzPct val="80000"/>
                <a:buFont typeface="Arial" charset="0"/>
                <a:buNone/>
                <a:tabLst/>
                <a:defRPr/>
              </a:pPr>
              <a:endParaRPr kumimoji="0" lang="en-US" sz="900" b="0" i="0" u="none" strike="noStrike" kern="1200" cap="none" spc="0" normalizeH="0" baseline="0" noProof="0">
                <a:ln>
                  <a:noFill/>
                </a:ln>
                <a:solidFill>
                  <a:srgbClr val="2E2E38"/>
                </a:solidFill>
                <a:effectLst/>
                <a:uLnTx/>
                <a:uFillTx/>
                <a:latin typeface="EYInterstate Light" pitchFamily="2" charset="0"/>
                <a:ea typeface="+mn-ea"/>
                <a:cs typeface="+mn-cs"/>
              </a:endParaRPr>
            </a:p>
          </p:txBody>
        </p:sp>
        <p:sp>
          <p:nvSpPr>
            <p:cNvPr id="29" name="Freeform 19">
              <a:extLst>
                <a:ext uri="{FF2B5EF4-FFF2-40B4-BE49-F238E27FC236}">
                  <a16:creationId xmlns:a16="http://schemas.microsoft.com/office/drawing/2014/main" id="{2B441DBF-32C7-4FC2-8E13-BE9615B8448B}"/>
                </a:ext>
              </a:extLst>
            </p:cNvPr>
            <p:cNvSpPr>
              <a:spLocks noEditPoints="1"/>
            </p:cNvSpPr>
            <p:nvPr/>
          </p:nvSpPr>
          <p:spPr bwMode="auto">
            <a:xfrm>
              <a:off x="3361" y="1050"/>
              <a:ext cx="408" cy="370"/>
            </a:xfrm>
            <a:custGeom>
              <a:avLst/>
              <a:gdLst>
                <a:gd name="T0" fmla="*/ 68 w 408"/>
                <a:gd name="T1" fmla="*/ 370 h 370"/>
                <a:gd name="T2" fmla="*/ 64 w 408"/>
                <a:gd name="T3" fmla="*/ 362 h 370"/>
                <a:gd name="T4" fmla="*/ 52 w 408"/>
                <a:gd name="T5" fmla="*/ 268 h 370"/>
                <a:gd name="T6" fmla="*/ 18 w 408"/>
                <a:gd name="T7" fmla="*/ 226 h 370"/>
                <a:gd name="T8" fmla="*/ 2 w 408"/>
                <a:gd name="T9" fmla="*/ 178 h 370"/>
                <a:gd name="T10" fmla="*/ 2 w 408"/>
                <a:gd name="T11" fmla="*/ 146 h 370"/>
                <a:gd name="T12" fmla="*/ 16 w 408"/>
                <a:gd name="T13" fmla="*/ 98 h 370"/>
                <a:gd name="T14" fmla="*/ 46 w 408"/>
                <a:gd name="T15" fmla="*/ 58 h 370"/>
                <a:gd name="T16" fmla="*/ 90 w 408"/>
                <a:gd name="T17" fmla="*/ 28 h 370"/>
                <a:gd name="T18" fmla="*/ 144 w 408"/>
                <a:gd name="T19" fmla="*/ 8 h 370"/>
                <a:gd name="T20" fmla="*/ 204 w 408"/>
                <a:gd name="T21" fmla="*/ 0 h 370"/>
                <a:gd name="T22" fmla="*/ 244 w 408"/>
                <a:gd name="T23" fmla="*/ 4 h 370"/>
                <a:gd name="T24" fmla="*/ 300 w 408"/>
                <a:gd name="T25" fmla="*/ 20 h 370"/>
                <a:gd name="T26" fmla="*/ 348 w 408"/>
                <a:gd name="T27" fmla="*/ 48 h 370"/>
                <a:gd name="T28" fmla="*/ 382 w 408"/>
                <a:gd name="T29" fmla="*/ 84 h 370"/>
                <a:gd name="T30" fmla="*/ 404 w 408"/>
                <a:gd name="T31" fmla="*/ 130 h 370"/>
                <a:gd name="T32" fmla="*/ 408 w 408"/>
                <a:gd name="T33" fmla="*/ 162 h 370"/>
                <a:gd name="T34" fmla="*/ 398 w 408"/>
                <a:gd name="T35" fmla="*/ 210 h 370"/>
                <a:gd name="T36" fmla="*/ 372 w 408"/>
                <a:gd name="T37" fmla="*/ 252 h 370"/>
                <a:gd name="T38" fmla="*/ 334 w 408"/>
                <a:gd name="T39" fmla="*/ 286 h 370"/>
                <a:gd name="T40" fmla="*/ 284 w 408"/>
                <a:gd name="T41" fmla="*/ 310 h 370"/>
                <a:gd name="T42" fmla="*/ 224 w 408"/>
                <a:gd name="T43" fmla="*/ 322 h 370"/>
                <a:gd name="T44" fmla="*/ 186 w 408"/>
                <a:gd name="T45" fmla="*/ 322 h 370"/>
                <a:gd name="T46" fmla="*/ 132 w 408"/>
                <a:gd name="T47" fmla="*/ 312 h 370"/>
                <a:gd name="T48" fmla="*/ 76 w 408"/>
                <a:gd name="T49" fmla="*/ 370 h 370"/>
                <a:gd name="T50" fmla="*/ 204 w 408"/>
                <a:gd name="T51" fmla="*/ 18 h 370"/>
                <a:gd name="T52" fmla="*/ 166 w 408"/>
                <a:gd name="T53" fmla="*/ 22 h 370"/>
                <a:gd name="T54" fmla="*/ 116 w 408"/>
                <a:gd name="T55" fmla="*/ 36 h 370"/>
                <a:gd name="T56" fmla="*/ 72 w 408"/>
                <a:gd name="T57" fmla="*/ 60 h 370"/>
                <a:gd name="T58" fmla="*/ 40 w 408"/>
                <a:gd name="T59" fmla="*/ 94 h 370"/>
                <a:gd name="T60" fmla="*/ 22 w 408"/>
                <a:gd name="T61" fmla="*/ 132 h 370"/>
                <a:gd name="T62" fmla="*/ 18 w 408"/>
                <a:gd name="T63" fmla="*/ 162 h 370"/>
                <a:gd name="T64" fmla="*/ 28 w 408"/>
                <a:gd name="T65" fmla="*/ 206 h 370"/>
                <a:gd name="T66" fmla="*/ 54 w 408"/>
                <a:gd name="T67" fmla="*/ 246 h 370"/>
                <a:gd name="T68" fmla="*/ 80 w 408"/>
                <a:gd name="T69" fmla="*/ 268 h 370"/>
                <a:gd name="T70" fmla="*/ 82 w 408"/>
                <a:gd name="T71" fmla="*/ 338 h 370"/>
                <a:gd name="T72" fmla="*/ 128 w 408"/>
                <a:gd name="T73" fmla="*/ 294 h 370"/>
                <a:gd name="T74" fmla="*/ 150 w 408"/>
                <a:gd name="T75" fmla="*/ 300 h 370"/>
                <a:gd name="T76" fmla="*/ 204 w 408"/>
                <a:gd name="T77" fmla="*/ 306 h 370"/>
                <a:gd name="T78" fmla="*/ 242 w 408"/>
                <a:gd name="T79" fmla="*/ 302 h 370"/>
                <a:gd name="T80" fmla="*/ 292 w 408"/>
                <a:gd name="T81" fmla="*/ 288 h 370"/>
                <a:gd name="T82" fmla="*/ 336 w 408"/>
                <a:gd name="T83" fmla="*/ 264 h 370"/>
                <a:gd name="T84" fmla="*/ 366 w 408"/>
                <a:gd name="T85" fmla="*/ 230 h 370"/>
                <a:gd name="T86" fmla="*/ 386 w 408"/>
                <a:gd name="T87" fmla="*/ 190 h 370"/>
                <a:gd name="T88" fmla="*/ 390 w 408"/>
                <a:gd name="T89" fmla="*/ 162 h 370"/>
                <a:gd name="T90" fmla="*/ 382 w 408"/>
                <a:gd name="T91" fmla="*/ 120 h 370"/>
                <a:gd name="T92" fmla="*/ 358 w 408"/>
                <a:gd name="T93" fmla="*/ 82 h 370"/>
                <a:gd name="T94" fmla="*/ 322 w 408"/>
                <a:gd name="T95" fmla="*/ 50 h 370"/>
                <a:gd name="T96" fmla="*/ 276 w 408"/>
                <a:gd name="T97" fmla="*/ 30 h 370"/>
                <a:gd name="T98" fmla="*/ 222 w 408"/>
                <a:gd name="T99" fmla="*/ 18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08" h="370">
                  <a:moveTo>
                    <a:pt x="72" y="370"/>
                  </a:moveTo>
                  <a:lnTo>
                    <a:pt x="72" y="370"/>
                  </a:lnTo>
                  <a:lnTo>
                    <a:pt x="68" y="370"/>
                  </a:lnTo>
                  <a:lnTo>
                    <a:pt x="68" y="370"/>
                  </a:lnTo>
                  <a:lnTo>
                    <a:pt x="64" y="366"/>
                  </a:lnTo>
                  <a:lnTo>
                    <a:pt x="64" y="362"/>
                  </a:lnTo>
                  <a:lnTo>
                    <a:pt x="66" y="280"/>
                  </a:lnTo>
                  <a:lnTo>
                    <a:pt x="66" y="280"/>
                  </a:lnTo>
                  <a:lnTo>
                    <a:pt x="52" y="268"/>
                  </a:lnTo>
                  <a:lnTo>
                    <a:pt x="38" y="256"/>
                  </a:lnTo>
                  <a:lnTo>
                    <a:pt x="28" y="242"/>
                  </a:lnTo>
                  <a:lnTo>
                    <a:pt x="18" y="226"/>
                  </a:lnTo>
                  <a:lnTo>
                    <a:pt x="10" y="212"/>
                  </a:lnTo>
                  <a:lnTo>
                    <a:pt x="4" y="196"/>
                  </a:lnTo>
                  <a:lnTo>
                    <a:pt x="2" y="178"/>
                  </a:lnTo>
                  <a:lnTo>
                    <a:pt x="0" y="162"/>
                  </a:lnTo>
                  <a:lnTo>
                    <a:pt x="0" y="162"/>
                  </a:lnTo>
                  <a:lnTo>
                    <a:pt x="2" y="146"/>
                  </a:lnTo>
                  <a:lnTo>
                    <a:pt x="4" y="130"/>
                  </a:lnTo>
                  <a:lnTo>
                    <a:pt x="10" y="114"/>
                  </a:lnTo>
                  <a:lnTo>
                    <a:pt x="16" y="98"/>
                  </a:lnTo>
                  <a:lnTo>
                    <a:pt x="26" y="84"/>
                  </a:lnTo>
                  <a:lnTo>
                    <a:pt x="36" y="72"/>
                  </a:lnTo>
                  <a:lnTo>
                    <a:pt x="46" y="58"/>
                  </a:lnTo>
                  <a:lnTo>
                    <a:pt x="60" y="48"/>
                  </a:lnTo>
                  <a:lnTo>
                    <a:pt x="74" y="38"/>
                  </a:lnTo>
                  <a:lnTo>
                    <a:pt x="90" y="28"/>
                  </a:lnTo>
                  <a:lnTo>
                    <a:pt x="108" y="20"/>
                  </a:lnTo>
                  <a:lnTo>
                    <a:pt x="124" y="12"/>
                  </a:lnTo>
                  <a:lnTo>
                    <a:pt x="144" y="8"/>
                  </a:lnTo>
                  <a:lnTo>
                    <a:pt x="162" y="4"/>
                  </a:lnTo>
                  <a:lnTo>
                    <a:pt x="184" y="0"/>
                  </a:lnTo>
                  <a:lnTo>
                    <a:pt x="204" y="0"/>
                  </a:lnTo>
                  <a:lnTo>
                    <a:pt x="204" y="0"/>
                  </a:lnTo>
                  <a:lnTo>
                    <a:pt x="224" y="0"/>
                  </a:lnTo>
                  <a:lnTo>
                    <a:pt x="244" y="4"/>
                  </a:lnTo>
                  <a:lnTo>
                    <a:pt x="264" y="8"/>
                  </a:lnTo>
                  <a:lnTo>
                    <a:pt x="284" y="12"/>
                  </a:lnTo>
                  <a:lnTo>
                    <a:pt x="300" y="20"/>
                  </a:lnTo>
                  <a:lnTo>
                    <a:pt x="318" y="28"/>
                  </a:lnTo>
                  <a:lnTo>
                    <a:pt x="334" y="38"/>
                  </a:lnTo>
                  <a:lnTo>
                    <a:pt x="348" y="48"/>
                  </a:lnTo>
                  <a:lnTo>
                    <a:pt x="360" y="58"/>
                  </a:lnTo>
                  <a:lnTo>
                    <a:pt x="372" y="72"/>
                  </a:lnTo>
                  <a:lnTo>
                    <a:pt x="382" y="84"/>
                  </a:lnTo>
                  <a:lnTo>
                    <a:pt x="392" y="98"/>
                  </a:lnTo>
                  <a:lnTo>
                    <a:pt x="398" y="114"/>
                  </a:lnTo>
                  <a:lnTo>
                    <a:pt x="404" y="130"/>
                  </a:lnTo>
                  <a:lnTo>
                    <a:pt x="406" y="146"/>
                  </a:lnTo>
                  <a:lnTo>
                    <a:pt x="408" y="162"/>
                  </a:lnTo>
                  <a:lnTo>
                    <a:pt x="408" y="162"/>
                  </a:lnTo>
                  <a:lnTo>
                    <a:pt x="406" y="178"/>
                  </a:lnTo>
                  <a:lnTo>
                    <a:pt x="404" y="194"/>
                  </a:lnTo>
                  <a:lnTo>
                    <a:pt x="398" y="210"/>
                  </a:lnTo>
                  <a:lnTo>
                    <a:pt x="392" y="224"/>
                  </a:lnTo>
                  <a:lnTo>
                    <a:pt x="382" y="238"/>
                  </a:lnTo>
                  <a:lnTo>
                    <a:pt x="372" y="252"/>
                  </a:lnTo>
                  <a:lnTo>
                    <a:pt x="360" y="264"/>
                  </a:lnTo>
                  <a:lnTo>
                    <a:pt x="348" y="276"/>
                  </a:lnTo>
                  <a:lnTo>
                    <a:pt x="334" y="286"/>
                  </a:lnTo>
                  <a:lnTo>
                    <a:pt x="318" y="296"/>
                  </a:lnTo>
                  <a:lnTo>
                    <a:pt x="300" y="304"/>
                  </a:lnTo>
                  <a:lnTo>
                    <a:pt x="284" y="310"/>
                  </a:lnTo>
                  <a:lnTo>
                    <a:pt x="264" y="316"/>
                  </a:lnTo>
                  <a:lnTo>
                    <a:pt x="244" y="320"/>
                  </a:lnTo>
                  <a:lnTo>
                    <a:pt x="224" y="322"/>
                  </a:lnTo>
                  <a:lnTo>
                    <a:pt x="204" y="324"/>
                  </a:lnTo>
                  <a:lnTo>
                    <a:pt x="204" y="324"/>
                  </a:lnTo>
                  <a:lnTo>
                    <a:pt x="186" y="322"/>
                  </a:lnTo>
                  <a:lnTo>
                    <a:pt x="168" y="320"/>
                  </a:lnTo>
                  <a:lnTo>
                    <a:pt x="150" y="318"/>
                  </a:lnTo>
                  <a:lnTo>
                    <a:pt x="132" y="312"/>
                  </a:lnTo>
                  <a:lnTo>
                    <a:pt x="78" y="368"/>
                  </a:lnTo>
                  <a:lnTo>
                    <a:pt x="78" y="368"/>
                  </a:lnTo>
                  <a:lnTo>
                    <a:pt x="76" y="370"/>
                  </a:lnTo>
                  <a:lnTo>
                    <a:pt x="72" y="370"/>
                  </a:lnTo>
                  <a:lnTo>
                    <a:pt x="72" y="370"/>
                  </a:lnTo>
                  <a:close/>
                  <a:moveTo>
                    <a:pt x="204" y="18"/>
                  </a:moveTo>
                  <a:lnTo>
                    <a:pt x="204" y="18"/>
                  </a:lnTo>
                  <a:lnTo>
                    <a:pt x="186" y="18"/>
                  </a:lnTo>
                  <a:lnTo>
                    <a:pt x="166" y="22"/>
                  </a:lnTo>
                  <a:lnTo>
                    <a:pt x="148" y="24"/>
                  </a:lnTo>
                  <a:lnTo>
                    <a:pt x="132" y="30"/>
                  </a:lnTo>
                  <a:lnTo>
                    <a:pt x="116" y="36"/>
                  </a:lnTo>
                  <a:lnTo>
                    <a:pt x="100" y="42"/>
                  </a:lnTo>
                  <a:lnTo>
                    <a:pt x="86" y="50"/>
                  </a:lnTo>
                  <a:lnTo>
                    <a:pt x="72" y="60"/>
                  </a:lnTo>
                  <a:lnTo>
                    <a:pt x="60" y="70"/>
                  </a:lnTo>
                  <a:lnTo>
                    <a:pt x="50" y="82"/>
                  </a:lnTo>
                  <a:lnTo>
                    <a:pt x="40" y="94"/>
                  </a:lnTo>
                  <a:lnTo>
                    <a:pt x="34" y="106"/>
                  </a:lnTo>
                  <a:lnTo>
                    <a:pt x="26" y="120"/>
                  </a:lnTo>
                  <a:lnTo>
                    <a:pt x="22" y="132"/>
                  </a:lnTo>
                  <a:lnTo>
                    <a:pt x="20" y="148"/>
                  </a:lnTo>
                  <a:lnTo>
                    <a:pt x="18" y="162"/>
                  </a:lnTo>
                  <a:lnTo>
                    <a:pt x="18" y="162"/>
                  </a:lnTo>
                  <a:lnTo>
                    <a:pt x="20" y="176"/>
                  </a:lnTo>
                  <a:lnTo>
                    <a:pt x="22" y="192"/>
                  </a:lnTo>
                  <a:lnTo>
                    <a:pt x="28" y="206"/>
                  </a:lnTo>
                  <a:lnTo>
                    <a:pt x="34" y="220"/>
                  </a:lnTo>
                  <a:lnTo>
                    <a:pt x="44" y="234"/>
                  </a:lnTo>
                  <a:lnTo>
                    <a:pt x="54" y="246"/>
                  </a:lnTo>
                  <a:lnTo>
                    <a:pt x="66" y="258"/>
                  </a:lnTo>
                  <a:lnTo>
                    <a:pt x="80" y="268"/>
                  </a:lnTo>
                  <a:lnTo>
                    <a:pt x="80" y="268"/>
                  </a:lnTo>
                  <a:lnTo>
                    <a:pt x="84" y="272"/>
                  </a:lnTo>
                  <a:lnTo>
                    <a:pt x="84" y="276"/>
                  </a:lnTo>
                  <a:lnTo>
                    <a:pt x="82" y="338"/>
                  </a:lnTo>
                  <a:lnTo>
                    <a:pt x="124" y="296"/>
                  </a:lnTo>
                  <a:lnTo>
                    <a:pt x="124" y="296"/>
                  </a:lnTo>
                  <a:lnTo>
                    <a:pt x="128" y="294"/>
                  </a:lnTo>
                  <a:lnTo>
                    <a:pt x="132" y="294"/>
                  </a:lnTo>
                  <a:lnTo>
                    <a:pt x="132" y="294"/>
                  </a:lnTo>
                  <a:lnTo>
                    <a:pt x="150" y="300"/>
                  </a:lnTo>
                  <a:lnTo>
                    <a:pt x="168" y="302"/>
                  </a:lnTo>
                  <a:lnTo>
                    <a:pt x="186" y="304"/>
                  </a:lnTo>
                  <a:lnTo>
                    <a:pt x="204" y="306"/>
                  </a:lnTo>
                  <a:lnTo>
                    <a:pt x="204" y="306"/>
                  </a:lnTo>
                  <a:lnTo>
                    <a:pt x="222" y="304"/>
                  </a:lnTo>
                  <a:lnTo>
                    <a:pt x="242" y="302"/>
                  </a:lnTo>
                  <a:lnTo>
                    <a:pt x="260" y="298"/>
                  </a:lnTo>
                  <a:lnTo>
                    <a:pt x="276" y="294"/>
                  </a:lnTo>
                  <a:lnTo>
                    <a:pt x="292" y="288"/>
                  </a:lnTo>
                  <a:lnTo>
                    <a:pt x="308" y="280"/>
                  </a:lnTo>
                  <a:lnTo>
                    <a:pt x="322" y="272"/>
                  </a:lnTo>
                  <a:lnTo>
                    <a:pt x="336" y="264"/>
                  </a:lnTo>
                  <a:lnTo>
                    <a:pt x="348" y="254"/>
                  </a:lnTo>
                  <a:lnTo>
                    <a:pt x="358" y="242"/>
                  </a:lnTo>
                  <a:lnTo>
                    <a:pt x="366" y="230"/>
                  </a:lnTo>
                  <a:lnTo>
                    <a:pt x="374" y="218"/>
                  </a:lnTo>
                  <a:lnTo>
                    <a:pt x="382" y="204"/>
                  </a:lnTo>
                  <a:lnTo>
                    <a:pt x="386" y="190"/>
                  </a:lnTo>
                  <a:lnTo>
                    <a:pt x="388" y="176"/>
                  </a:lnTo>
                  <a:lnTo>
                    <a:pt x="390" y="162"/>
                  </a:lnTo>
                  <a:lnTo>
                    <a:pt x="390" y="162"/>
                  </a:lnTo>
                  <a:lnTo>
                    <a:pt x="388" y="148"/>
                  </a:lnTo>
                  <a:lnTo>
                    <a:pt x="386" y="132"/>
                  </a:lnTo>
                  <a:lnTo>
                    <a:pt x="382" y="120"/>
                  </a:lnTo>
                  <a:lnTo>
                    <a:pt x="374" y="106"/>
                  </a:lnTo>
                  <a:lnTo>
                    <a:pt x="366" y="94"/>
                  </a:lnTo>
                  <a:lnTo>
                    <a:pt x="358" y="82"/>
                  </a:lnTo>
                  <a:lnTo>
                    <a:pt x="348" y="70"/>
                  </a:lnTo>
                  <a:lnTo>
                    <a:pt x="336" y="60"/>
                  </a:lnTo>
                  <a:lnTo>
                    <a:pt x="322" y="50"/>
                  </a:lnTo>
                  <a:lnTo>
                    <a:pt x="308" y="42"/>
                  </a:lnTo>
                  <a:lnTo>
                    <a:pt x="292" y="36"/>
                  </a:lnTo>
                  <a:lnTo>
                    <a:pt x="276" y="30"/>
                  </a:lnTo>
                  <a:lnTo>
                    <a:pt x="260" y="24"/>
                  </a:lnTo>
                  <a:lnTo>
                    <a:pt x="242" y="22"/>
                  </a:lnTo>
                  <a:lnTo>
                    <a:pt x="222" y="18"/>
                  </a:lnTo>
                  <a:lnTo>
                    <a:pt x="204" y="18"/>
                  </a:lnTo>
                  <a:lnTo>
                    <a:pt x="204" y="1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50000"/>
                </a:spcAft>
                <a:buClr>
                  <a:srgbClr val="27ACAA"/>
                </a:buClr>
                <a:buSzPct val="80000"/>
                <a:buFont typeface="Arial" charset="0"/>
                <a:buNone/>
                <a:tabLst/>
                <a:defRPr/>
              </a:pPr>
              <a:endParaRPr kumimoji="0" lang="en-US" sz="900" b="0" i="0" u="none" strike="noStrike" kern="1200" cap="none" spc="0" normalizeH="0" baseline="0" noProof="0">
                <a:ln>
                  <a:noFill/>
                </a:ln>
                <a:solidFill>
                  <a:srgbClr val="2E2E38"/>
                </a:solidFill>
                <a:effectLst/>
                <a:uLnTx/>
                <a:uFillTx/>
                <a:latin typeface="EYInterstate Light" pitchFamily="2" charset="0"/>
                <a:ea typeface="+mn-ea"/>
                <a:cs typeface="+mn-cs"/>
              </a:endParaRPr>
            </a:p>
          </p:txBody>
        </p:sp>
        <p:sp>
          <p:nvSpPr>
            <p:cNvPr id="30" name="Rectangle 29">
              <a:extLst>
                <a:ext uri="{FF2B5EF4-FFF2-40B4-BE49-F238E27FC236}">
                  <a16:creationId xmlns:a16="http://schemas.microsoft.com/office/drawing/2014/main" id="{28DF58B0-B8BA-434A-8479-CA2ED2763207}"/>
                </a:ext>
              </a:extLst>
            </p:cNvPr>
            <p:cNvSpPr>
              <a:spLocks noChangeArrowheads="1"/>
            </p:cNvSpPr>
            <p:nvPr/>
          </p:nvSpPr>
          <p:spPr bwMode="auto">
            <a:xfrm>
              <a:off x="3501" y="1192"/>
              <a:ext cx="26" cy="18"/>
            </a:xfrm>
            <a:prstGeom prst="rect">
              <a:avLst/>
            </a:prstGeom>
            <a:grpFill/>
            <a:ln w="9525">
              <a:solidFill>
                <a:schemeClr val="bg1"/>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50000"/>
                </a:spcAft>
                <a:buClr>
                  <a:srgbClr val="27ACAA"/>
                </a:buClr>
                <a:buSzPct val="80000"/>
                <a:buFont typeface="Arial" charset="0"/>
                <a:buNone/>
                <a:tabLst/>
                <a:defRPr/>
              </a:pPr>
              <a:endParaRPr kumimoji="0" lang="en-US" sz="900" b="0" i="0" u="none" strike="noStrike" kern="1200" cap="none" spc="0" normalizeH="0" baseline="0" noProof="0">
                <a:ln>
                  <a:noFill/>
                </a:ln>
                <a:solidFill>
                  <a:srgbClr val="2E2E38"/>
                </a:solidFill>
                <a:effectLst/>
                <a:uLnTx/>
                <a:uFillTx/>
                <a:latin typeface="EYInterstate Light" pitchFamily="2" charset="0"/>
                <a:ea typeface="+mn-ea"/>
                <a:cs typeface="+mn-cs"/>
              </a:endParaRPr>
            </a:p>
          </p:txBody>
        </p:sp>
        <p:sp>
          <p:nvSpPr>
            <p:cNvPr id="31" name="Rectangle 30">
              <a:extLst>
                <a:ext uri="{FF2B5EF4-FFF2-40B4-BE49-F238E27FC236}">
                  <a16:creationId xmlns:a16="http://schemas.microsoft.com/office/drawing/2014/main" id="{1A185AA3-A0AF-46FB-A69A-46BBAC5E4FD0}"/>
                </a:ext>
              </a:extLst>
            </p:cNvPr>
            <p:cNvSpPr>
              <a:spLocks noChangeArrowheads="1"/>
            </p:cNvSpPr>
            <p:nvPr/>
          </p:nvSpPr>
          <p:spPr bwMode="auto">
            <a:xfrm>
              <a:off x="3553" y="1192"/>
              <a:ext cx="24" cy="18"/>
            </a:xfrm>
            <a:prstGeom prst="rect">
              <a:avLst/>
            </a:prstGeom>
            <a:grpFill/>
            <a:ln w="9525">
              <a:solidFill>
                <a:schemeClr val="bg1"/>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50000"/>
                </a:spcAft>
                <a:buClr>
                  <a:srgbClr val="27ACAA"/>
                </a:buClr>
                <a:buSzPct val="80000"/>
                <a:buFont typeface="Arial" charset="0"/>
                <a:buNone/>
                <a:tabLst/>
                <a:defRPr/>
              </a:pPr>
              <a:endParaRPr kumimoji="0" lang="en-US" sz="900" b="0" i="0" u="none" strike="noStrike" kern="1200" cap="none" spc="0" normalizeH="0" baseline="0" noProof="0">
                <a:ln>
                  <a:noFill/>
                </a:ln>
                <a:solidFill>
                  <a:srgbClr val="2E2E38"/>
                </a:solidFill>
                <a:effectLst/>
                <a:uLnTx/>
                <a:uFillTx/>
                <a:latin typeface="EYInterstate Light" pitchFamily="2" charset="0"/>
                <a:ea typeface="+mn-ea"/>
                <a:cs typeface="+mn-cs"/>
              </a:endParaRPr>
            </a:p>
          </p:txBody>
        </p:sp>
        <p:sp>
          <p:nvSpPr>
            <p:cNvPr id="32" name="Rectangle 31">
              <a:extLst>
                <a:ext uri="{FF2B5EF4-FFF2-40B4-BE49-F238E27FC236}">
                  <a16:creationId xmlns:a16="http://schemas.microsoft.com/office/drawing/2014/main" id="{3D92FB72-9144-4A9F-BB2B-3D53ACDD063D}"/>
                </a:ext>
              </a:extLst>
            </p:cNvPr>
            <p:cNvSpPr>
              <a:spLocks noChangeArrowheads="1"/>
            </p:cNvSpPr>
            <p:nvPr/>
          </p:nvSpPr>
          <p:spPr bwMode="auto">
            <a:xfrm>
              <a:off x="3603" y="1192"/>
              <a:ext cx="26" cy="18"/>
            </a:xfrm>
            <a:prstGeom prst="rect">
              <a:avLst/>
            </a:prstGeom>
            <a:grpFill/>
            <a:ln w="9525">
              <a:solidFill>
                <a:schemeClr val="bg1"/>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50000"/>
                </a:spcAft>
                <a:buClr>
                  <a:srgbClr val="27ACAA"/>
                </a:buClr>
                <a:buSzPct val="80000"/>
                <a:buFont typeface="Arial" charset="0"/>
                <a:buNone/>
                <a:tabLst/>
                <a:defRPr/>
              </a:pPr>
              <a:endParaRPr kumimoji="0" lang="en-US" sz="900" b="0" i="0" u="none" strike="noStrike" kern="1200" cap="none" spc="0" normalizeH="0" baseline="0" noProof="0">
                <a:ln>
                  <a:noFill/>
                </a:ln>
                <a:solidFill>
                  <a:srgbClr val="2E2E38"/>
                </a:solidFill>
                <a:effectLst/>
                <a:uLnTx/>
                <a:uFillTx/>
                <a:latin typeface="EYInterstate Light" pitchFamily="2" charset="0"/>
                <a:ea typeface="+mn-ea"/>
                <a:cs typeface="+mn-cs"/>
              </a:endParaRPr>
            </a:p>
          </p:txBody>
        </p:sp>
      </p:grpSp>
      <p:pic>
        <p:nvPicPr>
          <p:cNvPr id="33" name="Picture 32" descr="A picture containing drawing&#10;&#10;Description automatically generated">
            <a:extLst>
              <a:ext uri="{FF2B5EF4-FFF2-40B4-BE49-F238E27FC236}">
                <a16:creationId xmlns:a16="http://schemas.microsoft.com/office/drawing/2014/main" id="{16BA989A-B14D-4A77-9DBE-D43A63D21BA1}"/>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7205014" y="3890667"/>
            <a:ext cx="380856" cy="361897"/>
          </a:xfrm>
          <a:prstGeom prst="rect">
            <a:avLst/>
          </a:prstGeom>
        </p:spPr>
      </p:pic>
      <p:pic>
        <p:nvPicPr>
          <p:cNvPr id="35" name="Picture 34" descr="A picture containing drawing&#10;&#10;Description automatically generated">
            <a:extLst>
              <a:ext uri="{FF2B5EF4-FFF2-40B4-BE49-F238E27FC236}">
                <a16:creationId xmlns:a16="http://schemas.microsoft.com/office/drawing/2014/main" id="{B1698498-7A46-4927-B37C-9409D76A3FC4}"/>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205014" y="5432018"/>
            <a:ext cx="371194" cy="459989"/>
          </a:xfrm>
          <a:prstGeom prst="rect">
            <a:avLst/>
          </a:prstGeom>
        </p:spPr>
      </p:pic>
    </p:spTree>
    <p:extLst>
      <p:ext uri="{BB962C8B-B14F-4D97-AF65-F5344CB8AC3E}">
        <p14:creationId xmlns:p14="http://schemas.microsoft.com/office/powerpoint/2010/main" val="73536241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able 6">
            <a:extLst>
              <a:ext uri="{FF2B5EF4-FFF2-40B4-BE49-F238E27FC236}">
                <a16:creationId xmlns:a16="http://schemas.microsoft.com/office/drawing/2014/main" id="{8A7C528A-F302-4B67-9D1B-5D6950BA8154}"/>
              </a:ext>
            </a:extLst>
          </p:cNvPr>
          <p:cNvGraphicFramePr>
            <a:graphicFrameLocks noGrp="1"/>
          </p:cNvGraphicFramePr>
          <p:nvPr>
            <p:extLst>
              <p:ext uri="{D42A27DB-BD31-4B8C-83A1-F6EECF244321}">
                <p14:modId xmlns:p14="http://schemas.microsoft.com/office/powerpoint/2010/main" val="1330406890"/>
              </p:ext>
            </p:extLst>
          </p:nvPr>
        </p:nvGraphicFramePr>
        <p:xfrm>
          <a:off x="707086" y="939117"/>
          <a:ext cx="6316284" cy="6630214"/>
        </p:xfrm>
        <a:graphic>
          <a:graphicData uri="http://schemas.openxmlformats.org/drawingml/2006/table">
            <a:tbl>
              <a:tblPr firstRow="1" bandRow="1">
                <a:tableStyleId>{073A0DAA-6AF3-43AB-8588-CEC1D06C72B9}</a:tableStyleId>
              </a:tblPr>
              <a:tblGrid>
                <a:gridCol w="1565251">
                  <a:extLst>
                    <a:ext uri="{9D8B030D-6E8A-4147-A177-3AD203B41FA5}">
                      <a16:colId xmlns:a16="http://schemas.microsoft.com/office/drawing/2014/main" val="3339861616"/>
                    </a:ext>
                  </a:extLst>
                </a:gridCol>
                <a:gridCol w="1545216">
                  <a:extLst>
                    <a:ext uri="{9D8B030D-6E8A-4147-A177-3AD203B41FA5}">
                      <a16:colId xmlns:a16="http://schemas.microsoft.com/office/drawing/2014/main" val="2049419460"/>
                    </a:ext>
                  </a:extLst>
                </a:gridCol>
                <a:gridCol w="1117250">
                  <a:extLst>
                    <a:ext uri="{9D8B030D-6E8A-4147-A177-3AD203B41FA5}">
                      <a16:colId xmlns:a16="http://schemas.microsoft.com/office/drawing/2014/main" val="2621665866"/>
                    </a:ext>
                  </a:extLst>
                </a:gridCol>
                <a:gridCol w="2088567">
                  <a:extLst>
                    <a:ext uri="{9D8B030D-6E8A-4147-A177-3AD203B41FA5}">
                      <a16:colId xmlns:a16="http://schemas.microsoft.com/office/drawing/2014/main" val="3084177346"/>
                    </a:ext>
                  </a:extLst>
                </a:gridCol>
              </a:tblGrid>
              <a:tr h="272704">
                <a:tc gridSpan="4">
                  <a:txBody>
                    <a:bodyPr/>
                    <a:lstStyle/>
                    <a:p>
                      <a:r>
                        <a:rPr lang="en-US" sz="1200">
                          <a:solidFill>
                            <a:schemeClr val="tx2"/>
                          </a:solidFill>
                          <a:latin typeface="EYInterstate" panose="02000503020000020004" pitchFamily="2" charset="0"/>
                        </a:rPr>
                        <a:t>DATA SCIENTIST</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00A3AE"/>
                    </a:solidFill>
                  </a:tcPr>
                </a:tc>
                <a:tc hMerge="1">
                  <a:txBody>
                    <a:bodyPr/>
                    <a:lstStyle/>
                    <a:p>
                      <a:endParaRPr lang="en-US" sz="1400">
                        <a:solidFill>
                          <a:srgbClr val="000000"/>
                        </a:solidFill>
                      </a:endParaRPr>
                    </a:p>
                  </a:txBody>
                  <a:tcP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a:p>
                  </a:txBody>
                  <a:tcPr>
                    <a:lnL w="12700" cmpd="sng">
                      <a:noFill/>
                    </a:lnL>
                  </a:tcPr>
                </a:tc>
                <a:extLst>
                  <a:ext uri="{0D108BD9-81ED-4DB2-BD59-A6C34878D82A}">
                    <a16:rowId xmlns:a16="http://schemas.microsoft.com/office/drawing/2014/main" val="1267045867"/>
                  </a:ext>
                </a:extLst>
              </a:tr>
              <a:tr h="305614">
                <a:tc gridSpan="4">
                  <a:txBody>
                    <a:bodyPr/>
                    <a:lstStyle/>
                    <a:p>
                      <a:endParaRPr lang="en-US" sz="1050">
                        <a:solidFill>
                          <a:srgbClr val="45B9BE"/>
                        </a:solidFill>
                        <a:latin typeface="EYInterstate" panose="02000503020000020004" pitchFamily="2" charset="0"/>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a:p>
                  </a:txBody>
                  <a:tcPr/>
                </a:tc>
                <a:tc hMerge="1">
                  <a:txBody>
                    <a:bodyPr/>
                    <a:lstStyle/>
                    <a:p>
                      <a:endParaRPr lang="en-US"/>
                    </a:p>
                  </a:txBody>
                  <a:tcPr>
                    <a:lnL w="12700" cmpd="sng">
                      <a:noFill/>
                    </a:lnL>
                  </a:tcPr>
                </a:tc>
                <a:extLst>
                  <a:ext uri="{0D108BD9-81ED-4DB2-BD59-A6C34878D82A}">
                    <a16:rowId xmlns:a16="http://schemas.microsoft.com/office/drawing/2014/main" val="2152776218"/>
                  </a:ext>
                </a:extLst>
              </a:tr>
              <a:tr h="272704">
                <a:tc>
                  <a:txBody>
                    <a:bodyPr/>
                    <a:lstStyle/>
                    <a:p>
                      <a:endParaRPr lang="en-US" sz="1050">
                        <a:latin typeface="EYInterstate" panose="02000503020000020004" pitchFamily="2" charset="0"/>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r>
                        <a:rPr kumimoji="0" lang="en-IN" sz="1200" b="1" i="0" u="none" strike="noStrike" kern="1200" cap="none" spc="0" normalizeH="0" baseline="0" noProof="0">
                          <a:ln>
                            <a:noFill/>
                          </a:ln>
                          <a:solidFill>
                            <a:srgbClr val="000000"/>
                          </a:solidFill>
                          <a:effectLst/>
                          <a:uLnTx/>
                          <a:uFillTx/>
                          <a:latin typeface="EYInterstate" panose="02000503020000020004" pitchFamily="2" charset="0"/>
                        </a:rPr>
                        <a:t>Sourav Bose</a:t>
                      </a:r>
                    </a:p>
                  </a:txBody>
                  <a:tcPr>
                    <a:lnL w="12700" cmpd="sng">
                      <a:noFill/>
                    </a:lnL>
                    <a:lnR w="1905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r>
                        <a:rPr kumimoji="0" lang="en-IN" sz="1200" b="0" i="0" u="none" strike="noStrike" kern="1200" cap="none" spc="0" normalizeH="0" baseline="0" noProof="0">
                          <a:ln>
                            <a:noFill/>
                          </a:ln>
                          <a:solidFill>
                            <a:srgbClr val="000000"/>
                          </a:solidFill>
                          <a:effectLst/>
                          <a:uLnTx/>
                          <a:uFillTx/>
                          <a:latin typeface="EYInterstate" panose="02000503020000020004" pitchFamily="2" charset="0"/>
                        </a:rPr>
                        <a:t>Senior, FSO Data &amp; Analytics</a:t>
                      </a:r>
                      <a:endParaRPr lang="en-US">
                        <a:latin typeface="EYInterstate" panose="02000503020000020004" pitchFamily="2" charset="0"/>
                      </a:endParaRPr>
                    </a:p>
                  </a:txBody>
                  <a:tcPr>
                    <a:lnL w="190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kumimoji="0" lang="en-IN" sz="1200" b="1" i="0" u="none" strike="noStrike" kern="1200" cap="none" spc="0" normalizeH="0" baseline="0" noProof="0">
                        <a:ln>
                          <a:noFill/>
                        </a:ln>
                        <a:solidFill>
                          <a:srgbClr val="000000"/>
                        </a:solidFill>
                        <a:effectLst/>
                        <a:uLnTx/>
                        <a:uFillTx/>
                        <a:latin typeface="+mn-lt"/>
                      </a:endParaRPr>
                    </a:p>
                  </a:txBody>
                  <a:tcPr>
                    <a:lnL w="9525" cap="flat" cmpd="sng" algn="ctr">
                      <a:noFill/>
                      <a:prstDash val="solid"/>
                      <a:round/>
                      <a:headEnd type="none" w="med" len="med"/>
                      <a:tailEnd type="none" w="med" len="med"/>
                    </a:lnL>
                    <a:lnR w="9525" cap="flat" cmpd="sng" algn="ctr">
                      <a:solidFill>
                        <a:srgbClr val="000000"/>
                      </a:solidFill>
                      <a:prstDash val="solid"/>
                      <a:round/>
                      <a:headEnd type="none" w="med" len="med"/>
                      <a:tailEnd type="none" w="med" len="med"/>
                    </a:lnR>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3915768"/>
                  </a:ext>
                </a:extLst>
              </a:tr>
              <a:tr h="249979">
                <a:tc>
                  <a:txBody>
                    <a:bodyPr/>
                    <a:lstStyle/>
                    <a:p>
                      <a:endParaRPr lang="en-US" sz="1050">
                        <a:latin typeface="EYInterstate" panose="02000503020000020004" pitchFamily="2" charset="0"/>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gridSpan="3">
                  <a:txBody>
                    <a:bodyPr/>
                    <a:lstStyle/>
                    <a:p>
                      <a:endParaRPr lang="en-US" sz="1050">
                        <a:solidFill>
                          <a:srgbClr val="000000"/>
                        </a:solidFill>
                        <a:latin typeface="EYInterstate" panose="02000503020000020004" pitchFamily="2" charset="0"/>
                      </a:endParaRPr>
                    </a:p>
                  </a:txBody>
                  <a:tcPr>
                    <a:lnL w="12700" cmpd="sng">
                      <a:noFill/>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lnL w="19050" cap="flat" cmpd="sng" algn="ctr">
                      <a:solidFill>
                        <a:schemeClr val="tx1"/>
                      </a:solid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lnL w="12700" cmpd="sng">
                      <a:noFill/>
                    </a:lnL>
                    <a:lnT w="12700" cmpd="sng">
                      <a:noFill/>
                    </a:lnT>
                  </a:tcPr>
                </a:tc>
                <a:extLst>
                  <a:ext uri="{0D108BD9-81ED-4DB2-BD59-A6C34878D82A}">
                    <a16:rowId xmlns:a16="http://schemas.microsoft.com/office/drawing/2014/main" val="2018406057"/>
                  </a:ext>
                </a:extLst>
              </a:tr>
              <a:tr h="40905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b="1" u="sng">
                          <a:solidFill>
                            <a:srgbClr val="000000"/>
                          </a:solidFill>
                          <a:latin typeface="EYInterstate" panose="02000503020000020004" pitchFamily="2" charset="0"/>
                        </a:rPr>
                        <a:t>ABLE TO WORK IN SG</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b="1" u="sng">
                          <a:solidFill>
                            <a:srgbClr val="000000"/>
                          </a:solidFill>
                          <a:latin typeface="EYInterstate" panose="02000503020000020004" pitchFamily="2" charset="0"/>
                        </a:rPr>
                        <a:t>HIGHEST EDUCATION</a:t>
                      </a:r>
                      <a:endParaRPr lang="en-US" sz="1050" b="1">
                        <a:solidFill>
                          <a:srgbClr val="000000"/>
                        </a:solidFill>
                        <a:latin typeface="EYInterstate" panose="02000503020000020004" pitchFamily="2"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b="1" u="sng">
                          <a:solidFill>
                            <a:srgbClr val="000000"/>
                          </a:solidFill>
                          <a:latin typeface="EYInterstate" panose="02000503020000020004" pitchFamily="2" charset="0"/>
                        </a:rPr>
                        <a:t>EMPLOYMENT (LAST 3 YEARS)</a:t>
                      </a:r>
                      <a:endParaRPr lang="en-US" sz="1050" b="1">
                        <a:solidFill>
                          <a:srgbClr val="000000"/>
                        </a:solidFill>
                        <a:latin typeface="EYInterstate" panose="02000503020000020004" pitchFamily="2"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546864712"/>
                  </a:ext>
                </a:extLst>
              </a:tr>
              <a:tr h="71363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b="0" kern="1200">
                          <a:solidFill>
                            <a:srgbClr val="000000"/>
                          </a:solidFill>
                          <a:latin typeface="EYInterstate" panose="02000503020000020004" pitchFamily="2" charset="0"/>
                          <a:ea typeface="+mn-ea"/>
                          <a:cs typeface="+mn-cs"/>
                        </a:rPr>
                        <a:t>Ye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marR="0" lvl="0" indent="0" algn="l" defTabSz="1266737" rtl="0" eaLnBrk="1" fontAlgn="auto" latinLnBrk="0" hangingPunct="1">
                        <a:lnSpc>
                          <a:spcPct val="100000"/>
                        </a:lnSpc>
                        <a:spcBef>
                          <a:spcPts val="0"/>
                        </a:spcBef>
                        <a:spcAft>
                          <a:spcPts val="0"/>
                        </a:spcAft>
                        <a:buClrTx/>
                        <a:buSzTx/>
                        <a:buFontTx/>
                        <a:buNone/>
                        <a:tabLst/>
                        <a:defRPr/>
                      </a:pPr>
                      <a:r>
                        <a:rPr lang="en-US" sz="1050" kern="0">
                          <a:solidFill>
                            <a:srgbClr val="000000"/>
                          </a:solidFill>
                          <a:latin typeface="EYInterstate" panose="02000503020000020004" pitchFamily="2" charset="0"/>
                        </a:rPr>
                        <a:t>Masters in Engineering Physics with Mathematics &amp; Computer Sciences from Indian Institute of Technology Kharagpur, India</a:t>
                      </a:r>
                      <a:endParaRPr lang="en-US" sz="1050" b="0" kern="1200">
                        <a:solidFill>
                          <a:schemeClr val="bg1"/>
                        </a:solidFill>
                        <a:latin typeface="EYInterstate" panose="02000503020000020004" pitchFamily="2" charset="0"/>
                        <a:ea typeface="+mn-ea"/>
                        <a:cs typeface="+mn-cs"/>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a:txBody>
                    <a:bodyPr/>
                    <a:lstStyle/>
                    <a:p>
                      <a:pPr marL="0" marR="0" lvl="0" indent="0" algn="l" defTabSz="1266737" rtl="0" eaLnBrk="1" fontAlgn="auto" latinLnBrk="0" hangingPunct="1">
                        <a:lnSpc>
                          <a:spcPct val="100000"/>
                        </a:lnSpc>
                        <a:spcBef>
                          <a:spcPts val="0"/>
                        </a:spcBef>
                        <a:spcAft>
                          <a:spcPts val="0"/>
                        </a:spcAft>
                        <a:buClrTx/>
                        <a:buSzTx/>
                        <a:buFontTx/>
                        <a:buNone/>
                        <a:tabLst/>
                        <a:defRPr/>
                      </a:pPr>
                      <a:r>
                        <a:rPr lang="en-US" sz="1050" b="0" i="0" u="none" strike="noStrike" kern="1200" noProof="0" dirty="0">
                          <a:latin typeface="EYInterstate" panose="02000503020000020004" pitchFamily="2" charset="0"/>
                        </a:rPr>
                        <a:t>EY: Feb 2020 - Present </a:t>
                      </a:r>
                    </a:p>
                    <a:p>
                      <a:pPr marL="0" marR="0" lvl="0" indent="0" algn="l" defTabSz="1266737" rtl="0" eaLnBrk="1" fontAlgn="auto" latinLnBrk="0" hangingPunct="1">
                        <a:lnSpc>
                          <a:spcPct val="100000"/>
                        </a:lnSpc>
                        <a:spcBef>
                          <a:spcPts val="0"/>
                        </a:spcBef>
                        <a:spcAft>
                          <a:spcPts val="0"/>
                        </a:spcAft>
                        <a:buClrTx/>
                        <a:buSzTx/>
                        <a:buFontTx/>
                        <a:buNone/>
                        <a:tabLst/>
                        <a:defRPr/>
                      </a:pPr>
                      <a:r>
                        <a:rPr lang="en-US" sz="1050" b="0" i="0" u="none" strike="noStrike" kern="1200" noProof="0" dirty="0">
                          <a:latin typeface="EYInterstate" panose="02000503020000020004" pitchFamily="2" charset="0"/>
                        </a:rPr>
                        <a:t>UBS: 2019 - 2020</a:t>
                      </a:r>
                    </a:p>
                    <a:p>
                      <a:pPr marL="0" marR="0" lvl="0" indent="0" algn="l" defTabSz="1266737" rtl="0" eaLnBrk="1" fontAlgn="auto" latinLnBrk="0" hangingPunct="1">
                        <a:lnSpc>
                          <a:spcPct val="100000"/>
                        </a:lnSpc>
                        <a:spcBef>
                          <a:spcPts val="0"/>
                        </a:spcBef>
                        <a:spcAft>
                          <a:spcPts val="0"/>
                        </a:spcAft>
                        <a:buClrTx/>
                        <a:buSzTx/>
                        <a:buFontTx/>
                        <a:buNone/>
                        <a:tabLst/>
                        <a:defRPr/>
                      </a:pPr>
                      <a:r>
                        <a:rPr lang="en-US" sz="1050" b="0" i="0" u="none" strike="noStrike" kern="1200" noProof="0" dirty="0">
                          <a:latin typeface="EYInterstate" panose="02000503020000020004" pitchFamily="2" charset="0"/>
                        </a:rPr>
                        <a:t>HSBC: Prior to 2019</a:t>
                      </a:r>
                      <a:endParaRPr lang="en-US" sz="1050" b="0" kern="1200" dirty="0">
                        <a:solidFill>
                          <a:schemeClr val="bg1"/>
                        </a:solidFill>
                        <a:latin typeface="EYInterstate" panose="02000503020000020004" pitchFamily="2" charset="0"/>
                        <a:ea typeface="+mn-ea"/>
                        <a:cs typeface="+mn-cs"/>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47307066"/>
                  </a:ext>
                </a:extLst>
              </a:tr>
              <a:tr h="249979">
                <a:tc gridSpan="4">
                  <a:txBody>
                    <a:bodyPr/>
                    <a:lstStyle/>
                    <a:p>
                      <a:pPr marL="0" algn="l" defTabSz="914400" rtl="0" eaLnBrk="1" latinLnBrk="0" hangingPunct="1"/>
                      <a:r>
                        <a:rPr lang="en-US" sz="1050" b="1" u="sng" kern="1200">
                          <a:solidFill>
                            <a:srgbClr val="000000"/>
                          </a:solidFill>
                          <a:latin typeface="EYInterstate" panose="02000503020000020004" pitchFamily="2" charset="0"/>
                          <a:ea typeface="+mn-ea"/>
                          <a:cs typeface="+mn-cs"/>
                        </a:rPr>
                        <a:t>BACKGROUND</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a:p>
                  </a:txBody>
                  <a:tcPr/>
                </a:tc>
                <a:tc hMerge="1">
                  <a:txBody>
                    <a:bodyPr/>
                    <a:lstStyle/>
                    <a:p>
                      <a:endParaRPr lang="en-US"/>
                    </a:p>
                  </a:txBody>
                  <a:tcPr>
                    <a:lnL w="12700" cmpd="sng">
                      <a:noFill/>
                    </a:lnL>
                    <a:lnT w="12700" cmpd="sng">
                      <a:noFill/>
                    </a:lnT>
                  </a:tcPr>
                </a:tc>
                <a:extLst>
                  <a:ext uri="{0D108BD9-81ED-4DB2-BD59-A6C34878D82A}">
                    <a16:rowId xmlns:a16="http://schemas.microsoft.com/office/drawing/2014/main" val="3678239183"/>
                  </a:ext>
                </a:extLst>
              </a:tr>
              <a:tr h="693907">
                <a:tc gridSpan="4">
                  <a:txBody>
                    <a:bodyPr/>
                    <a:lstStyle/>
                    <a:p>
                      <a:pPr marL="171450" indent="-171450" algn="l" defTabSz="914400" rtl="0" eaLnBrk="1" latinLnBrk="0" hangingPunct="1">
                        <a:buFont typeface="Arial"/>
                        <a:buChar char="•"/>
                      </a:pPr>
                      <a:r>
                        <a:rPr lang="en-US" sz="1050" b="0" kern="1200" dirty="0">
                          <a:solidFill>
                            <a:srgbClr val="000000"/>
                          </a:solidFill>
                          <a:latin typeface="EYInterstate" panose="02000503020000020004" pitchFamily="2" charset="0"/>
                          <a:ea typeface="+mn-ea"/>
                          <a:cs typeface="+mn-cs"/>
                        </a:rPr>
                        <a:t>Sourav is a Senior AI Scientist in EY’s NextWave Consulting Practice, specializing in Wealth &amp; Asset Management, Banking and Insurance sectors.</a:t>
                      </a:r>
                    </a:p>
                    <a:p>
                      <a:pPr marL="171450" indent="-171450" algn="l" defTabSz="914400" rtl="0" eaLnBrk="1" latinLnBrk="0" hangingPunct="1">
                        <a:buFont typeface="Arial"/>
                        <a:buChar char="•"/>
                      </a:pPr>
                      <a:r>
                        <a:rPr lang="en-US" sz="1050" b="0" kern="1200" dirty="0">
                          <a:solidFill>
                            <a:srgbClr val="000000"/>
                          </a:solidFill>
                          <a:latin typeface="EYInterstate" panose="02000503020000020004" pitchFamily="2" charset="0"/>
                          <a:ea typeface="+mn-ea"/>
                          <a:cs typeface="+mn-cs"/>
                        </a:rPr>
                        <a:t>He has 7+ years of experience working in Financial Services, primarily AI/ML fields, both in research as well as developing business solution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a:p>
                  </a:txBody>
                  <a:tcPr/>
                </a:tc>
                <a:tc hMerge="1">
                  <a:txBody>
                    <a:bodyPr/>
                    <a:lstStyle/>
                    <a:p>
                      <a:endParaRPr lang="en-US"/>
                    </a:p>
                  </a:txBody>
                  <a:tcPr>
                    <a:lnL w="12700" cmpd="sng">
                      <a:noFill/>
                    </a:lnL>
                  </a:tcPr>
                </a:tc>
                <a:extLst>
                  <a:ext uri="{0D108BD9-81ED-4DB2-BD59-A6C34878D82A}">
                    <a16:rowId xmlns:a16="http://schemas.microsoft.com/office/drawing/2014/main" val="3917136942"/>
                  </a:ext>
                </a:extLst>
              </a:tr>
              <a:tr h="249979">
                <a:tc gridSpan="4">
                  <a:txBody>
                    <a:bodyPr/>
                    <a:lstStyle/>
                    <a:p>
                      <a:pPr marL="0" marR="0" lvl="0" indent="0" algn="l" defTabSz="1266737" rtl="0" eaLnBrk="1" latinLnBrk="0" hangingPunct="1">
                        <a:lnSpc>
                          <a:spcPct val="100000"/>
                        </a:lnSpc>
                        <a:spcBef>
                          <a:spcPts val="0"/>
                        </a:spcBef>
                        <a:spcAft>
                          <a:spcPts val="0"/>
                        </a:spcAft>
                        <a:buNone/>
                      </a:pPr>
                      <a:r>
                        <a:rPr lang="en-US" sz="1050" b="1" u="sng" kern="1200" noProof="0">
                          <a:solidFill>
                            <a:srgbClr val="000000"/>
                          </a:solidFill>
                          <a:latin typeface="EYInterstate" panose="02000503020000020004" pitchFamily="2" charset="0"/>
                          <a:ea typeface="+mn-ea"/>
                          <a:cs typeface="+mn-cs"/>
                        </a:rPr>
                        <a:t>PROFESSIONAL CAPABILITIE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a:p>
                  </a:txBody>
                  <a:tcPr/>
                </a:tc>
                <a:tc hMerge="1">
                  <a:txBody>
                    <a:bodyPr/>
                    <a:lstStyle/>
                    <a:p>
                      <a:endParaRPr lang="en-US"/>
                    </a:p>
                  </a:txBody>
                  <a:tcPr>
                    <a:lnL w="12700" cmpd="sng">
                      <a:noFill/>
                    </a:lnL>
                  </a:tcPr>
                </a:tc>
                <a:extLst>
                  <a:ext uri="{0D108BD9-81ED-4DB2-BD59-A6C34878D82A}">
                    <a16:rowId xmlns:a16="http://schemas.microsoft.com/office/drawing/2014/main" val="3711216452"/>
                  </a:ext>
                </a:extLst>
              </a:tr>
              <a:tr h="699755">
                <a:tc gridSpan="2">
                  <a:txBody>
                    <a:bodyPr/>
                    <a:lstStyle/>
                    <a:p>
                      <a:pPr marL="171450" marR="0" lvl="0" indent="-171450" algn="l" defTabSz="126673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50" b="0" kern="1200" noProof="0">
                          <a:solidFill>
                            <a:srgbClr val="000000"/>
                          </a:solidFill>
                          <a:latin typeface="EYInterstate" panose="02000503020000020004" pitchFamily="2" charset="0"/>
                          <a:ea typeface="+mn-ea"/>
                          <a:cs typeface="+mn-cs"/>
                        </a:rPr>
                        <a:t>Machine Learning &amp; Deep Learning</a:t>
                      </a:r>
                    </a:p>
                    <a:p>
                      <a:pPr marL="171450" marR="0" lvl="0" indent="-171450" algn="l" defTabSz="126673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50" b="0" kern="1200" noProof="0">
                          <a:solidFill>
                            <a:srgbClr val="000000"/>
                          </a:solidFill>
                          <a:latin typeface="EYInterstate" panose="02000503020000020004" pitchFamily="2" charset="0"/>
                          <a:ea typeface="+mn-ea"/>
                          <a:cs typeface="+mn-cs"/>
                        </a:rPr>
                        <a:t>AI &amp; Reinforcement Learning</a:t>
                      </a:r>
                    </a:p>
                    <a:p>
                      <a:pPr marL="171450" marR="0" lvl="0" indent="-171450" algn="l" defTabSz="126673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50" b="0" kern="1200" noProof="0">
                          <a:solidFill>
                            <a:srgbClr val="000000"/>
                          </a:solidFill>
                          <a:latin typeface="EYInterstate" panose="02000503020000020004" pitchFamily="2" charset="0"/>
                          <a:ea typeface="+mn-ea"/>
                          <a:cs typeface="+mn-cs"/>
                        </a:rPr>
                        <a:t>Python,  SQL, R, Julia</a:t>
                      </a:r>
                    </a:p>
                    <a:p>
                      <a:pPr marL="171450" marR="0" lvl="0" indent="-171450" algn="l" defTabSz="1266737" rtl="0" eaLnBrk="1" latinLnBrk="0" hangingPunct="1">
                        <a:lnSpc>
                          <a:spcPct val="100000"/>
                        </a:lnSpc>
                        <a:spcBef>
                          <a:spcPts val="0"/>
                        </a:spcBef>
                        <a:spcAft>
                          <a:spcPts val="0"/>
                        </a:spcAft>
                        <a:buFont typeface="Arial" panose="020B0604020202020204" pitchFamily="34" charset="0"/>
                        <a:buChar char="•"/>
                      </a:pPr>
                      <a:r>
                        <a:rPr lang="en-US" sz="1050" b="0" kern="1200" noProof="0">
                          <a:solidFill>
                            <a:srgbClr val="000000"/>
                          </a:solidFill>
                          <a:latin typeface="EYInterstate" panose="02000503020000020004" pitchFamily="2" charset="0"/>
                          <a:ea typeface="+mn-ea"/>
                          <a:cs typeface="+mn-cs"/>
                        </a:rPr>
                        <a:t>SAS, SAS E-Miner, SAS </a:t>
                      </a:r>
                      <a:r>
                        <a:rPr lang="en-US" sz="1050" b="0" kern="1200" noProof="0" err="1">
                          <a:solidFill>
                            <a:srgbClr val="000000"/>
                          </a:solidFill>
                          <a:latin typeface="EYInterstate" panose="02000503020000020004" pitchFamily="2" charset="0"/>
                          <a:ea typeface="+mn-ea"/>
                          <a:cs typeface="+mn-cs"/>
                        </a:rPr>
                        <a:t>Viya</a:t>
                      </a:r>
                      <a:endParaRPr lang="en-US" sz="1050" b="0" kern="1200" noProof="0">
                        <a:solidFill>
                          <a:srgbClr val="000000"/>
                        </a:solidFill>
                        <a:latin typeface="EYInterstate" panose="02000503020000020004" pitchFamily="2" charset="0"/>
                        <a:ea typeface="+mn-ea"/>
                        <a:cs typeface="+mn-cs"/>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gridSpan="2">
                  <a:txBody>
                    <a:bodyPr/>
                    <a:lstStyle/>
                    <a:p>
                      <a:pPr marL="171450" marR="0" lvl="0" indent="-171450" algn="l" defTabSz="1266737" rtl="0" eaLnBrk="1" latinLnBrk="0" hangingPunct="1">
                        <a:lnSpc>
                          <a:spcPct val="100000"/>
                        </a:lnSpc>
                        <a:spcBef>
                          <a:spcPts val="0"/>
                        </a:spcBef>
                        <a:spcAft>
                          <a:spcPts val="0"/>
                        </a:spcAft>
                        <a:buFont typeface="Arial" panose="020B0604020202020204" pitchFamily="34" charset="0"/>
                        <a:buChar char="•"/>
                      </a:pPr>
                      <a:r>
                        <a:rPr lang="en-US" sz="1050" b="0" kern="1200" noProof="0">
                          <a:solidFill>
                            <a:srgbClr val="000000"/>
                          </a:solidFill>
                          <a:latin typeface="EYInterstate" panose="02000503020000020004" pitchFamily="2" charset="0"/>
                          <a:ea typeface="+mn-ea"/>
                          <a:cs typeface="+mn-cs"/>
                        </a:rPr>
                        <a:t>Computational Linguistics </a:t>
                      </a:r>
                    </a:p>
                    <a:p>
                      <a:pPr marL="171450" marR="0" lvl="0" indent="-171450" algn="l" defTabSz="1266737" rtl="0" eaLnBrk="1" latinLnBrk="0" hangingPunct="1">
                        <a:lnSpc>
                          <a:spcPct val="100000"/>
                        </a:lnSpc>
                        <a:spcBef>
                          <a:spcPts val="0"/>
                        </a:spcBef>
                        <a:spcAft>
                          <a:spcPts val="0"/>
                        </a:spcAft>
                        <a:buFont typeface="Arial" panose="020B0604020202020204" pitchFamily="34" charset="0"/>
                        <a:buChar char="•"/>
                      </a:pPr>
                      <a:r>
                        <a:rPr lang="en-US" sz="1050" b="0" kern="1200" noProof="0">
                          <a:solidFill>
                            <a:srgbClr val="000000"/>
                          </a:solidFill>
                          <a:latin typeface="EYInterstate" panose="02000503020000020004" pitchFamily="2" charset="0"/>
                          <a:ea typeface="+mn-ea"/>
                          <a:cs typeface="+mn-cs"/>
                        </a:rPr>
                        <a:t>Computer Vision &amp; Audio Analytics</a:t>
                      </a:r>
                    </a:p>
                    <a:p>
                      <a:pPr marL="171450" marR="0" lvl="0" indent="-171450" algn="l" defTabSz="1266737" rtl="0" eaLnBrk="1" latinLnBrk="0" hangingPunct="1">
                        <a:lnSpc>
                          <a:spcPct val="100000"/>
                        </a:lnSpc>
                        <a:spcBef>
                          <a:spcPts val="0"/>
                        </a:spcBef>
                        <a:spcAft>
                          <a:spcPts val="0"/>
                        </a:spcAft>
                        <a:buFont typeface="Arial" panose="020B0604020202020204" pitchFamily="34" charset="0"/>
                        <a:buChar char="•"/>
                      </a:pPr>
                      <a:r>
                        <a:rPr lang="en-US" sz="1050" b="0" kern="1200" noProof="0">
                          <a:solidFill>
                            <a:srgbClr val="000000"/>
                          </a:solidFill>
                          <a:latin typeface="EYInterstate" panose="02000503020000020004" pitchFamily="2" charset="0"/>
                          <a:ea typeface="+mn-ea"/>
                          <a:cs typeface="+mn-cs"/>
                        </a:rPr>
                        <a:t>Neural Nets, Belief Nets &amp; Graph Net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lnL w="12700" cmpd="sng">
                      <a:noFill/>
                    </a:lnL>
                  </a:tcPr>
                </a:tc>
                <a:extLst>
                  <a:ext uri="{0D108BD9-81ED-4DB2-BD59-A6C34878D82A}">
                    <a16:rowId xmlns:a16="http://schemas.microsoft.com/office/drawing/2014/main" val="1009631101"/>
                  </a:ext>
                </a:extLst>
              </a:tr>
              <a:tr h="249979">
                <a:tc gridSpan="4">
                  <a:txBody>
                    <a:bodyPr/>
                    <a:lstStyle/>
                    <a:p>
                      <a:pPr marL="0" algn="l" defTabSz="914400" rtl="0" eaLnBrk="1" latinLnBrk="0" hangingPunct="1"/>
                      <a:r>
                        <a:rPr lang="en-US" sz="1050" b="1" u="sng" kern="1200">
                          <a:solidFill>
                            <a:srgbClr val="000000"/>
                          </a:solidFill>
                          <a:latin typeface="EYInterstate" panose="02000503020000020004" pitchFamily="2" charset="0"/>
                          <a:ea typeface="+mn-ea"/>
                          <a:cs typeface="+mn-cs"/>
                        </a:rPr>
                        <a:t>RELEVANT EXPERIENCE</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a:p>
                  </a:txBody>
                  <a:tcPr/>
                </a:tc>
                <a:tc hMerge="1">
                  <a:txBody>
                    <a:bodyPr/>
                    <a:lstStyle/>
                    <a:p>
                      <a:endParaRPr lang="en-US"/>
                    </a:p>
                  </a:txBody>
                  <a:tcPr>
                    <a:lnL w="12700" cmpd="sng">
                      <a:noFill/>
                    </a:lnL>
                  </a:tcPr>
                </a:tc>
                <a:extLst>
                  <a:ext uri="{0D108BD9-81ED-4DB2-BD59-A6C34878D82A}">
                    <a16:rowId xmlns:a16="http://schemas.microsoft.com/office/drawing/2014/main" val="3322682632"/>
                  </a:ext>
                </a:extLst>
              </a:tr>
              <a:tr h="2037542">
                <a:tc gridSpan="4">
                  <a:txBody>
                    <a:bodyPr/>
                    <a:lstStyle/>
                    <a:p>
                      <a:pPr marL="171450" marR="0" lvl="0" indent="-171450" algn="l" defTabSz="1266737" rtl="0" eaLnBrk="1" latinLnBrk="0" hangingPunct="1">
                        <a:lnSpc>
                          <a:spcPct val="100000"/>
                        </a:lnSpc>
                        <a:spcBef>
                          <a:spcPts val="0"/>
                        </a:spcBef>
                        <a:spcAft>
                          <a:spcPts val="0"/>
                        </a:spcAft>
                        <a:buFont typeface="Arial" panose="020B0604020202020204" pitchFamily="34" charset="0"/>
                        <a:buChar char="•"/>
                      </a:pPr>
                      <a:r>
                        <a:rPr kumimoji="0" lang="en-US" sz="1050" b="1" i="0" u="none" strike="noStrike" kern="1200" cap="none" spc="0" normalizeH="0" baseline="0" noProof="0" dirty="0">
                          <a:ln>
                            <a:noFill/>
                          </a:ln>
                          <a:solidFill>
                            <a:srgbClr val="000000"/>
                          </a:solidFill>
                          <a:effectLst/>
                          <a:uLnTx/>
                          <a:uFillTx/>
                          <a:latin typeface="EYInterstate" panose="02000503020000020004" pitchFamily="2" charset="0"/>
                          <a:ea typeface="+mn-ea"/>
                          <a:cs typeface="+mn-cs"/>
                        </a:rPr>
                        <a:t>Thought Leadership for designing AI/ML Solutions at a large Global Investment Bank</a:t>
                      </a:r>
                    </a:p>
                    <a:p>
                      <a:pPr marL="344488" marR="0" lvl="1" indent="-171450" algn="l" defTabSz="1266737" rtl="0" eaLnBrk="1" latinLnBrk="0" hangingPunct="1">
                        <a:lnSpc>
                          <a:spcPct val="100000"/>
                        </a:lnSpc>
                        <a:spcBef>
                          <a:spcPts val="0"/>
                        </a:spcBef>
                        <a:spcAft>
                          <a:spcPts val="0"/>
                        </a:spcAft>
                        <a:buFont typeface="Courier New" panose="02070309020205020404" pitchFamily="49" charset="0"/>
                        <a:buChar char="o"/>
                      </a:pPr>
                      <a:r>
                        <a:rPr kumimoji="0" lang="en-US" sz="1050" b="0" i="0" u="none" strike="noStrike" kern="1200" cap="none" spc="0" normalizeH="0" baseline="0" noProof="0" dirty="0">
                          <a:ln>
                            <a:noFill/>
                          </a:ln>
                          <a:solidFill>
                            <a:srgbClr val="000000"/>
                          </a:solidFill>
                          <a:effectLst/>
                          <a:uLnTx/>
                          <a:uFillTx/>
                          <a:latin typeface="EYInterstate" panose="02000503020000020004" pitchFamily="2" charset="0"/>
                          <a:ea typeface="+mn-ea"/>
                          <a:cs typeface="+mn-cs"/>
                        </a:rPr>
                        <a:t>Developing NLP &amp; Deep Learning focused AI/ML for Investment Research leveraging Alternative Data for fixed income &amp; equity research.</a:t>
                      </a:r>
                    </a:p>
                    <a:p>
                      <a:pPr marL="344488" marR="0" lvl="1" indent="-171450" algn="l" defTabSz="1266737" rtl="0" eaLnBrk="1" latinLnBrk="0" hangingPunct="1">
                        <a:lnSpc>
                          <a:spcPct val="100000"/>
                        </a:lnSpc>
                        <a:spcBef>
                          <a:spcPts val="0"/>
                        </a:spcBef>
                        <a:spcAft>
                          <a:spcPts val="0"/>
                        </a:spcAft>
                        <a:buFont typeface="Courier New" panose="02070309020205020404" pitchFamily="49" charset="0"/>
                        <a:buChar char="o"/>
                      </a:pPr>
                      <a:r>
                        <a:rPr kumimoji="0" lang="en-US" sz="1050" b="0" i="0" u="none" strike="noStrike" kern="1200" cap="none" spc="0" normalizeH="0" baseline="0" noProof="0" dirty="0">
                          <a:ln>
                            <a:noFill/>
                          </a:ln>
                          <a:solidFill>
                            <a:srgbClr val="000000"/>
                          </a:solidFill>
                          <a:effectLst/>
                          <a:uLnTx/>
                          <a:uFillTx/>
                          <a:latin typeface="EYInterstate" panose="02000503020000020004" pitchFamily="2" charset="0"/>
                          <a:ea typeface="+mn-ea"/>
                          <a:cs typeface="+mn-cs"/>
                        </a:rPr>
                        <a:t>Portfolio Re-balancing &amp; Alpha Generation combining Signals using Reinforcement Learning.</a:t>
                      </a:r>
                    </a:p>
                    <a:p>
                      <a:pPr marL="344488" marR="0" lvl="1" indent="-171450" algn="l" defTabSz="1266737" rtl="0" eaLnBrk="1" latinLnBrk="0" hangingPunct="1">
                        <a:lnSpc>
                          <a:spcPct val="100000"/>
                        </a:lnSpc>
                        <a:spcBef>
                          <a:spcPts val="0"/>
                        </a:spcBef>
                        <a:spcAft>
                          <a:spcPts val="0"/>
                        </a:spcAft>
                        <a:buFont typeface="Courier New" panose="02070309020205020404" pitchFamily="49" charset="0"/>
                        <a:buChar char="o"/>
                      </a:pPr>
                      <a:r>
                        <a:rPr kumimoji="0" lang="en-US" sz="1050" b="0" i="0" u="none" strike="noStrike" kern="1200" cap="none" spc="0" normalizeH="0" baseline="0" noProof="0" dirty="0">
                          <a:ln>
                            <a:noFill/>
                          </a:ln>
                          <a:solidFill>
                            <a:srgbClr val="000000"/>
                          </a:solidFill>
                          <a:effectLst/>
                          <a:uLnTx/>
                          <a:uFillTx/>
                          <a:latin typeface="EYInterstate" panose="02000503020000020004" pitchFamily="2" charset="0"/>
                          <a:ea typeface="+mn-ea"/>
                          <a:cs typeface="+mn-cs"/>
                        </a:rPr>
                        <a:t>Developed a Text &amp; Speech Sentiment Detection on real-time call records for CRMs to improve operational efficacy as well as enhance client experience.</a:t>
                      </a:r>
                    </a:p>
                    <a:p>
                      <a:pPr marL="344488" marR="0" lvl="1" indent="-171450" algn="l" defTabSz="1266737" rtl="0" eaLnBrk="1" latinLnBrk="0" hangingPunct="1">
                        <a:lnSpc>
                          <a:spcPct val="100000"/>
                        </a:lnSpc>
                        <a:spcBef>
                          <a:spcPts val="0"/>
                        </a:spcBef>
                        <a:spcAft>
                          <a:spcPts val="0"/>
                        </a:spcAft>
                        <a:buFont typeface="Courier New" panose="02070309020205020404" pitchFamily="49" charset="0"/>
                        <a:buChar char="o"/>
                      </a:pPr>
                      <a:endParaRPr kumimoji="0" lang="en-US" sz="1000" b="0" i="0" u="none" strike="noStrike" kern="1200" cap="none" spc="0" normalizeH="0" baseline="0" noProof="0" dirty="0">
                        <a:ln>
                          <a:noFill/>
                        </a:ln>
                        <a:solidFill>
                          <a:srgbClr val="000000"/>
                        </a:solidFill>
                        <a:effectLst/>
                        <a:uLnTx/>
                        <a:uFillTx/>
                        <a:latin typeface="EYInterstate" panose="02000503020000020004" pitchFamily="2" charset="0"/>
                        <a:ea typeface="+mn-ea"/>
                        <a:cs typeface="+mn-cs"/>
                      </a:endParaRPr>
                    </a:p>
                    <a:p>
                      <a:pPr marL="171450" marR="0" lvl="0" indent="-171450" algn="l" defTabSz="1266737" rtl="0" eaLnBrk="1" latinLnBrk="0" hangingPunct="1">
                        <a:lnSpc>
                          <a:spcPct val="100000"/>
                        </a:lnSpc>
                        <a:spcBef>
                          <a:spcPts val="0"/>
                        </a:spcBef>
                        <a:spcAft>
                          <a:spcPts val="0"/>
                        </a:spcAft>
                        <a:buFont typeface="Arial" panose="020B0604020202020204" pitchFamily="34" charset="0"/>
                        <a:buChar char="•"/>
                      </a:pPr>
                      <a:r>
                        <a:rPr kumimoji="0" lang="en-US" sz="1050" b="1" i="0" u="none" strike="noStrike" kern="1200" cap="none" spc="0" normalizeH="0" baseline="0" noProof="0" dirty="0">
                          <a:ln>
                            <a:noFill/>
                          </a:ln>
                          <a:solidFill>
                            <a:srgbClr val="000000"/>
                          </a:solidFill>
                          <a:effectLst/>
                          <a:uLnTx/>
                          <a:uFillTx/>
                          <a:latin typeface="EYInterstate" panose="02000503020000020004" pitchFamily="2" charset="0"/>
                          <a:ea typeface="+mn-ea"/>
                          <a:cs typeface="+mn-cs"/>
                        </a:rPr>
                        <a:t>AI/ML Transformation Lead across CRM &amp; Wealth Management at a large Global Retail Bank</a:t>
                      </a:r>
                    </a:p>
                    <a:p>
                      <a:pPr marL="344488" marR="0" lvl="1" indent="-171450" algn="l" defTabSz="1266737" rtl="0" eaLnBrk="1" latinLnBrk="0" hangingPunct="1">
                        <a:lnSpc>
                          <a:spcPct val="100000"/>
                        </a:lnSpc>
                        <a:spcBef>
                          <a:spcPts val="0"/>
                        </a:spcBef>
                        <a:spcAft>
                          <a:spcPts val="0"/>
                        </a:spcAft>
                        <a:buFont typeface="Courier New" panose="02070309020205020404" pitchFamily="49" charset="0"/>
                        <a:buChar char="o"/>
                      </a:pPr>
                      <a:r>
                        <a:rPr kumimoji="0" lang="en-US" sz="1050" b="0" i="0" u="none" strike="noStrike" kern="1200" cap="none" spc="0" normalizeH="0" baseline="0" noProof="0" dirty="0">
                          <a:ln>
                            <a:noFill/>
                          </a:ln>
                          <a:solidFill>
                            <a:srgbClr val="000000"/>
                          </a:solidFill>
                          <a:effectLst/>
                          <a:uLnTx/>
                          <a:uFillTx/>
                          <a:latin typeface="EYInterstate" panose="02000503020000020004" pitchFamily="2" charset="0"/>
                          <a:ea typeface="+mn-ea"/>
                          <a:cs typeface="+mn-cs"/>
                        </a:rPr>
                        <a:t>Developed Contact Strategy with Segmentation &amp; Predictive Analytics.</a:t>
                      </a:r>
                    </a:p>
                    <a:p>
                      <a:pPr marL="344488" marR="0" lvl="1" indent="-171450" algn="l" defTabSz="1266737" rtl="0" eaLnBrk="1" latinLnBrk="0" hangingPunct="1">
                        <a:lnSpc>
                          <a:spcPct val="100000"/>
                        </a:lnSpc>
                        <a:spcBef>
                          <a:spcPts val="0"/>
                        </a:spcBef>
                        <a:spcAft>
                          <a:spcPts val="0"/>
                        </a:spcAft>
                        <a:buFont typeface="Courier New" panose="02070309020205020404" pitchFamily="49" charset="0"/>
                        <a:buChar char="o"/>
                      </a:pPr>
                      <a:r>
                        <a:rPr kumimoji="0" lang="en-US" sz="1050" b="0" i="0" u="none" strike="noStrike" kern="1200" cap="none" spc="0" normalizeH="0" baseline="0" noProof="0" dirty="0">
                          <a:ln>
                            <a:noFill/>
                          </a:ln>
                          <a:solidFill>
                            <a:srgbClr val="000000"/>
                          </a:solidFill>
                          <a:effectLst/>
                          <a:uLnTx/>
                          <a:uFillTx/>
                          <a:latin typeface="EYInterstate" panose="02000503020000020004" pitchFamily="2" charset="0"/>
                          <a:ea typeface="+mn-ea"/>
                          <a:cs typeface="+mn-cs"/>
                        </a:rPr>
                        <a:t>Developed Anomaly Detection for Transaction and Customer Health Monitoring for AML. </a:t>
                      </a:r>
                    </a:p>
                    <a:p>
                      <a:pPr marL="344488" marR="0" lvl="1" indent="-171450" algn="l" defTabSz="1266737" rtl="0" eaLnBrk="1" latinLnBrk="0" hangingPunct="1">
                        <a:lnSpc>
                          <a:spcPct val="100000"/>
                        </a:lnSpc>
                        <a:spcBef>
                          <a:spcPts val="0"/>
                        </a:spcBef>
                        <a:spcAft>
                          <a:spcPts val="0"/>
                        </a:spcAft>
                        <a:buFont typeface="Courier New" panose="02070309020205020404" pitchFamily="49" charset="0"/>
                        <a:buChar char="o"/>
                      </a:pPr>
                      <a:r>
                        <a:rPr kumimoji="0" lang="en-US" sz="1050" b="0" i="0" u="none" strike="noStrike" kern="1200" cap="none" spc="0" normalizeH="0" baseline="0" noProof="0" dirty="0">
                          <a:ln>
                            <a:noFill/>
                          </a:ln>
                          <a:solidFill>
                            <a:srgbClr val="000000"/>
                          </a:solidFill>
                          <a:effectLst/>
                          <a:uLnTx/>
                          <a:uFillTx/>
                          <a:latin typeface="EYInterstate" panose="02000503020000020004" pitchFamily="2" charset="0"/>
                          <a:ea typeface="+mn-ea"/>
                          <a:cs typeface="+mn-cs"/>
                        </a:rPr>
                        <a:t>Developed Computer Vision solutions using OCRs for SMART documentations.</a:t>
                      </a:r>
                    </a:p>
                    <a:p>
                      <a:pPr marL="344488" marR="0" lvl="1" indent="-171450" algn="l" defTabSz="1266737" rtl="0" eaLnBrk="1" latinLnBrk="0" hangingPunct="1">
                        <a:lnSpc>
                          <a:spcPct val="100000"/>
                        </a:lnSpc>
                        <a:spcBef>
                          <a:spcPts val="0"/>
                        </a:spcBef>
                        <a:spcAft>
                          <a:spcPts val="0"/>
                        </a:spcAft>
                        <a:buFont typeface="Courier New" panose="02070309020205020404" pitchFamily="49" charset="0"/>
                        <a:buChar char="o"/>
                      </a:pPr>
                      <a:r>
                        <a:rPr kumimoji="0" lang="en-US" sz="1050" b="0" i="0" u="none" strike="noStrike" kern="1200" cap="none" spc="0" normalizeH="0" baseline="0" noProof="0" dirty="0">
                          <a:ln>
                            <a:noFill/>
                          </a:ln>
                          <a:solidFill>
                            <a:srgbClr val="000000"/>
                          </a:solidFill>
                          <a:effectLst/>
                          <a:uLnTx/>
                          <a:uFillTx/>
                          <a:latin typeface="EYInterstate" panose="02000503020000020004" pitchFamily="2" charset="0"/>
                          <a:ea typeface="+mn-ea"/>
                          <a:cs typeface="+mn-cs"/>
                        </a:rPr>
                        <a:t>Performed Financial &amp; Market Impact Forecasting using Machine Learning to support Wealth Management to generate personalized customer recommendation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a:p>
                  </a:txBody>
                  <a:tcPr/>
                </a:tc>
                <a:tc hMerge="1">
                  <a:txBody>
                    <a:bodyPr/>
                    <a:lstStyle/>
                    <a:p>
                      <a:endParaRPr lang="en-US"/>
                    </a:p>
                  </a:txBody>
                  <a:tcPr>
                    <a:lnL w="12700" cmpd="sng">
                      <a:noFill/>
                    </a:lnL>
                  </a:tcPr>
                </a:tc>
                <a:extLst>
                  <a:ext uri="{0D108BD9-81ED-4DB2-BD59-A6C34878D82A}">
                    <a16:rowId xmlns:a16="http://schemas.microsoft.com/office/drawing/2014/main" val="2087447848"/>
                  </a:ext>
                </a:extLst>
              </a:tr>
            </a:tbl>
          </a:graphicData>
        </a:graphic>
      </p:graphicFrame>
      <p:graphicFrame>
        <p:nvGraphicFramePr>
          <p:cNvPr id="13" name="Table 12">
            <a:extLst>
              <a:ext uri="{FF2B5EF4-FFF2-40B4-BE49-F238E27FC236}">
                <a16:creationId xmlns:a16="http://schemas.microsoft.com/office/drawing/2014/main" id="{98685DB1-E591-438C-BDCF-40A589314A97}"/>
              </a:ext>
            </a:extLst>
          </p:cNvPr>
          <p:cNvGraphicFramePr>
            <a:graphicFrameLocks noGrp="1"/>
          </p:cNvGraphicFramePr>
          <p:nvPr>
            <p:extLst>
              <p:ext uri="{D42A27DB-BD31-4B8C-83A1-F6EECF244321}">
                <p14:modId xmlns:p14="http://schemas.microsoft.com/office/powerpoint/2010/main" val="2150115663"/>
              </p:ext>
            </p:extLst>
          </p:nvPr>
        </p:nvGraphicFramePr>
        <p:xfrm>
          <a:off x="7464055" y="939117"/>
          <a:ext cx="5869144" cy="6536100"/>
        </p:xfrm>
        <a:graphic>
          <a:graphicData uri="http://schemas.openxmlformats.org/drawingml/2006/table">
            <a:tbl>
              <a:tblPr firstRow="1" bandRow="1">
                <a:tableStyleId>{073A0DAA-6AF3-43AB-8588-CEC1D06C72B9}</a:tableStyleId>
              </a:tblPr>
              <a:tblGrid>
                <a:gridCol w="1246187">
                  <a:extLst>
                    <a:ext uri="{9D8B030D-6E8A-4147-A177-3AD203B41FA5}">
                      <a16:colId xmlns:a16="http://schemas.microsoft.com/office/drawing/2014/main" val="3339861616"/>
                    </a:ext>
                  </a:extLst>
                </a:gridCol>
                <a:gridCol w="266553">
                  <a:extLst>
                    <a:ext uri="{9D8B030D-6E8A-4147-A177-3AD203B41FA5}">
                      <a16:colId xmlns:a16="http://schemas.microsoft.com/office/drawing/2014/main" val="2049419460"/>
                    </a:ext>
                  </a:extLst>
                </a:gridCol>
                <a:gridCol w="1044889">
                  <a:extLst>
                    <a:ext uri="{9D8B030D-6E8A-4147-A177-3AD203B41FA5}">
                      <a16:colId xmlns:a16="http://schemas.microsoft.com/office/drawing/2014/main" val="848844053"/>
                    </a:ext>
                  </a:extLst>
                </a:gridCol>
                <a:gridCol w="376943">
                  <a:extLst>
                    <a:ext uri="{9D8B030D-6E8A-4147-A177-3AD203B41FA5}">
                      <a16:colId xmlns:a16="http://schemas.microsoft.com/office/drawing/2014/main" val="3827351894"/>
                    </a:ext>
                  </a:extLst>
                </a:gridCol>
                <a:gridCol w="978191">
                  <a:extLst>
                    <a:ext uri="{9D8B030D-6E8A-4147-A177-3AD203B41FA5}">
                      <a16:colId xmlns:a16="http://schemas.microsoft.com/office/drawing/2014/main" val="1171336285"/>
                    </a:ext>
                  </a:extLst>
                </a:gridCol>
                <a:gridCol w="1956381">
                  <a:extLst>
                    <a:ext uri="{9D8B030D-6E8A-4147-A177-3AD203B41FA5}">
                      <a16:colId xmlns:a16="http://schemas.microsoft.com/office/drawing/2014/main" val="4278599134"/>
                    </a:ext>
                  </a:extLst>
                </a:gridCol>
              </a:tblGrid>
              <a:tr h="276056">
                <a:tc gridSpan="6">
                  <a:txBody>
                    <a:bodyPr/>
                    <a:lstStyle/>
                    <a:p>
                      <a:r>
                        <a:rPr lang="en-US" sz="1200">
                          <a:solidFill>
                            <a:schemeClr val="tx2"/>
                          </a:solidFill>
                          <a:latin typeface="EYInterstate" panose="02000503020000020004" pitchFamily="2" charset="0"/>
                        </a:rPr>
                        <a:t>DATA SCIENTIST</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00A3AE"/>
                    </a:solidFill>
                  </a:tcPr>
                </a:tc>
                <a:tc hMerge="1">
                  <a:txBody>
                    <a:bodyPr/>
                    <a:lstStyle/>
                    <a:p>
                      <a:endParaRPr lang="en-US" sz="1400">
                        <a:solidFill>
                          <a:srgbClr val="000000"/>
                        </a:solidFill>
                      </a:endParaRPr>
                    </a:p>
                  </a:txBody>
                  <a:tcP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267045867"/>
                  </a:ext>
                </a:extLst>
              </a:tr>
              <a:tr h="276056">
                <a:tc gridSpan="6">
                  <a:txBody>
                    <a:bodyPr/>
                    <a:lstStyle/>
                    <a:p>
                      <a:endParaRPr lang="en-US" sz="1050">
                        <a:solidFill>
                          <a:srgbClr val="45B9BE"/>
                        </a:solidFill>
                        <a:latin typeface="EYInterstate" panose="02000503020000020004" pitchFamily="2" charset="0"/>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2152776218"/>
                  </a:ext>
                </a:extLst>
              </a:tr>
              <a:tr h="460094">
                <a:tc>
                  <a:txBody>
                    <a:bodyPr/>
                    <a:lstStyle/>
                    <a:p>
                      <a:endParaRPr lang="en-US" sz="1050">
                        <a:latin typeface="EYInterstate" panose="02000503020000020004" pitchFamily="2" charset="0"/>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gridSpan="2">
                  <a:txBody>
                    <a:bodyPr/>
                    <a:lstStyle/>
                    <a:p>
                      <a:pPr>
                        <a:spcAft>
                          <a:spcPct val="0"/>
                        </a:spcAft>
                        <a:buClrTx/>
                        <a:buSzTx/>
                        <a:buFontTx/>
                        <a:buNone/>
                      </a:pPr>
                      <a:r>
                        <a:rPr lang="en-US" sz="1200" b="1">
                          <a:solidFill>
                            <a:srgbClr val="000000"/>
                          </a:solidFill>
                          <a:latin typeface="EYInterstate" panose="02000503020000020004" pitchFamily="2" charset="0"/>
                          <a:ea typeface="Century Gothic" charset="0"/>
                          <a:cs typeface="Century Gothic" charset="0"/>
                        </a:rPr>
                        <a:t>Radhika Didwania</a:t>
                      </a:r>
                    </a:p>
                  </a:txBody>
                  <a:tcPr>
                    <a:lnL w="12700" cmpd="sng">
                      <a:noFill/>
                    </a:lnL>
                    <a:lnR w="9525" cap="flat" cmpd="sng" algn="ctr">
                      <a:solidFill>
                        <a:srgbClr val="000000"/>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gridSpan="3">
                  <a:txBody>
                    <a:bodyPr/>
                    <a:lstStyle/>
                    <a:p>
                      <a:r>
                        <a:rPr kumimoji="0" lang="en-US" sz="1200" b="0" i="0" u="none" strike="noStrike" kern="1200" cap="none" spc="0" normalizeH="0" baseline="0" noProof="0">
                          <a:ln>
                            <a:noFill/>
                          </a:ln>
                          <a:solidFill>
                            <a:srgbClr val="000000"/>
                          </a:solidFill>
                          <a:effectLst/>
                          <a:uLnTx/>
                          <a:uFillTx/>
                          <a:latin typeface="EYInterstate" panose="02000503020000020004" pitchFamily="2" charset="0"/>
                        </a:rPr>
                        <a:t>Senior, FSO Data &amp; Analytics</a:t>
                      </a:r>
                    </a:p>
                  </a:txBody>
                  <a:tcPr>
                    <a:lnL w="9525" cap="flat" cmpd="sng" algn="ctr">
                      <a:solidFill>
                        <a:srgbClr val="000000"/>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2083915768"/>
                  </a:ext>
                </a:extLst>
              </a:tr>
              <a:tr h="276056">
                <a:tc>
                  <a:txBody>
                    <a:bodyPr/>
                    <a:lstStyle/>
                    <a:p>
                      <a:endParaRPr lang="en-US" sz="1050">
                        <a:latin typeface="EYInterstate" panose="02000503020000020004" pitchFamily="2" charset="0"/>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gridSpan="2">
                  <a:txBody>
                    <a:bodyPr/>
                    <a:lstStyle/>
                    <a:p>
                      <a:endParaRPr lang="en-US" sz="1050">
                        <a:solidFill>
                          <a:srgbClr val="000000"/>
                        </a:solidFill>
                        <a:latin typeface="EYInterstate" panose="02000503020000020004" pitchFamily="2" charset="0"/>
                      </a:endParaRPr>
                    </a:p>
                  </a:txBody>
                  <a:tcPr>
                    <a:lnL w="12700" cmpd="sng">
                      <a:noFill/>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gridSpan="3">
                  <a:txBody>
                    <a:bodyPr/>
                    <a:lstStyle/>
                    <a:p>
                      <a:endParaRPr lang="en-IN" sz="1200" b="0" i="0">
                        <a:solidFill>
                          <a:srgbClr val="000000"/>
                        </a:solidFill>
                        <a:latin typeface="EYInterstate" panose="02000503020000020004" pitchFamily="2" charset="0"/>
                      </a:endParaRPr>
                    </a:p>
                  </a:txBody>
                  <a:tcPr>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2018406057"/>
                  </a:ext>
                </a:extLst>
              </a:tr>
              <a:tr h="414085">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b="1" u="sng">
                          <a:solidFill>
                            <a:srgbClr val="000000"/>
                          </a:solidFill>
                          <a:latin typeface="EYInterstate" panose="02000503020000020004" pitchFamily="2" charset="0"/>
                        </a:rPr>
                        <a:t>ABLE TO WORK IN SG</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50" b="1">
                        <a:solidFill>
                          <a:srgbClr val="000000"/>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75000"/>
                      </a:schemeClr>
                    </a:solidFill>
                  </a:tcPr>
                </a:tc>
                <a:tc gridSpan="3">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b="1" u="sng">
                          <a:solidFill>
                            <a:srgbClr val="000000"/>
                          </a:solidFill>
                          <a:latin typeface="EYInterstate" panose="02000503020000020004" pitchFamily="2" charset="0"/>
                        </a:rPr>
                        <a:t>HIGHEST EDUCATION</a:t>
                      </a:r>
                      <a:endParaRPr lang="en-US" sz="1050" b="1">
                        <a:solidFill>
                          <a:srgbClr val="000000"/>
                        </a:solidFill>
                        <a:latin typeface="EYInterstate" panose="02000503020000020004" pitchFamily="2"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50" b="1">
                        <a:solidFill>
                          <a:srgbClr val="000000"/>
                        </a:solidFill>
                      </a:endParaRPr>
                    </a:p>
                  </a:txBody>
                  <a:tcPr/>
                </a:tc>
                <a:tc hMerge="1">
                  <a:txBody>
                    <a:bodyPr/>
                    <a:lstStyle/>
                    <a:p>
                      <a:endParaRPr lang="en-US"/>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b="1" u="sng">
                          <a:solidFill>
                            <a:srgbClr val="000000"/>
                          </a:solidFill>
                          <a:latin typeface="EYInterstate" panose="02000503020000020004" pitchFamily="2" charset="0"/>
                        </a:rPr>
                        <a:t>EMPLOYMENT (LAST 3 YEARS)</a:t>
                      </a:r>
                      <a:endParaRPr lang="en-US" sz="1050" b="1">
                        <a:solidFill>
                          <a:srgbClr val="000000"/>
                        </a:solidFill>
                        <a:latin typeface="EYInterstate" panose="02000503020000020004" pitchFamily="2"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46864712"/>
                  </a:ext>
                </a:extLst>
              </a:tr>
              <a:tr h="414085">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b="0" kern="1200">
                          <a:solidFill>
                            <a:srgbClr val="000000"/>
                          </a:solidFill>
                          <a:latin typeface="EYInterstate" panose="02000503020000020004" pitchFamily="2" charset="0"/>
                          <a:ea typeface="+mn-ea"/>
                          <a:cs typeface="+mn-cs"/>
                        </a:rPr>
                        <a:t>Ye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sz="1050" b="0">
                        <a:solidFill>
                          <a:schemeClr val="bg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kern="0">
                          <a:solidFill>
                            <a:srgbClr val="000000"/>
                          </a:solidFill>
                          <a:latin typeface="EYInterstate" panose="02000503020000020004" pitchFamily="2" charset="0"/>
                        </a:rPr>
                        <a:t>Masters in Economics from Delhi School of Economics, India</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b="0" i="0" u="none" strike="noStrike" kern="1200" noProof="0">
                          <a:latin typeface="EYInterstate" panose="02000503020000020004" pitchFamily="2" charset="0"/>
                        </a:rPr>
                        <a:t>EY: 2019 – Presen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050" b="0" i="0" u="none" strike="noStrike" kern="1200" noProof="0">
                          <a:solidFill>
                            <a:srgbClr val="000000"/>
                          </a:solidFill>
                          <a:latin typeface="EYInterstate" panose="02000503020000020004" pitchFamily="2" charset="0"/>
                          <a:ea typeface="+mn-ea"/>
                          <a:cs typeface="+mn-cs"/>
                        </a:rPr>
                        <a:t>HSBC: Prior to 2019</a:t>
                      </a:r>
                      <a:endParaRPr lang="en-US" sz="1050" b="0" kern="1200">
                        <a:solidFill>
                          <a:srgbClr val="000000"/>
                        </a:solidFill>
                        <a:latin typeface="EYInterstate" panose="02000503020000020004" pitchFamily="2" charset="0"/>
                        <a:ea typeface="+mn-ea"/>
                        <a:cs typeface="+mn-cs"/>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47307066"/>
                  </a:ext>
                </a:extLst>
              </a:tr>
              <a:tr h="253052">
                <a:tc gridSpan="6">
                  <a:txBody>
                    <a:bodyPr/>
                    <a:lstStyle/>
                    <a:p>
                      <a:pPr marL="0" algn="l" defTabSz="914400" rtl="0" eaLnBrk="1" latinLnBrk="0" hangingPunct="1"/>
                      <a:r>
                        <a:rPr lang="en-US" sz="1050" b="1" u="sng" kern="1200">
                          <a:solidFill>
                            <a:srgbClr val="000000"/>
                          </a:solidFill>
                          <a:latin typeface="EYInterstate" panose="02000503020000020004" pitchFamily="2" charset="0"/>
                          <a:ea typeface="+mn-ea"/>
                          <a:cs typeface="+mn-cs"/>
                        </a:rPr>
                        <a:t>BACKGROUND</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3678239183"/>
                  </a:ext>
                </a:extLst>
              </a:tr>
              <a:tr h="897183">
                <a:tc gridSpan="6">
                  <a:txBody>
                    <a:bodyPr/>
                    <a:lstStyle/>
                    <a:p>
                      <a:pPr marL="171450" indent="-171450" algn="l" defTabSz="914400" rtl="0" eaLnBrk="1" latinLnBrk="0" hangingPunct="1">
                        <a:buFont typeface="Arial" panose="020B0604020202020204" pitchFamily="34" charset="0"/>
                        <a:buChar char="•"/>
                      </a:pPr>
                      <a:r>
                        <a:rPr lang="en-US" sz="1050" b="0" kern="1200" dirty="0">
                          <a:solidFill>
                            <a:srgbClr val="000000"/>
                          </a:solidFill>
                          <a:latin typeface="EYInterstate" panose="02000503020000020004" pitchFamily="2" charset="0"/>
                          <a:ea typeface="+mn-ea"/>
                          <a:cs typeface="+mn-cs"/>
                        </a:rPr>
                        <a:t>Radhika is a Senior Associate EY’s Consulting Practice, Performance Improvement, focusing on Banking &amp; Financial Services sector.</a:t>
                      </a:r>
                    </a:p>
                    <a:p>
                      <a:pPr marL="171450" indent="-171450" algn="l" defTabSz="914400" rtl="0" eaLnBrk="1" latinLnBrk="0" hangingPunct="1">
                        <a:buFont typeface="Arial" panose="020B0604020202020204" pitchFamily="34" charset="0"/>
                        <a:buChar char="•"/>
                      </a:pPr>
                      <a:r>
                        <a:rPr lang="en-US" sz="1050" b="0" kern="1200" dirty="0">
                          <a:solidFill>
                            <a:srgbClr val="000000"/>
                          </a:solidFill>
                          <a:latin typeface="EYInterstate" panose="02000503020000020004" pitchFamily="2" charset="0"/>
                          <a:ea typeface="+mn-ea"/>
                          <a:cs typeface="+mn-cs"/>
                        </a:rPr>
                        <a:t>Radhika has 6+ years of experience in the analytics domain and her core areas of focus are data management &amp; analytic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3917136942"/>
                  </a:ext>
                </a:extLst>
              </a:tr>
              <a:tr h="253052">
                <a:tc gridSpan="6">
                  <a:txBody>
                    <a:bodyPr/>
                    <a:lstStyle/>
                    <a:p>
                      <a:pPr marL="0" marR="0" lvl="0" indent="0" algn="l" defTabSz="1266737" rtl="0" eaLnBrk="1" latinLnBrk="0" hangingPunct="1">
                        <a:lnSpc>
                          <a:spcPct val="100000"/>
                        </a:lnSpc>
                        <a:spcBef>
                          <a:spcPts val="0"/>
                        </a:spcBef>
                        <a:spcAft>
                          <a:spcPts val="0"/>
                        </a:spcAft>
                        <a:buNone/>
                      </a:pPr>
                      <a:r>
                        <a:rPr lang="en-US" sz="1050" b="1" u="sng" kern="1200" noProof="0">
                          <a:solidFill>
                            <a:srgbClr val="000000"/>
                          </a:solidFill>
                          <a:latin typeface="EYInterstate" panose="02000503020000020004" pitchFamily="2" charset="0"/>
                          <a:ea typeface="+mn-ea"/>
                          <a:cs typeface="+mn-cs"/>
                        </a:rPr>
                        <a:t>PROFESSIONAL CAPABILITIE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a:p>
                  </a:txBody>
                  <a:tcPr/>
                </a:tc>
                <a:tc hMerge="1">
                  <a:txBody>
                    <a:bodyPr/>
                    <a:lstStyle/>
                    <a:p>
                      <a:pPr marL="0" marR="0" lvl="0" indent="0" algn="l">
                        <a:lnSpc>
                          <a:spcPct val="100000"/>
                        </a:lnSpc>
                        <a:spcBef>
                          <a:spcPts val="0"/>
                        </a:spcBef>
                        <a:spcAft>
                          <a:spcPts val="0"/>
                        </a:spcAft>
                        <a:buNone/>
                      </a:pPr>
                      <a:endParaRPr lang="en-US" sz="1050" b="0" i="0" u="none" strike="noStrike" kern="1200" noProof="0">
                        <a:highlight>
                          <a:srgbClr val="FFFF00"/>
                        </a:highlight>
                      </a:endParaRPr>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2989454977"/>
                  </a:ext>
                </a:extLst>
              </a:tr>
              <a:tr h="591629">
                <a:tc gridSpan="4">
                  <a:txBody>
                    <a:bodyPr/>
                    <a:lstStyle/>
                    <a:p>
                      <a:pPr marL="171450" marR="0" lvl="0" indent="-171450" algn="l" defTabSz="1266737" rtl="0" eaLnBrk="1" latinLnBrk="0" hangingPunct="1">
                        <a:lnSpc>
                          <a:spcPct val="100000"/>
                        </a:lnSpc>
                        <a:spcBef>
                          <a:spcPts val="0"/>
                        </a:spcBef>
                        <a:spcAft>
                          <a:spcPts val="0"/>
                        </a:spcAft>
                        <a:buFont typeface="Arial" panose="020B0604020202020204" pitchFamily="34" charset="0"/>
                        <a:buChar char="•"/>
                      </a:pPr>
                      <a:r>
                        <a:rPr kumimoji="0" lang="en-US" sz="1050" b="0" i="0" u="none" strike="noStrike" kern="1200" cap="none" spc="0" normalizeH="0" baseline="0" noProof="0">
                          <a:ln>
                            <a:noFill/>
                          </a:ln>
                          <a:solidFill>
                            <a:srgbClr val="000000"/>
                          </a:solidFill>
                          <a:effectLst/>
                          <a:uLnTx/>
                          <a:uFillTx/>
                          <a:latin typeface="EYInterstate" panose="02000503020000020004" pitchFamily="2" charset="0"/>
                          <a:ea typeface="+mn-ea"/>
                          <a:cs typeface="+mn-cs"/>
                        </a:rPr>
                        <a:t>Data Management</a:t>
                      </a:r>
                    </a:p>
                    <a:p>
                      <a:pPr marL="171450" marR="0" lvl="0" indent="-171450" algn="l" defTabSz="1266737" rtl="0" eaLnBrk="1" latinLnBrk="0" hangingPunct="1">
                        <a:lnSpc>
                          <a:spcPct val="100000"/>
                        </a:lnSpc>
                        <a:spcBef>
                          <a:spcPts val="0"/>
                        </a:spcBef>
                        <a:spcAft>
                          <a:spcPts val="0"/>
                        </a:spcAft>
                        <a:buFont typeface="Arial" panose="020B0604020202020204" pitchFamily="34" charset="0"/>
                        <a:buChar char="•"/>
                      </a:pPr>
                      <a:r>
                        <a:rPr kumimoji="0" lang="en-US" sz="1050" b="0" i="0" u="none" strike="noStrike" kern="1200" cap="none" spc="0" normalizeH="0" baseline="0" noProof="0">
                          <a:ln>
                            <a:noFill/>
                          </a:ln>
                          <a:solidFill>
                            <a:srgbClr val="000000"/>
                          </a:solidFill>
                          <a:effectLst/>
                          <a:uLnTx/>
                          <a:uFillTx/>
                          <a:latin typeface="EYInterstate" panose="02000503020000020004" pitchFamily="2" charset="0"/>
                          <a:ea typeface="+mn-ea"/>
                          <a:cs typeface="+mn-cs"/>
                        </a:rPr>
                        <a:t>Customer segmentation</a:t>
                      </a:r>
                    </a:p>
                    <a:p>
                      <a:pPr marL="171450" marR="0" lvl="0" indent="-171450" algn="l" defTabSz="1266737" rtl="0" eaLnBrk="1" latinLnBrk="0" hangingPunct="1">
                        <a:lnSpc>
                          <a:spcPct val="100000"/>
                        </a:lnSpc>
                        <a:spcBef>
                          <a:spcPts val="0"/>
                        </a:spcBef>
                        <a:spcAft>
                          <a:spcPts val="0"/>
                        </a:spcAft>
                        <a:buFont typeface="Arial" panose="020B0604020202020204" pitchFamily="34" charset="0"/>
                        <a:buChar char="•"/>
                      </a:pPr>
                      <a:r>
                        <a:rPr kumimoji="0" lang="en-US" sz="1050" b="0" i="0" u="none" strike="noStrike" kern="1200" cap="none" spc="0" normalizeH="0" baseline="0" noProof="0">
                          <a:ln>
                            <a:noFill/>
                          </a:ln>
                          <a:solidFill>
                            <a:srgbClr val="000000"/>
                          </a:solidFill>
                          <a:effectLst/>
                          <a:uLnTx/>
                          <a:uFillTx/>
                          <a:latin typeface="EYInterstate" panose="02000503020000020004" pitchFamily="2" charset="0"/>
                          <a:ea typeface="+mn-ea"/>
                          <a:cs typeface="+mn-cs"/>
                        </a:rPr>
                        <a:t>Predictive Modeling </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a:p>
                  </a:txBody>
                  <a:tcPr/>
                </a:tc>
                <a:tc hMerge="1">
                  <a:txBody>
                    <a:bodyPr/>
                    <a:lstStyle/>
                    <a:p>
                      <a:endParaRPr lang="en-US"/>
                    </a:p>
                  </a:txBody>
                  <a:tcPr/>
                </a:tc>
                <a:tc gridSpan="2">
                  <a:txBody>
                    <a:bodyPr/>
                    <a:lstStyle/>
                    <a:p>
                      <a:pPr marL="171450" marR="0" lvl="0" indent="-171450" algn="l" defTabSz="1266737" rtl="0" eaLnBrk="1" latinLnBrk="0" hangingPunct="1">
                        <a:lnSpc>
                          <a:spcPct val="100000"/>
                        </a:lnSpc>
                        <a:spcBef>
                          <a:spcPts val="0"/>
                        </a:spcBef>
                        <a:spcAft>
                          <a:spcPts val="0"/>
                        </a:spcAft>
                        <a:buFont typeface="Arial" panose="020B0604020202020204" pitchFamily="34" charset="0"/>
                        <a:buChar char="•"/>
                      </a:pPr>
                      <a:r>
                        <a:rPr kumimoji="0" lang="en-US" sz="1050" b="0" i="0" u="none" strike="noStrike" kern="1200" cap="none" spc="0" normalizeH="0" baseline="0" noProof="0">
                          <a:ln>
                            <a:noFill/>
                          </a:ln>
                          <a:solidFill>
                            <a:srgbClr val="000000"/>
                          </a:solidFill>
                          <a:effectLst/>
                          <a:uLnTx/>
                          <a:uFillTx/>
                          <a:latin typeface="EYInterstate" panose="02000503020000020004" pitchFamily="2" charset="0"/>
                          <a:ea typeface="+mn-ea"/>
                          <a:cs typeface="+mn-cs"/>
                        </a:rPr>
                        <a:t>Advanced analytics</a:t>
                      </a:r>
                    </a:p>
                    <a:p>
                      <a:pPr marL="171450" marR="0" lvl="0" indent="-171450" algn="l" defTabSz="1266737" rtl="0" eaLnBrk="1" latinLnBrk="0" hangingPunct="1">
                        <a:lnSpc>
                          <a:spcPct val="100000"/>
                        </a:lnSpc>
                        <a:spcBef>
                          <a:spcPts val="0"/>
                        </a:spcBef>
                        <a:spcAft>
                          <a:spcPts val="0"/>
                        </a:spcAft>
                        <a:buFont typeface="Arial" panose="020B0604020202020204" pitchFamily="34" charset="0"/>
                        <a:buChar char="•"/>
                      </a:pPr>
                      <a:r>
                        <a:rPr kumimoji="0" lang="en-US" sz="1050" b="0" i="0" u="none" strike="noStrike" kern="1200" cap="none" spc="0" normalizeH="0" baseline="0" noProof="0">
                          <a:ln>
                            <a:noFill/>
                          </a:ln>
                          <a:solidFill>
                            <a:srgbClr val="000000"/>
                          </a:solidFill>
                          <a:effectLst/>
                          <a:uLnTx/>
                          <a:uFillTx/>
                          <a:latin typeface="EYInterstate" panose="02000503020000020004" pitchFamily="2" charset="0"/>
                          <a:ea typeface="+mn-ea"/>
                          <a:cs typeface="+mn-cs"/>
                        </a:rPr>
                        <a:t>SAS, SQL, R, SAS </a:t>
                      </a:r>
                      <a:r>
                        <a:rPr kumimoji="0" lang="en-US" sz="1050" b="0" i="0" u="none" strike="noStrike" kern="1200" cap="none" spc="0" normalizeH="0" baseline="0" noProof="0" err="1">
                          <a:ln>
                            <a:noFill/>
                          </a:ln>
                          <a:solidFill>
                            <a:srgbClr val="000000"/>
                          </a:solidFill>
                          <a:effectLst/>
                          <a:uLnTx/>
                          <a:uFillTx/>
                          <a:latin typeface="EYInterstate" panose="02000503020000020004" pitchFamily="2" charset="0"/>
                          <a:ea typeface="+mn-ea"/>
                          <a:cs typeface="+mn-cs"/>
                        </a:rPr>
                        <a:t>Viya</a:t>
                      </a:r>
                      <a:r>
                        <a:rPr kumimoji="0" lang="en-US" sz="1050" b="0" i="0" u="none" strike="noStrike" kern="1200" cap="none" spc="0" normalizeH="0" baseline="0" noProof="0">
                          <a:ln>
                            <a:noFill/>
                          </a:ln>
                          <a:solidFill>
                            <a:srgbClr val="000000"/>
                          </a:solidFill>
                          <a:effectLst/>
                          <a:uLnTx/>
                          <a:uFillTx/>
                          <a:latin typeface="EYInterstate" panose="02000503020000020004" pitchFamily="2" charset="0"/>
                          <a:ea typeface="+mn-ea"/>
                          <a:cs typeface="+mn-cs"/>
                        </a:rPr>
                        <a:t>, SAS E-miner</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extLst>
                  <a:ext uri="{0D108BD9-81ED-4DB2-BD59-A6C34878D82A}">
                    <a16:rowId xmlns:a16="http://schemas.microsoft.com/office/drawing/2014/main" val="325936331"/>
                  </a:ext>
                </a:extLst>
              </a:tr>
              <a:tr h="253052">
                <a:tc gridSpan="6">
                  <a:txBody>
                    <a:bodyPr/>
                    <a:lstStyle/>
                    <a:p>
                      <a:pPr marL="0" algn="l" defTabSz="914400" rtl="0" eaLnBrk="1" latinLnBrk="0" hangingPunct="1"/>
                      <a:r>
                        <a:rPr lang="en-US" sz="1050" b="1" u="sng" kern="1200">
                          <a:solidFill>
                            <a:srgbClr val="000000"/>
                          </a:solidFill>
                          <a:latin typeface="EYInterstate" panose="02000503020000020004" pitchFamily="2" charset="0"/>
                          <a:ea typeface="+mn-ea"/>
                          <a:cs typeface="+mn-cs"/>
                        </a:rPr>
                        <a:t>RELEVANT EXPERIENCE</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3322682632"/>
                  </a:ext>
                </a:extLst>
              </a:tr>
              <a:tr h="1863381">
                <a:tc gridSpan="6">
                  <a:txBody>
                    <a:bodyPr/>
                    <a:lstStyle/>
                    <a:p>
                      <a:pPr marL="171450" marR="0" lvl="0" indent="-171450" algn="l" defTabSz="1266737" rtl="0" eaLnBrk="1" latinLnBrk="0" hangingPunct="1">
                        <a:lnSpc>
                          <a:spcPct val="100000"/>
                        </a:lnSpc>
                        <a:spcBef>
                          <a:spcPts val="0"/>
                        </a:spcBef>
                        <a:spcAft>
                          <a:spcPts val="0"/>
                        </a:spcAft>
                        <a:buFont typeface="Arial" panose="020B0604020202020204" pitchFamily="34" charset="0"/>
                        <a:buChar char="•"/>
                      </a:pPr>
                      <a:r>
                        <a:rPr kumimoji="0" lang="en-US" sz="1050" b="0" i="0" u="none" strike="noStrike" kern="1200" cap="none" spc="0" normalizeH="0" baseline="0" noProof="0" dirty="0">
                          <a:ln>
                            <a:noFill/>
                          </a:ln>
                          <a:solidFill>
                            <a:srgbClr val="000000"/>
                          </a:solidFill>
                          <a:effectLst/>
                          <a:uLnTx/>
                          <a:uFillTx/>
                          <a:latin typeface="EYInterstate" panose="02000503020000020004" pitchFamily="2" charset="0"/>
                          <a:ea typeface="+mn-ea"/>
                          <a:cs typeface="+mn-cs"/>
                        </a:rPr>
                        <a:t>Conceptualized and executed the end-end upgrades strategy for retail business of a large UK bank for 2017 to meet a stringent AOP target. Using SOM and Gradient  Boosting, a 2-step framework was developed to first define quality and then identify customers most likely to drive that quality post  upgrade. The framework has now become a BAU upgrade strategy resulting in $1.1m incremental revenue so far. </a:t>
                      </a:r>
                    </a:p>
                    <a:p>
                      <a:pPr marL="171450" marR="0" lvl="0" indent="-171450" algn="l" defTabSz="1266737" rtl="0" eaLnBrk="1" latinLnBrk="0" hangingPunct="1">
                        <a:lnSpc>
                          <a:spcPct val="100000"/>
                        </a:lnSpc>
                        <a:spcBef>
                          <a:spcPts val="0"/>
                        </a:spcBef>
                        <a:spcAft>
                          <a:spcPts val="0"/>
                        </a:spcAft>
                        <a:buFont typeface="Arial" panose="020B0604020202020204" pitchFamily="34" charset="0"/>
                        <a:buChar char="•"/>
                      </a:pPr>
                      <a:endParaRPr kumimoji="0" lang="en-US" sz="1050" b="0" i="0" u="none" strike="noStrike" kern="1200" cap="none" spc="0" normalizeH="0" baseline="0" noProof="0" dirty="0">
                        <a:ln>
                          <a:noFill/>
                        </a:ln>
                        <a:solidFill>
                          <a:srgbClr val="000000"/>
                        </a:solidFill>
                        <a:effectLst/>
                        <a:uLnTx/>
                        <a:uFillTx/>
                        <a:latin typeface="EYInterstate" panose="02000503020000020004" pitchFamily="2" charset="0"/>
                        <a:ea typeface="+mn-ea"/>
                        <a:cs typeface="+mn-cs"/>
                      </a:endParaRPr>
                    </a:p>
                    <a:p>
                      <a:pPr marL="171450" marR="0" lvl="0" indent="-171450" algn="l" defTabSz="1266737" rtl="0" eaLnBrk="1" latinLnBrk="0" hangingPunct="1">
                        <a:lnSpc>
                          <a:spcPct val="100000"/>
                        </a:lnSpc>
                        <a:spcBef>
                          <a:spcPts val="0"/>
                        </a:spcBef>
                        <a:spcAft>
                          <a:spcPts val="0"/>
                        </a:spcAft>
                        <a:buFont typeface="Arial" panose="020B0604020202020204" pitchFamily="34" charset="0"/>
                        <a:buChar char="•"/>
                      </a:pPr>
                      <a:r>
                        <a:rPr kumimoji="0" lang="en-US" sz="1050" b="0" i="0" u="none" strike="noStrike" kern="1200" cap="none" spc="0" normalizeH="0" baseline="0" noProof="0" dirty="0">
                          <a:ln>
                            <a:noFill/>
                          </a:ln>
                          <a:solidFill>
                            <a:srgbClr val="000000"/>
                          </a:solidFill>
                          <a:effectLst/>
                          <a:uLnTx/>
                          <a:uFillTx/>
                          <a:latin typeface="EYInterstate" panose="02000503020000020004" pitchFamily="2" charset="0"/>
                          <a:ea typeface="+mn-ea"/>
                          <a:cs typeface="+mn-cs"/>
                        </a:rPr>
                        <a:t>Developed multiple propensity models for identify customer’s affinity towards different product including cards, loans, mortgages. Developed cross-sell &amp; up-sell models for different customer segments including card cross sell to mortgage customers, savings account to customers with high current account balances regularly to name a few.</a:t>
                      </a:r>
                    </a:p>
                    <a:p>
                      <a:pPr marL="171450" marR="0" lvl="0" indent="-171450" algn="l" defTabSz="1266737" rtl="0" eaLnBrk="1" latinLnBrk="0" hangingPunct="1">
                        <a:lnSpc>
                          <a:spcPct val="100000"/>
                        </a:lnSpc>
                        <a:spcBef>
                          <a:spcPts val="0"/>
                        </a:spcBef>
                        <a:spcAft>
                          <a:spcPts val="0"/>
                        </a:spcAft>
                        <a:buFont typeface="Arial" panose="020B0604020202020204" pitchFamily="34" charset="0"/>
                        <a:buChar char="•"/>
                      </a:pPr>
                      <a:endParaRPr kumimoji="0" lang="en-US" sz="1050" b="0" i="0" u="none" strike="noStrike" kern="1200" cap="none" spc="0" normalizeH="0" baseline="0" noProof="0" dirty="0">
                        <a:ln>
                          <a:noFill/>
                        </a:ln>
                        <a:solidFill>
                          <a:srgbClr val="000000"/>
                        </a:solidFill>
                        <a:effectLst/>
                        <a:uLnTx/>
                        <a:uFillTx/>
                        <a:latin typeface="EYInterstate" panose="02000503020000020004" pitchFamily="2" charset="0"/>
                        <a:ea typeface="+mn-ea"/>
                        <a:cs typeface="+mn-cs"/>
                      </a:endParaRPr>
                    </a:p>
                    <a:p>
                      <a:pPr marL="171450" marR="0" lvl="0" indent="-171450" algn="l" defTabSz="1266737" rtl="0" eaLnBrk="1" latinLnBrk="0" hangingPunct="1">
                        <a:lnSpc>
                          <a:spcPct val="100000"/>
                        </a:lnSpc>
                        <a:spcBef>
                          <a:spcPts val="0"/>
                        </a:spcBef>
                        <a:spcAft>
                          <a:spcPts val="0"/>
                        </a:spcAft>
                        <a:buFont typeface="Arial" panose="020B0604020202020204" pitchFamily="34" charset="0"/>
                        <a:buChar char="•"/>
                      </a:pPr>
                      <a:r>
                        <a:rPr kumimoji="0" lang="en-US" sz="1050" b="0" i="0" u="none" strike="noStrike" kern="1200" cap="none" spc="0" normalizeH="0" baseline="0" noProof="0" dirty="0">
                          <a:ln>
                            <a:noFill/>
                          </a:ln>
                          <a:solidFill>
                            <a:srgbClr val="000000"/>
                          </a:solidFill>
                          <a:effectLst/>
                          <a:uLnTx/>
                          <a:uFillTx/>
                          <a:latin typeface="EYInterstate" panose="02000503020000020004" pitchFamily="2" charset="0"/>
                          <a:ea typeface="+mn-ea"/>
                          <a:cs typeface="+mn-cs"/>
                        </a:rPr>
                        <a:t>Developed and implemented a framework to predict customer life moments using machine learning models, with particular focus on feature  engineering. </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2087447848"/>
                  </a:ext>
                </a:extLst>
              </a:tr>
            </a:tbl>
          </a:graphicData>
        </a:graphic>
      </p:graphicFrame>
      <p:sp>
        <p:nvSpPr>
          <p:cNvPr id="3" name="Title 2">
            <a:extLst>
              <a:ext uri="{FF2B5EF4-FFF2-40B4-BE49-F238E27FC236}">
                <a16:creationId xmlns:a16="http://schemas.microsoft.com/office/drawing/2014/main" id="{2628184F-BB51-4520-9982-EA93EF50D704}"/>
              </a:ext>
            </a:extLst>
          </p:cNvPr>
          <p:cNvSpPr>
            <a:spLocks noGrp="1"/>
          </p:cNvSpPr>
          <p:nvPr>
            <p:ph type="title"/>
          </p:nvPr>
        </p:nvSpPr>
        <p:spPr/>
        <p:txBody>
          <a:bodyPr/>
          <a:lstStyle/>
          <a:p>
            <a:r>
              <a:rPr lang="en-GB"/>
              <a:t>Our data science and data management team</a:t>
            </a:r>
            <a:endParaRPr lang="en-US"/>
          </a:p>
        </p:txBody>
      </p:sp>
      <p:pic>
        <p:nvPicPr>
          <p:cNvPr id="8" name="Picture 2" descr="User Photo">
            <a:extLst>
              <a:ext uri="{FF2B5EF4-FFF2-40B4-BE49-F238E27FC236}">
                <a16:creationId xmlns:a16="http://schemas.microsoft.com/office/drawing/2014/main" id="{714FCFD9-E9FD-47E1-B581-D9E494975E8B}"/>
              </a:ext>
            </a:extLst>
          </p:cNvPr>
          <p:cNvPicPr>
            <a:picLocks noChangeAspect="1" noChangeArrowheads="1"/>
          </p:cNvPicPr>
          <p:nvPr/>
        </p:nvPicPr>
        <p:blipFill>
          <a:blip r:embed="rId3" cstate="print">
            <a:grayscl/>
            <a:extLst>
              <a:ext uri="{28A0092B-C50C-407E-A947-70E740481C1C}">
                <a14:useLocalDpi xmlns:a14="http://schemas.microsoft.com/office/drawing/2010/main" val="0"/>
              </a:ext>
            </a:extLst>
          </a:blip>
          <a:srcRect/>
          <a:stretch>
            <a:fillRect/>
          </a:stretch>
        </p:blipFill>
        <p:spPr bwMode="auto">
          <a:xfrm>
            <a:off x="1278545" y="1296835"/>
            <a:ext cx="777969" cy="735523"/>
          </a:xfrm>
          <a:prstGeom prst="flowChartConnector">
            <a:avLst/>
          </a:prstGeom>
          <a:noFill/>
          <a:effectLst/>
          <a:extLst>
            <a:ext uri="{909E8E84-426E-40DD-AFC4-6F175D3DCCD1}">
              <a14:hiddenFill xmlns:a14="http://schemas.microsoft.com/office/drawing/2010/main">
                <a:solidFill>
                  <a:srgbClr val="FFFFFF"/>
                </a:solidFill>
              </a14:hiddenFill>
            </a:ext>
          </a:extLst>
        </p:spPr>
      </p:pic>
      <p:pic>
        <p:nvPicPr>
          <p:cNvPr id="9" name="Picture 8">
            <a:extLst>
              <a:ext uri="{FF2B5EF4-FFF2-40B4-BE49-F238E27FC236}">
                <a16:creationId xmlns:a16="http://schemas.microsoft.com/office/drawing/2014/main" id="{C735E0FC-CC7C-4657-AE0F-2E6C661C9CCB}"/>
              </a:ext>
            </a:extLst>
          </p:cNvPr>
          <p:cNvPicPr>
            <a:picLocks noChangeAspect="1"/>
          </p:cNvPicPr>
          <p:nvPr/>
        </p:nvPicPr>
        <p:blipFill rotWithShape="1">
          <a:blip r:embed="rId4">
            <a:grayscl/>
            <a:extLst>
              <a:ext uri="{28A0092B-C50C-407E-A947-70E740481C1C}">
                <a14:useLocalDpi xmlns:a14="http://schemas.microsoft.com/office/drawing/2010/main" val="0"/>
              </a:ext>
            </a:extLst>
          </a:blip>
          <a:srcRect t="3939" b="20045"/>
          <a:stretch/>
        </p:blipFill>
        <p:spPr>
          <a:xfrm>
            <a:off x="7797805" y="1307469"/>
            <a:ext cx="793303" cy="760138"/>
          </a:xfrm>
          <a:prstGeom prst="flowChartConnector">
            <a:avLst/>
          </a:prstGeom>
        </p:spPr>
      </p:pic>
    </p:spTree>
    <p:extLst>
      <p:ext uri="{BB962C8B-B14F-4D97-AF65-F5344CB8AC3E}">
        <p14:creationId xmlns:p14="http://schemas.microsoft.com/office/powerpoint/2010/main" val="252565012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able 14">
            <a:extLst>
              <a:ext uri="{FF2B5EF4-FFF2-40B4-BE49-F238E27FC236}">
                <a16:creationId xmlns:a16="http://schemas.microsoft.com/office/drawing/2014/main" id="{AB246BD7-8CD9-4EE2-86E8-8DD09648499A}"/>
              </a:ext>
            </a:extLst>
          </p:cNvPr>
          <p:cNvGraphicFramePr>
            <a:graphicFrameLocks noGrp="1"/>
          </p:cNvGraphicFramePr>
          <p:nvPr>
            <p:extLst>
              <p:ext uri="{D42A27DB-BD31-4B8C-83A1-F6EECF244321}">
                <p14:modId xmlns:p14="http://schemas.microsoft.com/office/powerpoint/2010/main" val="2875060438"/>
              </p:ext>
            </p:extLst>
          </p:nvPr>
        </p:nvGraphicFramePr>
        <p:xfrm>
          <a:off x="799749" y="979200"/>
          <a:ext cx="5921726" cy="6187440"/>
        </p:xfrm>
        <a:graphic>
          <a:graphicData uri="http://schemas.openxmlformats.org/drawingml/2006/table">
            <a:tbl>
              <a:tblPr firstRow="1" bandRow="1">
                <a:tableStyleId>{073A0DAA-6AF3-43AB-8588-CEC1D06C72B9}</a:tableStyleId>
              </a:tblPr>
              <a:tblGrid>
                <a:gridCol w="899234">
                  <a:extLst>
                    <a:ext uri="{9D8B030D-6E8A-4147-A177-3AD203B41FA5}">
                      <a16:colId xmlns:a16="http://schemas.microsoft.com/office/drawing/2014/main" val="3339861616"/>
                    </a:ext>
                  </a:extLst>
                </a:gridCol>
                <a:gridCol w="662410">
                  <a:extLst>
                    <a:ext uri="{9D8B030D-6E8A-4147-A177-3AD203B41FA5}">
                      <a16:colId xmlns:a16="http://schemas.microsoft.com/office/drawing/2014/main" val="2049419460"/>
                    </a:ext>
                  </a:extLst>
                </a:gridCol>
                <a:gridCol w="1059539">
                  <a:extLst>
                    <a:ext uri="{9D8B030D-6E8A-4147-A177-3AD203B41FA5}">
                      <a16:colId xmlns:a16="http://schemas.microsoft.com/office/drawing/2014/main" val="3035228617"/>
                    </a:ext>
                  </a:extLst>
                </a:gridCol>
                <a:gridCol w="339680">
                  <a:extLst>
                    <a:ext uri="{9D8B030D-6E8A-4147-A177-3AD203B41FA5}">
                      <a16:colId xmlns:a16="http://schemas.microsoft.com/office/drawing/2014/main" val="3827351894"/>
                    </a:ext>
                  </a:extLst>
                </a:gridCol>
                <a:gridCol w="1015783">
                  <a:extLst>
                    <a:ext uri="{9D8B030D-6E8A-4147-A177-3AD203B41FA5}">
                      <a16:colId xmlns:a16="http://schemas.microsoft.com/office/drawing/2014/main" val="176887173"/>
                    </a:ext>
                  </a:extLst>
                </a:gridCol>
                <a:gridCol w="1945080">
                  <a:extLst>
                    <a:ext uri="{9D8B030D-6E8A-4147-A177-3AD203B41FA5}">
                      <a16:colId xmlns:a16="http://schemas.microsoft.com/office/drawing/2014/main" val="68510237"/>
                    </a:ext>
                  </a:extLst>
                </a:gridCol>
              </a:tblGrid>
              <a:tr h="251864">
                <a:tc gridSpan="6">
                  <a:txBody>
                    <a:bodyPr/>
                    <a:lstStyle/>
                    <a:p>
                      <a:r>
                        <a:rPr lang="en-US" sz="1200">
                          <a:solidFill>
                            <a:schemeClr val="tx2"/>
                          </a:solidFill>
                        </a:rPr>
                        <a:t>DATA SCIENTIST</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00A3AE"/>
                    </a:solidFill>
                  </a:tcPr>
                </a:tc>
                <a:tc hMerge="1">
                  <a:txBody>
                    <a:bodyPr/>
                    <a:lstStyle/>
                    <a:p>
                      <a:endParaRPr lang="en-US" sz="1400">
                        <a:solidFill>
                          <a:srgbClr val="000000"/>
                        </a:solidFill>
                      </a:endParaRPr>
                    </a:p>
                  </a:txBody>
                  <a:tcP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lnL w="12700" cmpd="sng">
                      <a:noFill/>
                    </a:lnL>
                  </a:tcPr>
                </a:tc>
                <a:extLst>
                  <a:ext uri="{0D108BD9-81ED-4DB2-BD59-A6C34878D82A}">
                    <a16:rowId xmlns:a16="http://schemas.microsoft.com/office/drawing/2014/main" val="1267045867"/>
                  </a:ext>
                </a:extLst>
              </a:tr>
              <a:tr h="274320">
                <a:tc gridSpan="6">
                  <a:txBody>
                    <a:bodyPr/>
                    <a:lstStyle/>
                    <a:p>
                      <a:endParaRPr lang="en-US" sz="1050">
                        <a:solidFill>
                          <a:srgbClr val="45B9BE"/>
                        </a:solidFill>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lnL w="12700" cmpd="sng">
                      <a:noFill/>
                    </a:lnL>
                  </a:tcPr>
                </a:tc>
                <a:extLst>
                  <a:ext uri="{0D108BD9-81ED-4DB2-BD59-A6C34878D82A}">
                    <a16:rowId xmlns:a16="http://schemas.microsoft.com/office/drawing/2014/main" val="2152776218"/>
                  </a:ext>
                </a:extLst>
              </a:tr>
              <a:tr h="225120">
                <a:tc>
                  <a:txBody>
                    <a:bodyPr/>
                    <a:lstStyle/>
                    <a:p>
                      <a:endParaRPr lang="en-US" sz="1050"/>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gridSpan="2">
                  <a:txBody>
                    <a:bodyPr/>
                    <a:lstStyle/>
                    <a:p>
                      <a:pPr algn="r"/>
                      <a:r>
                        <a:rPr kumimoji="0" lang="en-IN" sz="1200" b="1" i="0" u="none" strike="noStrike" kern="1200" cap="none" spc="0" normalizeH="0" baseline="0" noProof="0">
                          <a:ln>
                            <a:noFill/>
                          </a:ln>
                          <a:solidFill>
                            <a:srgbClr val="000000"/>
                          </a:solidFill>
                          <a:effectLst/>
                          <a:uLnTx/>
                          <a:uFillTx/>
                          <a:latin typeface="+mn-lt"/>
                        </a:rPr>
                        <a:t>Bunyamin Kizildemir</a:t>
                      </a:r>
                    </a:p>
                  </a:txBody>
                  <a:tcPr>
                    <a:lnL w="12700" cmpd="sng">
                      <a:noFill/>
                    </a:lnL>
                    <a:lnR w="9525" cap="flat" cmpd="sng" algn="ctr">
                      <a:solidFill>
                        <a:srgbClr val="000000"/>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gridSpan="3">
                  <a:txBody>
                    <a:bodyPr/>
                    <a:lstStyle/>
                    <a:p>
                      <a:endParaRPr kumimoji="0" lang="en-US" sz="1200" b="0" i="0" u="none" strike="noStrike" kern="1200" cap="none" spc="0" normalizeH="0" baseline="0" noProof="0" dirty="0">
                        <a:ln>
                          <a:noFill/>
                        </a:ln>
                        <a:solidFill>
                          <a:srgbClr val="000000"/>
                        </a:solidFill>
                        <a:effectLst/>
                        <a:uLnTx/>
                        <a:uFillTx/>
                        <a:latin typeface="+mn-lt"/>
                      </a:endParaRPr>
                    </a:p>
                  </a:txBody>
                  <a:tcPr>
                    <a:lnL w="9525" cap="flat" cmpd="sng" algn="ctr">
                      <a:solidFill>
                        <a:srgbClr val="000000"/>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a:p>
                  </a:txBody>
                  <a:tcPr>
                    <a:lnL w="12700" cmpd="sng">
                      <a:noFill/>
                    </a:lnL>
                  </a:tcPr>
                </a:tc>
                <a:extLst>
                  <a:ext uri="{0D108BD9-81ED-4DB2-BD59-A6C34878D82A}">
                    <a16:rowId xmlns:a16="http://schemas.microsoft.com/office/drawing/2014/main" val="2083915768"/>
                  </a:ext>
                </a:extLst>
              </a:tr>
              <a:tr h="0">
                <a:tc gridSpan="6">
                  <a:txBody>
                    <a:bodyPr/>
                    <a:lstStyle/>
                    <a:p>
                      <a:endParaRPr lang="en-US" sz="400"/>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hMerge="1">
                  <a:txBody>
                    <a:bodyPr/>
                    <a:lstStyle/>
                    <a:p>
                      <a:endParaRPr lang="en-US" sz="1050">
                        <a:solidFill>
                          <a:srgbClr val="000000"/>
                        </a:solidFill>
                      </a:endParaRPr>
                    </a:p>
                  </a:txBody>
                  <a:tcPr>
                    <a:lnL w="12700" cmpd="sng">
                      <a:noFill/>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IN" sz="1200" b="0" i="0">
                        <a:solidFill>
                          <a:srgbClr val="000000"/>
                        </a:solidFill>
                        <a:latin typeface="+mn-lt"/>
                      </a:endParaRPr>
                    </a:p>
                  </a:txBody>
                  <a:tcPr>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a:p>
                  </a:txBody>
                  <a:tcPr>
                    <a:lnL w="12700" cmpd="sng">
                      <a:noFill/>
                    </a:lnL>
                  </a:tcPr>
                </a:tc>
                <a:extLst>
                  <a:ext uri="{0D108BD9-81ED-4DB2-BD59-A6C34878D82A}">
                    <a16:rowId xmlns:a16="http://schemas.microsoft.com/office/drawing/2014/main" val="2018406057"/>
                  </a:ext>
                </a:extLst>
              </a:tr>
              <a:tr h="225120">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b="1" u="sng">
                          <a:solidFill>
                            <a:srgbClr val="000000"/>
                          </a:solidFill>
                        </a:rPr>
                        <a:t>ABLE TO WORK IN SG</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50" b="1">
                        <a:solidFill>
                          <a:srgbClr val="000000"/>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75000"/>
                      </a:schemeClr>
                    </a:solidFill>
                  </a:tcPr>
                </a:tc>
                <a:tc gridSpan="3">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b="1" u="sng">
                          <a:solidFill>
                            <a:srgbClr val="000000"/>
                          </a:solidFill>
                        </a:rPr>
                        <a:t>HIGHEST EDUCATION</a:t>
                      </a:r>
                      <a:endParaRPr lang="en-US" sz="1050" b="1">
                        <a:solidFill>
                          <a:srgbClr val="000000"/>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b="1" u="sng">
                          <a:solidFill>
                            <a:srgbClr val="000000"/>
                          </a:solidFill>
                        </a:rPr>
                        <a:t>EMPLOYMENT (LAST 3 YEARS)</a:t>
                      </a:r>
                      <a:endParaRPr lang="en-US" sz="1050" b="1">
                        <a:solidFill>
                          <a:srgbClr val="000000"/>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46864712"/>
                  </a:ext>
                </a:extLst>
              </a:tr>
              <a:tr h="0">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b="0" kern="1200">
                          <a:solidFill>
                            <a:srgbClr val="000000"/>
                          </a:solidFill>
                          <a:latin typeface="+mn-lt"/>
                          <a:ea typeface="+mn-ea"/>
                          <a:cs typeface="+mn-cs"/>
                        </a:rPr>
                        <a:t>Ye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sz="1050" b="0">
                        <a:solidFill>
                          <a:schemeClr val="bg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b="0" i="0" u="none" strike="noStrike" kern="1200" noProof="0"/>
                        <a:t>PhD in Financial Mathematics, Nanyang Technological University, Singapore</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b="0" i="0" u="none" strike="noStrike" kern="1200" noProof="0"/>
                        <a:t>EY</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47307066"/>
                  </a:ext>
                </a:extLst>
              </a:tr>
              <a:tr h="225120">
                <a:tc gridSpan="6">
                  <a:txBody>
                    <a:bodyPr/>
                    <a:lstStyle/>
                    <a:p>
                      <a:pPr marL="0" algn="l" defTabSz="914400" rtl="0" eaLnBrk="1" latinLnBrk="0" hangingPunct="1"/>
                      <a:r>
                        <a:rPr lang="en-US" sz="1050" b="1" u="sng" kern="1200">
                          <a:solidFill>
                            <a:srgbClr val="000000"/>
                          </a:solidFill>
                          <a:latin typeface="+mn-lt"/>
                          <a:ea typeface="+mn-ea"/>
                          <a:cs typeface="+mn-cs"/>
                        </a:rPr>
                        <a:t>BACKGROUND</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lnL w="12700" cmpd="sng">
                      <a:noFill/>
                    </a:lnL>
                    <a:lnT w="12700" cmpd="sng">
                      <a:noFill/>
                    </a:lnT>
                  </a:tcPr>
                </a:tc>
                <a:extLst>
                  <a:ext uri="{0D108BD9-81ED-4DB2-BD59-A6C34878D82A}">
                    <a16:rowId xmlns:a16="http://schemas.microsoft.com/office/drawing/2014/main" val="3678239183"/>
                  </a:ext>
                </a:extLst>
              </a:tr>
              <a:tr h="708406">
                <a:tc gridSpan="6">
                  <a:txBody>
                    <a:bodyPr/>
                    <a:lstStyle/>
                    <a:p>
                      <a:pPr marL="171450" indent="-171450" algn="l" defTabSz="914400" rtl="0" eaLnBrk="1" latinLnBrk="0" hangingPunct="1">
                        <a:buFont typeface="Arial" panose="020B0604020202020204" pitchFamily="34" charset="0"/>
                        <a:buChar char="•"/>
                      </a:pPr>
                      <a:r>
                        <a:rPr lang="en-US" sz="1050" b="0" kern="1200" dirty="0">
                          <a:solidFill>
                            <a:srgbClr val="000000"/>
                          </a:solidFill>
                          <a:latin typeface="+mn-lt"/>
                          <a:ea typeface="+mn-ea"/>
                          <a:cs typeface="+mn-cs"/>
                        </a:rPr>
                        <a:t>Bunyamin is a senior data scientist in performance improvement practice, focusing on financial services sector.</a:t>
                      </a:r>
                    </a:p>
                    <a:p>
                      <a:pPr marL="171450" indent="-171450" algn="l" defTabSz="914400" rtl="0" eaLnBrk="1" latinLnBrk="0" hangingPunct="1">
                        <a:buFont typeface="Arial" panose="020B0604020202020204" pitchFamily="34" charset="0"/>
                        <a:buChar char="•"/>
                      </a:pPr>
                      <a:r>
                        <a:rPr lang="en-US" sz="1050" b="0" kern="1200" dirty="0">
                          <a:solidFill>
                            <a:srgbClr val="000000"/>
                          </a:solidFill>
                          <a:latin typeface="+mn-lt"/>
                          <a:ea typeface="+mn-ea"/>
                          <a:cs typeface="+mn-cs"/>
                        </a:rPr>
                        <a:t>Bunyamin has research experience in financial mathematics and has core experience in machine/deep learning, natural language processing, and image processing.</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lnL w="12700" cmpd="sng">
                      <a:noFill/>
                    </a:lnL>
                  </a:tcPr>
                </a:tc>
                <a:extLst>
                  <a:ext uri="{0D108BD9-81ED-4DB2-BD59-A6C34878D82A}">
                    <a16:rowId xmlns:a16="http://schemas.microsoft.com/office/drawing/2014/main" val="3917136942"/>
                  </a:ext>
                </a:extLst>
              </a:tr>
              <a:tr h="225120">
                <a:tc gridSpan="6">
                  <a:txBody>
                    <a:bodyPr/>
                    <a:lstStyle/>
                    <a:p>
                      <a:pPr marL="0" marR="0" lvl="0" indent="0" algn="l" defTabSz="1266737" rtl="0" eaLnBrk="1" latinLnBrk="0" hangingPunct="1">
                        <a:lnSpc>
                          <a:spcPct val="100000"/>
                        </a:lnSpc>
                        <a:spcBef>
                          <a:spcPts val="0"/>
                        </a:spcBef>
                        <a:spcAft>
                          <a:spcPts val="0"/>
                        </a:spcAft>
                        <a:buNone/>
                      </a:pPr>
                      <a:r>
                        <a:rPr lang="en-US" sz="1050" b="1" u="sng" kern="1200" noProof="0">
                          <a:solidFill>
                            <a:srgbClr val="000000"/>
                          </a:solidFill>
                          <a:latin typeface="+mn-lt"/>
                          <a:ea typeface="+mn-ea"/>
                          <a:cs typeface="+mn-cs"/>
                        </a:rPr>
                        <a:t>PROFESSIONAL CAPABILITIE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a:p>
                  </a:txBody>
                  <a:tcPr/>
                </a:tc>
                <a:tc hMerge="1">
                  <a:txBody>
                    <a:bodyPr/>
                    <a:lstStyle/>
                    <a:p>
                      <a:pPr marL="0" marR="0" lvl="0" indent="0" algn="l">
                        <a:lnSpc>
                          <a:spcPct val="100000"/>
                        </a:lnSpc>
                        <a:spcBef>
                          <a:spcPts val="0"/>
                        </a:spcBef>
                        <a:spcAft>
                          <a:spcPts val="0"/>
                        </a:spcAft>
                        <a:buNone/>
                      </a:pPr>
                      <a:endParaRPr lang="en-US" sz="1050" b="0" i="0" u="none" strike="noStrike" kern="1200" noProof="0">
                        <a:highlight>
                          <a:srgbClr val="FFFF00"/>
                        </a:highlight>
                      </a:endParaRPr>
                    </a:p>
                  </a:txBody>
                  <a:tcPr/>
                </a:tc>
                <a:tc hMerge="1">
                  <a:txBody>
                    <a:bodyPr/>
                    <a:lstStyle/>
                    <a:p>
                      <a:endParaRPr lang="en-US"/>
                    </a:p>
                  </a:txBody>
                  <a:tcPr/>
                </a:tc>
                <a:tc hMerge="1">
                  <a:txBody>
                    <a:bodyPr/>
                    <a:lstStyle/>
                    <a:p>
                      <a:endParaRPr lang="en-US"/>
                    </a:p>
                  </a:txBody>
                  <a:tcPr>
                    <a:lnL w="12700" cmpd="sng">
                      <a:noFill/>
                    </a:lnL>
                  </a:tcPr>
                </a:tc>
                <a:extLst>
                  <a:ext uri="{0D108BD9-81ED-4DB2-BD59-A6C34878D82A}">
                    <a16:rowId xmlns:a16="http://schemas.microsoft.com/office/drawing/2014/main" val="3711216452"/>
                  </a:ext>
                </a:extLst>
              </a:tr>
              <a:tr h="225120">
                <a:tc gridSpan="4">
                  <a:txBody>
                    <a:bodyPr/>
                    <a:lstStyle/>
                    <a:p>
                      <a:pPr marL="171450" marR="0" lvl="0" indent="-171450" algn="l" defTabSz="1266737" rtl="0" eaLnBrk="1" latinLnBrk="0" hangingPunct="1">
                        <a:lnSpc>
                          <a:spcPct val="100000"/>
                        </a:lnSpc>
                        <a:spcBef>
                          <a:spcPts val="0"/>
                        </a:spcBef>
                        <a:spcAft>
                          <a:spcPts val="0"/>
                        </a:spcAft>
                        <a:buFont typeface="Arial" panose="020B0604020202020204" pitchFamily="34" charset="0"/>
                        <a:buChar char="•"/>
                      </a:pPr>
                      <a:r>
                        <a:rPr kumimoji="0" lang="en-US" sz="1050" b="0" i="0" u="none" strike="noStrike" kern="1200" cap="none" spc="0" normalizeH="0" baseline="0" noProof="0">
                          <a:ln>
                            <a:noFill/>
                          </a:ln>
                          <a:solidFill>
                            <a:srgbClr val="000000"/>
                          </a:solidFill>
                          <a:effectLst/>
                          <a:uLnTx/>
                          <a:uFillTx/>
                          <a:latin typeface="+mn-lt"/>
                          <a:ea typeface="+mn-ea"/>
                          <a:cs typeface="+mn-cs"/>
                        </a:rPr>
                        <a:t>Machine / Deep Learning</a:t>
                      </a:r>
                    </a:p>
                    <a:p>
                      <a:pPr marL="171450" marR="0" lvl="0" indent="-171450" algn="l" defTabSz="1266737" rtl="0" eaLnBrk="1" latinLnBrk="0" hangingPunct="1">
                        <a:lnSpc>
                          <a:spcPct val="100000"/>
                        </a:lnSpc>
                        <a:spcBef>
                          <a:spcPts val="0"/>
                        </a:spcBef>
                        <a:spcAft>
                          <a:spcPts val="0"/>
                        </a:spcAft>
                        <a:buFont typeface="Arial" panose="020B0604020202020204" pitchFamily="34" charset="0"/>
                        <a:buChar char="•"/>
                      </a:pPr>
                      <a:r>
                        <a:rPr kumimoji="0" lang="en-US" sz="1050" b="0" i="0" u="none" strike="noStrike" kern="1200" cap="none" spc="0" normalizeH="0" baseline="0" noProof="0">
                          <a:ln>
                            <a:noFill/>
                          </a:ln>
                          <a:solidFill>
                            <a:srgbClr val="000000"/>
                          </a:solidFill>
                          <a:effectLst/>
                          <a:uLnTx/>
                          <a:uFillTx/>
                          <a:latin typeface="+mn-lt"/>
                          <a:ea typeface="+mn-ea"/>
                          <a:cs typeface="+mn-cs"/>
                        </a:rPr>
                        <a:t>Natural Language Processing</a:t>
                      </a:r>
                    </a:p>
                    <a:p>
                      <a:pPr marL="171450" marR="0" lvl="0" indent="-171450" algn="l" defTabSz="126673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a:ln>
                            <a:noFill/>
                          </a:ln>
                          <a:solidFill>
                            <a:srgbClr val="000000"/>
                          </a:solidFill>
                          <a:effectLst/>
                          <a:uLnTx/>
                          <a:uFillTx/>
                          <a:latin typeface="+mn-lt"/>
                          <a:ea typeface="+mn-ea"/>
                          <a:cs typeface="+mn-cs"/>
                        </a:rPr>
                        <a:t>Image Processing</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a:p>
                  </a:txBody>
                  <a:tcPr/>
                </a:tc>
                <a:tc hMerge="1">
                  <a:txBody>
                    <a:bodyPr/>
                    <a:lstStyle/>
                    <a:p>
                      <a:endParaRPr lang="en-US"/>
                    </a:p>
                  </a:txBody>
                  <a:tcPr/>
                </a:tc>
                <a:tc gridSpan="2">
                  <a:txBody>
                    <a:bodyPr/>
                    <a:lstStyle/>
                    <a:p>
                      <a:pPr marL="171450" marR="0" lvl="0" indent="-171450" algn="l" defTabSz="1266737" rtl="0" eaLnBrk="1" latinLnBrk="0" hangingPunct="1">
                        <a:lnSpc>
                          <a:spcPct val="100000"/>
                        </a:lnSpc>
                        <a:spcBef>
                          <a:spcPts val="0"/>
                        </a:spcBef>
                        <a:spcAft>
                          <a:spcPts val="0"/>
                        </a:spcAft>
                        <a:buFont typeface="Arial" panose="020B0604020202020204" pitchFamily="34" charset="0"/>
                        <a:buChar char="•"/>
                      </a:pPr>
                      <a:r>
                        <a:rPr kumimoji="0" lang="en-US" sz="1050" b="0" i="0" u="none" strike="noStrike" kern="1200" cap="none" spc="0" normalizeH="0" baseline="0" noProof="0">
                          <a:ln>
                            <a:noFill/>
                          </a:ln>
                          <a:solidFill>
                            <a:srgbClr val="000000"/>
                          </a:solidFill>
                          <a:effectLst/>
                          <a:uLnTx/>
                          <a:uFillTx/>
                          <a:latin typeface="+mn-lt"/>
                          <a:ea typeface="+mn-ea"/>
                          <a:cs typeface="+mn-cs"/>
                        </a:rPr>
                        <a:t>Python / R / SQL</a:t>
                      </a:r>
                    </a:p>
                    <a:p>
                      <a:pPr marL="171450" marR="0" lvl="0" indent="-171450" algn="l" defTabSz="1266737" rtl="0" eaLnBrk="1" latinLnBrk="0" hangingPunct="1">
                        <a:lnSpc>
                          <a:spcPct val="100000"/>
                        </a:lnSpc>
                        <a:spcBef>
                          <a:spcPts val="0"/>
                        </a:spcBef>
                        <a:spcAft>
                          <a:spcPts val="0"/>
                        </a:spcAft>
                        <a:buFont typeface="Arial" panose="020B0604020202020204" pitchFamily="34" charset="0"/>
                        <a:buChar char="•"/>
                      </a:pPr>
                      <a:r>
                        <a:rPr kumimoji="0" lang="en-US" sz="1050" b="0" i="0" u="none" strike="noStrike" kern="1200" cap="none" spc="0" normalizeH="0" baseline="0" noProof="0">
                          <a:ln>
                            <a:noFill/>
                          </a:ln>
                          <a:solidFill>
                            <a:srgbClr val="000000"/>
                          </a:solidFill>
                          <a:effectLst/>
                          <a:uLnTx/>
                          <a:uFillTx/>
                          <a:latin typeface="+mn-lt"/>
                          <a:ea typeface="+mn-ea"/>
                          <a:cs typeface="+mn-cs"/>
                        </a:rPr>
                        <a:t>Tableau / Power BI</a:t>
                      </a:r>
                    </a:p>
                    <a:p>
                      <a:pPr marL="171450" marR="0" lvl="0" indent="-171450" algn="l" defTabSz="1266737" rtl="0" eaLnBrk="1" latinLnBrk="0" hangingPunct="1">
                        <a:lnSpc>
                          <a:spcPct val="100000"/>
                        </a:lnSpc>
                        <a:spcBef>
                          <a:spcPts val="0"/>
                        </a:spcBef>
                        <a:spcAft>
                          <a:spcPts val="0"/>
                        </a:spcAft>
                        <a:buFont typeface="Arial" panose="020B0604020202020204" pitchFamily="34" charset="0"/>
                        <a:buChar char="•"/>
                      </a:pPr>
                      <a:r>
                        <a:rPr kumimoji="0" lang="en-US" sz="1050" b="0" i="0" u="none" strike="noStrike" kern="1200" cap="none" spc="0" normalizeH="0" baseline="0" noProof="0">
                          <a:ln>
                            <a:noFill/>
                          </a:ln>
                          <a:solidFill>
                            <a:srgbClr val="000000"/>
                          </a:solidFill>
                          <a:effectLst/>
                          <a:uLnTx/>
                          <a:uFillTx/>
                          <a:latin typeface="+mn-lt"/>
                          <a:ea typeface="+mn-ea"/>
                          <a:cs typeface="+mn-cs"/>
                        </a:rPr>
                        <a:t>SAS / SAS </a:t>
                      </a:r>
                      <a:r>
                        <a:rPr kumimoji="0" lang="en-US" sz="1050" b="0" i="0" u="none" strike="noStrike" kern="1200" cap="none" spc="0" normalizeH="0" baseline="0" noProof="0" err="1">
                          <a:ln>
                            <a:noFill/>
                          </a:ln>
                          <a:solidFill>
                            <a:srgbClr val="000000"/>
                          </a:solidFill>
                          <a:effectLst/>
                          <a:uLnTx/>
                          <a:uFillTx/>
                          <a:latin typeface="+mn-lt"/>
                          <a:ea typeface="+mn-ea"/>
                          <a:cs typeface="+mn-cs"/>
                        </a:rPr>
                        <a:t>Viya</a:t>
                      </a:r>
                      <a:r>
                        <a:rPr kumimoji="0" lang="en-US" sz="1050" b="0" i="0" u="none" strike="noStrike" kern="1200" cap="none" spc="0" normalizeH="0" baseline="0" noProof="0">
                          <a:ln>
                            <a:noFill/>
                          </a:ln>
                          <a:solidFill>
                            <a:srgbClr val="000000"/>
                          </a:solidFill>
                          <a:effectLst/>
                          <a:uLnTx/>
                          <a:uFillTx/>
                          <a:latin typeface="+mn-lt"/>
                          <a:ea typeface="+mn-ea"/>
                          <a:cs typeface="+mn-cs"/>
                        </a:rPr>
                        <a:t> / SAS VTA</a:t>
                      </a:r>
                    </a:p>
                    <a:p>
                      <a:pPr marL="171450" marR="0" lvl="0" indent="-171450" algn="l" defTabSz="1266737" rtl="0" eaLnBrk="1" latinLnBrk="0" hangingPunct="1">
                        <a:lnSpc>
                          <a:spcPct val="100000"/>
                        </a:lnSpc>
                        <a:spcBef>
                          <a:spcPts val="0"/>
                        </a:spcBef>
                        <a:spcAft>
                          <a:spcPts val="0"/>
                        </a:spcAft>
                        <a:buFont typeface="Arial" panose="020B0604020202020204" pitchFamily="34" charset="0"/>
                        <a:buChar char="•"/>
                      </a:pPr>
                      <a:r>
                        <a:rPr kumimoji="0" lang="en-US" sz="1050" b="0" i="0" u="none" strike="noStrike" kern="1200" cap="none" spc="0" normalizeH="0" baseline="0" noProof="0">
                          <a:ln>
                            <a:noFill/>
                          </a:ln>
                          <a:solidFill>
                            <a:srgbClr val="000000"/>
                          </a:solidFill>
                          <a:effectLst/>
                          <a:uLnTx/>
                          <a:uFillTx/>
                          <a:latin typeface="+mn-lt"/>
                          <a:ea typeface="+mn-ea"/>
                          <a:cs typeface="+mn-cs"/>
                        </a:rPr>
                        <a:t>Microsoft Azure, AWS EC2</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lnL w="12700" cmpd="sng">
                      <a:noFill/>
                    </a:lnL>
                  </a:tcPr>
                </a:tc>
                <a:extLst>
                  <a:ext uri="{0D108BD9-81ED-4DB2-BD59-A6C34878D82A}">
                    <a16:rowId xmlns:a16="http://schemas.microsoft.com/office/drawing/2014/main" val="1009631101"/>
                  </a:ext>
                </a:extLst>
              </a:tr>
              <a:tr h="225120">
                <a:tc gridSpan="6">
                  <a:txBody>
                    <a:bodyPr/>
                    <a:lstStyle/>
                    <a:p>
                      <a:pPr marL="0" algn="l" defTabSz="914400" rtl="0" eaLnBrk="1" latinLnBrk="0" hangingPunct="1"/>
                      <a:r>
                        <a:rPr lang="en-US" sz="1050" b="1" u="sng" kern="1200">
                          <a:solidFill>
                            <a:srgbClr val="000000"/>
                          </a:solidFill>
                          <a:latin typeface="+mn-lt"/>
                          <a:ea typeface="+mn-ea"/>
                          <a:cs typeface="+mn-cs"/>
                        </a:rPr>
                        <a:t>RELEVANT EXPERIENCE</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lnL w="12700" cmpd="sng">
                      <a:noFill/>
                    </a:lnL>
                  </a:tcPr>
                </a:tc>
                <a:extLst>
                  <a:ext uri="{0D108BD9-81ED-4DB2-BD59-A6C34878D82A}">
                    <a16:rowId xmlns:a16="http://schemas.microsoft.com/office/drawing/2014/main" val="3322682632"/>
                  </a:ext>
                </a:extLst>
              </a:tr>
              <a:tr h="225120">
                <a:tc gridSpan="6">
                  <a:txBody>
                    <a:bodyPr/>
                    <a:lstStyle/>
                    <a:p>
                      <a:pPr marL="171450" marR="0" lvl="0" indent="-171450" algn="l" defTabSz="1266737" rtl="0" eaLnBrk="1" latinLnBrk="0" hangingPunct="1">
                        <a:lnSpc>
                          <a:spcPct val="100000"/>
                        </a:lnSpc>
                        <a:spcBef>
                          <a:spcPts val="0"/>
                        </a:spcBef>
                        <a:spcAft>
                          <a:spcPts val="0"/>
                        </a:spcAft>
                        <a:buFont typeface="Arial" panose="020B0604020202020204" pitchFamily="34" charset="0"/>
                        <a:buChar char="•"/>
                      </a:pPr>
                      <a:r>
                        <a:rPr kumimoji="0" lang="en-US" sz="1050" b="0" i="0" u="none" strike="noStrike" kern="1200" cap="none" spc="0" normalizeH="0" baseline="0" noProof="0" dirty="0">
                          <a:ln>
                            <a:noFill/>
                          </a:ln>
                          <a:solidFill>
                            <a:srgbClr val="000000"/>
                          </a:solidFill>
                          <a:effectLst/>
                          <a:uLnTx/>
                          <a:uFillTx/>
                          <a:latin typeface="+mn-lt"/>
                          <a:ea typeface="+mn-ea"/>
                          <a:cs typeface="+mn-cs"/>
                        </a:rPr>
                        <a:t>Worked as a Data Science consultant for a major Singapore insurer to build customer segmentation models based on customers priorities, net – worth and their disposable income. Developed a pipeline by using SQL and python for consuming data coming from server and creating/updating tables in the database for upselling and cross selling opportunities.</a:t>
                      </a:r>
                    </a:p>
                    <a:p>
                      <a:pPr marL="171450" marR="0" lvl="0" indent="-171450" algn="l" defTabSz="1266737" rtl="0" eaLnBrk="1" latinLnBrk="0" hangingPunct="1">
                        <a:lnSpc>
                          <a:spcPct val="100000"/>
                        </a:lnSpc>
                        <a:spcBef>
                          <a:spcPts val="0"/>
                        </a:spcBef>
                        <a:spcAft>
                          <a:spcPts val="0"/>
                        </a:spcAft>
                        <a:buFont typeface="Arial" panose="020B0604020202020204" pitchFamily="34" charset="0"/>
                        <a:buChar char="•"/>
                      </a:pPr>
                      <a:endParaRPr kumimoji="0" lang="en-US" sz="1050" b="0" i="0" u="none" strike="noStrike" kern="1200" cap="none" spc="0" normalizeH="0" baseline="0" noProof="0" dirty="0">
                        <a:ln>
                          <a:noFill/>
                        </a:ln>
                        <a:solidFill>
                          <a:srgbClr val="000000"/>
                        </a:solidFill>
                        <a:effectLst/>
                        <a:uLnTx/>
                        <a:uFillTx/>
                        <a:latin typeface="+mn-lt"/>
                        <a:ea typeface="+mn-ea"/>
                        <a:cs typeface="+mn-cs"/>
                      </a:endParaRPr>
                    </a:p>
                    <a:p>
                      <a:pPr marL="171450" marR="0" lvl="0" indent="-171450" algn="l" defTabSz="1266737" rtl="0" eaLnBrk="1" latinLnBrk="0" hangingPunct="1">
                        <a:lnSpc>
                          <a:spcPct val="100000"/>
                        </a:lnSpc>
                        <a:spcBef>
                          <a:spcPts val="0"/>
                        </a:spcBef>
                        <a:spcAft>
                          <a:spcPts val="0"/>
                        </a:spcAft>
                        <a:buFont typeface="Arial" panose="020B0604020202020204" pitchFamily="34" charset="0"/>
                        <a:buChar char="•"/>
                      </a:pPr>
                      <a:r>
                        <a:rPr kumimoji="0" lang="en-US" sz="1050" b="0" i="0" u="none" strike="noStrike" kern="1200" cap="none" spc="0" normalizeH="0" baseline="0" noProof="0" dirty="0">
                          <a:ln>
                            <a:noFill/>
                          </a:ln>
                          <a:solidFill>
                            <a:srgbClr val="000000"/>
                          </a:solidFill>
                          <a:effectLst/>
                          <a:uLnTx/>
                          <a:uFillTx/>
                          <a:latin typeface="+mn-lt"/>
                          <a:ea typeface="+mn-ea"/>
                          <a:cs typeface="+mn-cs"/>
                        </a:rPr>
                        <a:t>Worked as a Data Science consultant for the biggest Thai insurer. Scope of the work is to design and implement a data governance framework and build machine/deep learning models to find possible outliers causing leakage. Build hybrid deep learning models (self organizing map + artificial neural network) to get risky claims, their risk associated probabilities, common attributes that risky clients have, and finally find out risky doctors and agent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lnL w="12700" cmpd="sng">
                      <a:noFill/>
                    </a:lnL>
                  </a:tcPr>
                </a:tc>
                <a:extLst>
                  <a:ext uri="{0D108BD9-81ED-4DB2-BD59-A6C34878D82A}">
                    <a16:rowId xmlns:a16="http://schemas.microsoft.com/office/drawing/2014/main" val="2087447848"/>
                  </a:ext>
                </a:extLst>
              </a:tr>
            </a:tbl>
          </a:graphicData>
        </a:graphic>
      </p:graphicFrame>
      <p:pic>
        <p:nvPicPr>
          <p:cNvPr id="7" name="Picture 6" descr="User Photo">
            <a:extLst>
              <a:ext uri="{FF2B5EF4-FFF2-40B4-BE49-F238E27FC236}">
                <a16:creationId xmlns:a16="http://schemas.microsoft.com/office/drawing/2014/main" id="{B1252CE1-1EA6-4932-A24A-BAF55D0EEAE6}"/>
              </a:ext>
            </a:extLst>
          </p:cNvPr>
          <p:cNvPicPr>
            <a:picLocks noChangeAspect="1" noChangeArrowheads="1"/>
          </p:cNvPicPr>
          <p:nvPr/>
        </p:nvPicPr>
        <p:blipFill>
          <a:blip r:embed="rId3">
            <a:grayscl/>
            <a:extLst>
              <a:ext uri="{28A0092B-C50C-407E-A947-70E740481C1C}">
                <a14:useLocalDpi xmlns:a14="http://schemas.microsoft.com/office/drawing/2010/main" val="0"/>
              </a:ext>
            </a:extLst>
          </a:blip>
          <a:srcRect/>
          <a:stretch>
            <a:fillRect/>
          </a:stretch>
        </p:blipFill>
        <p:spPr bwMode="auto">
          <a:xfrm>
            <a:off x="1106186" y="1382635"/>
            <a:ext cx="687153" cy="625070"/>
          </a:xfrm>
          <a:prstGeom prst="flowChartConnector">
            <a:avLst/>
          </a:prstGeom>
          <a:noFill/>
          <a:effectLst/>
          <a:extLst>
            <a:ext uri="{909E8E84-426E-40DD-AFC4-6F175D3DCCD1}">
              <a14:hiddenFill xmlns:a14="http://schemas.microsoft.com/office/drawing/2010/main">
                <a:solidFill>
                  <a:srgbClr val="FFFFFF"/>
                </a:solidFill>
              </a14:hiddenFill>
            </a:ext>
          </a:extLst>
        </p:spPr>
      </p:pic>
      <p:graphicFrame>
        <p:nvGraphicFramePr>
          <p:cNvPr id="8" name="Table 7">
            <a:extLst>
              <a:ext uri="{FF2B5EF4-FFF2-40B4-BE49-F238E27FC236}">
                <a16:creationId xmlns:a16="http://schemas.microsoft.com/office/drawing/2014/main" id="{2B950B61-D560-4CF8-B520-F9DDCB8A9C52}"/>
              </a:ext>
            </a:extLst>
          </p:cNvPr>
          <p:cNvGraphicFramePr>
            <a:graphicFrameLocks noGrp="1"/>
          </p:cNvGraphicFramePr>
          <p:nvPr>
            <p:extLst>
              <p:ext uri="{D42A27DB-BD31-4B8C-83A1-F6EECF244321}">
                <p14:modId xmlns:p14="http://schemas.microsoft.com/office/powerpoint/2010/main" val="3091389520"/>
              </p:ext>
            </p:extLst>
          </p:nvPr>
        </p:nvGraphicFramePr>
        <p:xfrm>
          <a:off x="7179282" y="979200"/>
          <a:ext cx="6005090" cy="6530340"/>
        </p:xfrm>
        <a:graphic>
          <a:graphicData uri="http://schemas.openxmlformats.org/drawingml/2006/table">
            <a:tbl>
              <a:tblPr firstRow="1" bandRow="1">
                <a:tableStyleId>{073A0DAA-6AF3-43AB-8588-CEC1D06C72B9}</a:tableStyleId>
              </a:tblPr>
              <a:tblGrid>
                <a:gridCol w="911893">
                  <a:extLst>
                    <a:ext uri="{9D8B030D-6E8A-4147-A177-3AD203B41FA5}">
                      <a16:colId xmlns:a16="http://schemas.microsoft.com/office/drawing/2014/main" val="3339861616"/>
                    </a:ext>
                  </a:extLst>
                </a:gridCol>
                <a:gridCol w="671735">
                  <a:extLst>
                    <a:ext uri="{9D8B030D-6E8A-4147-A177-3AD203B41FA5}">
                      <a16:colId xmlns:a16="http://schemas.microsoft.com/office/drawing/2014/main" val="2049419460"/>
                    </a:ext>
                  </a:extLst>
                </a:gridCol>
                <a:gridCol w="1074455">
                  <a:extLst>
                    <a:ext uri="{9D8B030D-6E8A-4147-A177-3AD203B41FA5}">
                      <a16:colId xmlns:a16="http://schemas.microsoft.com/office/drawing/2014/main" val="3035228617"/>
                    </a:ext>
                  </a:extLst>
                </a:gridCol>
                <a:gridCol w="344462">
                  <a:extLst>
                    <a:ext uri="{9D8B030D-6E8A-4147-A177-3AD203B41FA5}">
                      <a16:colId xmlns:a16="http://schemas.microsoft.com/office/drawing/2014/main" val="3827351894"/>
                    </a:ext>
                  </a:extLst>
                </a:gridCol>
                <a:gridCol w="1030083">
                  <a:extLst>
                    <a:ext uri="{9D8B030D-6E8A-4147-A177-3AD203B41FA5}">
                      <a16:colId xmlns:a16="http://schemas.microsoft.com/office/drawing/2014/main" val="176887173"/>
                    </a:ext>
                  </a:extLst>
                </a:gridCol>
                <a:gridCol w="1972462">
                  <a:extLst>
                    <a:ext uri="{9D8B030D-6E8A-4147-A177-3AD203B41FA5}">
                      <a16:colId xmlns:a16="http://schemas.microsoft.com/office/drawing/2014/main" val="68510237"/>
                    </a:ext>
                  </a:extLst>
                </a:gridCol>
              </a:tblGrid>
              <a:tr h="251864">
                <a:tc gridSpan="6">
                  <a:txBody>
                    <a:bodyPr/>
                    <a:lstStyle/>
                    <a:p>
                      <a:r>
                        <a:rPr lang="en-US" sz="1200">
                          <a:solidFill>
                            <a:schemeClr val="tx2"/>
                          </a:solidFill>
                        </a:rPr>
                        <a:t>DATA SCIENTIST</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00A3AE"/>
                    </a:solidFill>
                  </a:tcPr>
                </a:tc>
                <a:tc hMerge="1">
                  <a:txBody>
                    <a:bodyPr/>
                    <a:lstStyle/>
                    <a:p>
                      <a:endParaRPr lang="en-US" sz="1400">
                        <a:solidFill>
                          <a:srgbClr val="000000"/>
                        </a:solidFill>
                      </a:endParaRPr>
                    </a:p>
                  </a:txBody>
                  <a:tcP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lnL w="12700" cmpd="sng">
                      <a:noFill/>
                    </a:lnL>
                  </a:tcPr>
                </a:tc>
                <a:extLst>
                  <a:ext uri="{0D108BD9-81ED-4DB2-BD59-A6C34878D82A}">
                    <a16:rowId xmlns:a16="http://schemas.microsoft.com/office/drawing/2014/main" val="1267045867"/>
                  </a:ext>
                </a:extLst>
              </a:tr>
              <a:tr h="274320">
                <a:tc gridSpan="6">
                  <a:txBody>
                    <a:bodyPr/>
                    <a:lstStyle/>
                    <a:p>
                      <a:endParaRPr lang="en-US" sz="1050">
                        <a:solidFill>
                          <a:srgbClr val="45B9BE"/>
                        </a:solidFill>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lnL w="12700" cmpd="sng">
                      <a:noFill/>
                    </a:lnL>
                  </a:tcPr>
                </a:tc>
                <a:extLst>
                  <a:ext uri="{0D108BD9-81ED-4DB2-BD59-A6C34878D82A}">
                    <a16:rowId xmlns:a16="http://schemas.microsoft.com/office/drawing/2014/main" val="2152776218"/>
                  </a:ext>
                </a:extLst>
              </a:tr>
              <a:tr h="225120">
                <a:tc>
                  <a:txBody>
                    <a:bodyPr/>
                    <a:lstStyle/>
                    <a:p>
                      <a:endParaRPr lang="en-US" sz="1050"/>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gridSpan="2">
                  <a:txBody>
                    <a:bodyPr/>
                    <a:lstStyle/>
                    <a:p>
                      <a:pPr algn="r"/>
                      <a:r>
                        <a:rPr kumimoji="0" lang="en-IN" sz="1200" b="1" i="0" u="none" strike="noStrike" kern="1200" cap="none" spc="0" normalizeH="0" baseline="0" noProof="0" err="1">
                          <a:ln>
                            <a:noFill/>
                          </a:ln>
                          <a:solidFill>
                            <a:srgbClr val="000000"/>
                          </a:solidFill>
                          <a:effectLst/>
                          <a:uLnTx/>
                          <a:uFillTx/>
                          <a:latin typeface="+mn-lt"/>
                        </a:rPr>
                        <a:t>Tarishi</a:t>
                      </a:r>
                      <a:r>
                        <a:rPr kumimoji="0" lang="en-IN" sz="1200" b="1" i="0" u="none" strike="noStrike" kern="1200" cap="none" spc="0" normalizeH="0" baseline="0" noProof="0">
                          <a:ln>
                            <a:noFill/>
                          </a:ln>
                          <a:solidFill>
                            <a:srgbClr val="000000"/>
                          </a:solidFill>
                          <a:effectLst/>
                          <a:uLnTx/>
                          <a:uFillTx/>
                          <a:latin typeface="+mn-lt"/>
                        </a:rPr>
                        <a:t> Khanna</a:t>
                      </a:r>
                    </a:p>
                  </a:txBody>
                  <a:tcPr>
                    <a:lnL w="12700" cmpd="sng">
                      <a:noFill/>
                    </a:lnL>
                    <a:lnR w="9525" cap="flat" cmpd="sng" algn="ctr">
                      <a:solidFill>
                        <a:srgbClr val="000000"/>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gridSpan="3">
                  <a:txBody>
                    <a:bodyPr/>
                    <a:lstStyle/>
                    <a:p>
                      <a:endParaRPr kumimoji="0" lang="en-US" sz="1200" b="0" i="0" u="none" strike="noStrike" kern="1200" cap="none" spc="0" normalizeH="0" baseline="0" noProof="0">
                        <a:ln>
                          <a:noFill/>
                        </a:ln>
                        <a:solidFill>
                          <a:srgbClr val="000000"/>
                        </a:solidFill>
                        <a:effectLst/>
                        <a:uLnTx/>
                        <a:uFillTx/>
                        <a:latin typeface="+mn-lt"/>
                      </a:endParaRPr>
                    </a:p>
                    <a:p>
                      <a:endParaRPr kumimoji="0" lang="en-US" sz="1200" b="0" i="0" u="none" strike="noStrike" kern="1200" cap="none" spc="0" normalizeH="0" baseline="0" noProof="0">
                        <a:ln>
                          <a:noFill/>
                        </a:ln>
                        <a:solidFill>
                          <a:srgbClr val="000000"/>
                        </a:solidFill>
                        <a:effectLst/>
                        <a:uLnTx/>
                        <a:uFillTx/>
                        <a:latin typeface="+mn-lt"/>
                      </a:endParaRPr>
                    </a:p>
                  </a:txBody>
                  <a:tcPr>
                    <a:lnL w="9525" cap="flat" cmpd="sng" algn="ctr">
                      <a:solidFill>
                        <a:srgbClr val="000000"/>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a:p>
                  </a:txBody>
                  <a:tcPr>
                    <a:lnL w="12700" cmpd="sng">
                      <a:noFill/>
                    </a:lnL>
                  </a:tcPr>
                </a:tc>
                <a:extLst>
                  <a:ext uri="{0D108BD9-81ED-4DB2-BD59-A6C34878D82A}">
                    <a16:rowId xmlns:a16="http://schemas.microsoft.com/office/drawing/2014/main" val="2083915768"/>
                  </a:ext>
                </a:extLst>
              </a:tr>
              <a:tr h="0">
                <a:tc gridSpan="6">
                  <a:txBody>
                    <a:bodyPr/>
                    <a:lstStyle/>
                    <a:p>
                      <a:endParaRPr lang="en-US" sz="400"/>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hMerge="1">
                  <a:txBody>
                    <a:bodyPr/>
                    <a:lstStyle/>
                    <a:p>
                      <a:endParaRPr lang="en-US" sz="1050">
                        <a:solidFill>
                          <a:srgbClr val="000000"/>
                        </a:solidFill>
                      </a:endParaRPr>
                    </a:p>
                  </a:txBody>
                  <a:tcPr>
                    <a:lnL w="12700" cmpd="sng">
                      <a:noFill/>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IN" sz="1200" b="0" i="0">
                        <a:solidFill>
                          <a:srgbClr val="000000"/>
                        </a:solidFill>
                        <a:latin typeface="+mn-lt"/>
                      </a:endParaRPr>
                    </a:p>
                  </a:txBody>
                  <a:tcPr>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a:p>
                  </a:txBody>
                  <a:tcPr>
                    <a:lnL w="12700" cmpd="sng">
                      <a:noFill/>
                    </a:lnL>
                  </a:tcPr>
                </a:tc>
                <a:extLst>
                  <a:ext uri="{0D108BD9-81ED-4DB2-BD59-A6C34878D82A}">
                    <a16:rowId xmlns:a16="http://schemas.microsoft.com/office/drawing/2014/main" val="2018406057"/>
                  </a:ext>
                </a:extLst>
              </a:tr>
              <a:tr h="225120">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b="1" u="sng">
                          <a:solidFill>
                            <a:srgbClr val="000000"/>
                          </a:solidFill>
                        </a:rPr>
                        <a:t>ABLE TO WORK IN SG</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50" b="1">
                        <a:solidFill>
                          <a:srgbClr val="000000"/>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75000"/>
                      </a:schemeClr>
                    </a:solidFill>
                  </a:tcPr>
                </a:tc>
                <a:tc gridSpan="3">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b="1" u="sng">
                          <a:solidFill>
                            <a:srgbClr val="000000"/>
                          </a:solidFill>
                        </a:rPr>
                        <a:t>HIGHEST EDUCATION</a:t>
                      </a:r>
                      <a:endParaRPr lang="en-US" sz="1050" b="1">
                        <a:solidFill>
                          <a:srgbClr val="000000"/>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b="1" u="sng">
                          <a:solidFill>
                            <a:srgbClr val="000000"/>
                          </a:solidFill>
                        </a:rPr>
                        <a:t>EMPLOYMENT (LAST 3 YEARS)</a:t>
                      </a:r>
                      <a:endParaRPr lang="en-US" sz="1050" b="1">
                        <a:solidFill>
                          <a:srgbClr val="000000"/>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46864712"/>
                  </a:ext>
                </a:extLst>
              </a:tr>
              <a:tr h="0">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b="0" kern="1200">
                          <a:solidFill>
                            <a:srgbClr val="000000"/>
                          </a:solidFill>
                          <a:latin typeface="+mn-lt"/>
                          <a:ea typeface="+mn-ea"/>
                          <a:cs typeface="+mn-cs"/>
                        </a:rPr>
                        <a:t>Ye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sz="1050" b="0">
                        <a:solidFill>
                          <a:schemeClr val="bg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b="0" i="0" u="none" strike="noStrike" kern="1200" noProof="0"/>
                        <a:t>Masters in Statistics from Sri </a:t>
                      </a:r>
                      <a:r>
                        <a:rPr lang="en-US" sz="1050" b="0" i="0" u="none" strike="noStrike" kern="1200" noProof="0" err="1"/>
                        <a:t>Venkateswara</a:t>
                      </a:r>
                      <a:r>
                        <a:rPr lang="en-US" sz="1050" b="0" i="0" u="none" strike="noStrike" kern="1200" noProof="0"/>
                        <a:t> College, India</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b="0" i="0" u="none" strike="noStrike" kern="1200" noProof="0"/>
                        <a:t>EY</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47307066"/>
                  </a:ext>
                </a:extLst>
              </a:tr>
              <a:tr h="225120">
                <a:tc gridSpan="6">
                  <a:txBody>
                    <a:bodyPr/>
                    <a:lstStyle/>
                    <a:p>
                      <a:pPr marL="0" algn="l" defTabSz="914400" rtl="0" eaLnBrk="1" latinLnBrk="0" hangingPunct="1"/>
                      <a:r>
                        <a:rPr lang="en-US" sz="1050" b="1" u="sng" kern="1200">
                          <a:solidFill>
                            <a:srgbClr val="000000"/>
                          </a:solidFill>
                          <a:latin typeface="+mn-lt"/>
                          <a:ea typeface="+mn-ea"/>
                          <a:cs typeface="+mn-cs"/>
                        </a:rPr>
                        <a:t>BACKGROUND</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lnL w="12700" cmpd="sng">
                      <a:noFill/>
                    </a:lnL>
                    <a:lnT w="12700" cmpd="sng">
                      <a:noFill/>
                    </a:lnT>
                  </a:tcPr>
                </a:tc>
                <a:extLst>
                  <a:ext uri="{0D108BD9-81ED-4DB2-BD59-A6C34878D82A}">
                    <a16:rowId xmlns:a16="http://schemas.microsoft.com/office/drawing/2014/main" val="3678239183"/>
                  </a:ext>
                </a:extLst>
              </a:tr>
              <a:tr h="708406">
                <a:tc gridSpan="6">
                  <a:txBody>
                    <a:bodyPr/>
                    <a:lstStyle/>
                    <a:p>
                      <a:pPr marL="171450" indent="-171450" algn="l" defTabSz="914400" rtl="0" eaLnBrk="1" latinLnBrk="0" hangingPunct="1">
                        <a:buFont typeface="Arial" panose="020B0604020202020204" pitchFamily="34" charset="0"/>
                        <a:buChar char="•"/>
                      </a:pPr>
                      <a:r>
                        <a:rPr lang="en-US" sz="1050" b="0" kern="1200" err="1">
                          <a:solidFill>
                            <a:srgbClr val="000000"/>
                          </a:solidFill>
                          <a:latin typeface="+mn-lt"/>
                          <a:ea typeface="+mn-ea"/>
                          <a:cs typeface="+mn-cs"/>
                        </a:rPr>
                        <a:t>Tarishi</a:t>
                      </a:r>
                      <a:r>
                        <a:rPr lang="en-US" sz="1050" b="0" kern="1200">
                          <a:solidFill>
                            <a:srgbClr val="000000"/>
                          </a:solidFill>
                          <a:latin typeface="+mn-lt"/>
                          <a:ea typeface="+mn-ea"/>
                          <a:cs typeface="+mn-cs"/>
                        </a:rPr>
                        <a:t> has 5 years of experience in the field of advanced analytics, predictive modelling, statistical techniques, data visualization and data manipulation in Telecommunications, Insurance and Banking sector.</a:t>
                      </a:r>
                    </a:p>
                    <a:p>
                      <a:pPr marL="171450" indent="-171450" algn="l" defTabSz="914400" rtl="0" eaLnBrk="1" latinLnBrk="0" hangingPunct="1">
                        <a:buFont typeface="Arial" panose="020B0604020202020204" pitchFamily="34" charset="0"/>
                        <a:buChar char="•"/>
                      </a:pPr>
                      <a:r>
                        <a:rPr lang="en-US" sz="1050" b="0" kern="1200">
                          <a:solidFill>
                            <a:srgbClr val="000000"/>
                          </a:solidFill>
                          <a:latin typeface="+mn-lt"/>
                          <a:ea typeface="+mn-ea"/>
                          <a:cs typeface="+mn-cs"/>
                        </a:rPr>
                        <a:t>Worked extensively on techniques like Linear and Logistic Regression, K Means Clustering, Time-Series Modelling, CHAID &amp; CART,PCA, GBM, Information Value, Random forest and Ensemble modelling.</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lnL w="12700" cmpd="sng">
                      <a:noFill/>
                    </a:lnL>
                  </a:tcPr>
                </a:tc>
                <a:extLst>
                  <a:ext uri="{0D108BD9-81ED-4DB2-BD59-A6C34878D82A}">
                    <a16:rowId xmlns:a16="http://schemas.microsoft.com/office/drawing/2014/main" val="3917136942"/>
                  </a:ext>
                </a:extLst>
              </a:tr>
              <a:tr h="225120">
                <a:tc gridSpan="6">
                  <a:txBody>
                    <a:bodyPr/>
                    <a:lstStyle/>
                    <a:p>
                      <a:pPr marL="0" marR="0" lvl="0" indent="0" algn="l" defTabSz="1266737" rtl="0" eaLnBrk="1" latinLnBrk="0" hangingPunct="1">
                        <a:lnSpc>
                          <a:spcPct val="100000"/>
                        </a:lnSpc>
                        <a:spcBef>
                          <a:spcPts val="0"/>
                        </a:spcBef>
                        <a:spcAft>
                          <a:spcPts val="0"/>
                        </a:spcAft>
                        <a:buNone/>
                      </a:pPr>
                      <a:r>
                        <a:rPr lang="en-US" sz="1050" b="1" u="sng" kern="1200" noProof="0">
                          <a:solidFill>
                            <a:srgbClr val="000000"/>
                          </a:solidFill>
                          <a:latin typeface="+mn-lt"/>
                          <a:ea typeface="+mn-ea"/>
                          <a:cs typeface="+mn-cs"/>
                        </a:rPr>
                        <a:t>PROFESSIONAL CAPABILITIE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a:p>
                  </a:txBody>
                  <a:tcPr/>
                </a:tc>
                <a:tc hMerge="1">
                  <a:txBody>
                    <a:bodyPr/>
                    <a:lstStyle/>
                    <a:p>
                      <a:pPr marL="0" marR="0" lvl="0" indent="0" algn="l">
                        <a:lnSpc>
                          <a:spcPct val="100000"/>
                        </a:lnSpc>
                        <a:spcBef>
                          <a:spcPts val="0"/>
                        </a:spcBef>
                        <a:spcAft>
                          <a:spcPts val="0"/>
                        </a:spcAft>
                        <a:buNone/>
                      </a:pPr>
                      <a:endParaRPr lang="en-US" sz="1050" b="0" i="0" u="none" strike="noStrike" kern="1200" noProof="0">
                        <a:highlight>
                          <a:srgbClr val="FFFF00"/>
                        </a:highlight>
                      </a:endParaRPr>
                    </a:p>
                  </a:txBody>
                  <a:tcPr/>
                </a:tc>
                <a:tc hMerge="1">
                  <a:txBody>
                    <a:bodyPr/>
                    <a:lstStyle/>
                    <a:p>
                      <a:endParaRPr lang="en-US"/>
                    </a:p>
                  </a:txBody>
                  <a:tcPr/>
                </a:tc>
                <a:tc hMerge="1">
                  <a:txBody>
                    <a:bodyPr/>
                    <a:lstStyle/>
                    <a:p>
                      <a:endParaRPr lang="en-US"/>
                    </a:p>
                  </a:txBody>
                  <a:tcPr>
                    <a:lnL w="12700" cmpd="sng">
                      <a:noFill/>
                    </a:lnL>
                  </a:tcPr>
                </a:tc>
                <a:extLst>
                  <a:ext uri="{0D108BD9-81ED-4DB2-BD59-A6C34878D82A}">
                    <a16:rowId xmlns:a16="http://schemas.microsoft.com/office/drawing/2014/main" val="3711216452"/>
                  </a:ext>
                </a:extLst>
              </a:tr>
              <a:tr h="225120">
                <a:tc gridSpan="4">
                  <a:txBody>
                    <a:bodyPr/>
                    <a:lstStyle/>
                    <a:p>
                      <a:pPr marL="171450" marR="0" lvl="0" indent="-171450" algn="l" defTabSz="1266737" rtl="0" eaLnBrk="1" latinLnBrk="0" hangingPunct="1">
                        <a:lnSpc>
                          <a:spcPct val="100000"/>
                        </a:lnSpc>
                        <a:spcBef>
                          <a:spcPts val="0"/>
                        </a:spcBef>
                        <a:spcAft>
                          <a:spcPts val="0"/>
                        </a:spcAft>
                        <a:buFont typeface="Arial" panose="020B0604020202020204" pitchFamily="34" charset="0"/>
                        <a:buChar char="•"/>
                      </a:pPr>
                      <a:r>
                        <a:rPr kumimoji="0" lang="en-US" sz="1050" b="0" i="0" u="none" strike="noStrike" kern="1200" cap="none" spc="0" normalizeH="0" baseline="0" noProof="0">
                          <a:ln>
                            <a:noFill/>
                          </a:ln>
                          <a:solidFill>
                            <a:srgbClr val="000000"/>
                          </a:solidFill>
                          <a:effectLst/>
                          <a:uLnTx/>
                          <a:uFillTx/>
                          <a:latin typeface="+mn-lt"/>
                          <a:ea typeface="+mn-ea"/>
                          <a:cs typeface="+mn-cs"/>
                        </a:rPr>
                        <a:t>Databases:  MS SQL Server</a:t>
                      </a:r>
                    </a:p>
                    <a:p>
                      <a:pPr marL="171450" marR="0" lvl="0" indent="-171450" algn="l" defTabSz="1266737" rtl="0" eaLnBrk="1" latinLnBrk="0" hangingPunct="1">
                        <a:lnSpc>
                          <a:spcPct val="100000"/>
                        </a:lnSpc>
                        <a:spcBef>
                          <a:spcPts val="0"/>
                        </a:spcBef>
                        <a:spcAft>
                          <a:spcPts val="0"/>
                        </a:spcAft>
                        <a:buFont typeface="Arial" panose="020B0604020202020204" pitchFamily="34" charset="0"/>
                        <a:buChar char="•"/>
                      </a:pPr>
                      <a:r>
                        <a:rPr kumimoji="0" lang="en-US" sz="1050" b="0" i="0" u="none" strike="noStrike" kern="1200" cap="none" spc="0" normalizeH="0" baseline="0" noProof="0">
                          <a:ln>
                            <a:noFill/>
                          </a:ln>
                          <a:solidFill>
                            <a:srgbClr val="000000"/>
                          </a:solidFill>
                          <a:effectLst/>
                          <a:uLnTx/>
                          <a:uFillTx/>
                          <a:latin typeface="+mn-lt"/>
                          <a:ea typeface="+mn-ea"/>
                          <a:cs typeface="+mn-cs"/>
                        </a:rPr>
                        <a:t>BI Tool:  Tableau , Qlik Sense</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a:p>
                  </a:txBody>
                  <a:tcPr/>
                </a:tc>
                <a:tc hMerge="1">
                  <a:txBody>
                    <a:bodyPr/>
                    <a:lstStyle/>
                    <a:p>
                      <a:endParaRPr lang="en-US"/>
                    </a:p>
                  </a:txBody>
                  <a:tcPr/>
                </a:tc>
                <a:tc gridSpan="2">
                  <a:txBody>
                    <a:bodyPr/>
                    <a:lstStyle/>
                    <a:p>
                      <a:pPr marL="171450" marR="0" lvl="0" indent="-171450" algn="l" defTabSz="1266737" rtl="0" eaLnBrk="1" latinLnBrk="0" hangingPunct="1">
                        <a:lnSpc>
                          <a:spcPct val="100000"/>
                        </a:lnSpc>
                        <a:spcBef>
                          <a:spcPts val="0"/>
                        </a:spcBef>
                        <a:spcAft>
                          <a:spcPts val="0"/>
                        </a:spcAft>
                        <a:buFont typeface="Arial" panose="020B0604020202020204" pitchFamily="34" charset="0"/>
                        <a:buChar char="•"/>
                      </a:pPr>
                      <a:r>
                        <a:rPr kumimoji="0" lang="en-US" sz="1050" b="0" i="0" u="none" strike="noStrike" kern="1200" cap="none" spc="0" normalizeH="0" baseline="0" noProof="0">
                          <a:ln>
                            <a:noFill/>
                          </a:ln>
                          <a:solidFill>
                            <a:srgbClr val="000000"/>
                          </a:solidFill>
                          <a:effectLst/>
                          <a:uLnTx/>
                          <a:uFillTx/>
                          <a:latin typeface="+mn-lt"/>
                          <a:ea typeface="+mn-ea"/>
                          <a:cs typeface="+mn-cs"/>
                        </a:rPr>
                        <a:t>Languages:  R, SAS, Python, SQL</a:t>
                      </a:r>
                    </a:p>
                    <a:p>
                      <a:pPr marL="171450" marR="0" lvl="0" indent="-171450" algn="l" defTabSz="1266737" rtl="0" eaLnBrk="1" latinLnBrk="0" hangingPunct="1">
                        <a:lnSpc>
                          <a:spcPct val="100000"/>
                        </a:lnSpc>
                        <a:spcBef>
                          <a:spcPts val="0"/>
                        </a:spcBef>
                        <a:spcAft>
                          <a:spcPts val="0"/>
                        </a:spcAft>
                        <a:buFont typeface="Arial" panose="020B0604020202020204" pitchFamily="34" charset="0"/>
                        <a:buChar char="•"/>
                      </a:pPr>
                      <a:r>
                        <a:rPr kumimoji="0" lang="en-US" sz="1050" b="0" i="0" u="none" strike="noStrike" kern="1200" cap="none" spc="0" normalizeH="0" baseline="0" noProof="0">
                          <a:ln>
                            <a:noFill/>
                          </a:ln>
                          <a:solidFill>
                            <a:srgbClr val="000000"/>
                          </a:solidFill>
                          <a:effectLst/>
                          <a:uLnTx/>
                          <a:uFillTx/>
                          <a:latin typeface="+mn-lt"/>
                          <a:ea typeface="+mn-ea"/>
                          <a:cs typeface="+mn-cs"/>
                        </a:rPr>
                        <a:t>Operating System:  Windows XP</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lnL w="12700" cmpd="sng">
                      <a:noFill/>
                    </a:lnL>
                  </a:tcPr>
                </a:tc>
                <a:extLst>
                  <a:ext uri="{0D108BD9-81ED-4DB2-BD59-A6C34878D82A}">
                    <a16:rowId xmlns:a16="http://schemas.microsoft.com/office/drawing/2014/main" val="1009631101"/>
                  </a:ext>
                </a:extLst>
              </a:tr>
              <a:tr h="225120">
                <a:tc gridSpan="6">
                  <a:txBody>
                    <a:bodyPr/>
                    <a:lstStyle/>
                    <a:p>
                      <a:pPr marL="0" algn="l" defTabSz="914400" rtl="0" eaLnBrk="1" latinLnBrk="0" hangingPunct="1"/>
                      <a:r>
                        <a:rPr lang="en-US" sz="1050" b="1" u="sng" kern="1200">
                          <a:solidFill>
                            <a:srgbClr val="000000"/>
                          </a:solidFill>
                          <a:latin typeface="+mn-lt"/>
                          <a:ea typeface="+mn-ea"/>
                          <a:cs typeface="+mn-cs"/>
                        </a:rPr>
                        <a:t>RELEVANT EXPERIENCE</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lnL w="12700" cmpd="sng">
                      <a:noFill/>
                    </a:lnL>
                  </a:tcPr>
                </a:tc>
                <a:extLst>
                  <a:ext uri="{0D108BD9-81ED-4DB2-BD59-A6C34878D82A}">
                    <a16:rowId xmlns:a16="http://schemas.microsoft.com/office/drawing/2014/main" val="3322682632"/>
                  </a:ext>
                </a:extLst>
              </a:tr>
              <a:tr h="225120">
                <a:tc gridSpan="6">
                  <a:txBody>
                    <a:bodyPr/>
                    <a:lstStyle/>
                    <a:p>
                      <a:pPr marL="171450" marR="0" lvl="0" indent="-171450" algn="l" defTabSz="1266737" rtl="0" eaLnBrk="1" latinLnBrk="0" hangingPunct="1">
                        <a:lnSpc>
                          <a:spcPct val="100000"/>
                        </a:lnSpc>
                        <a:spcBef>
                          <a:spcPts val="0"/>
                        </a:spcBef>
                        <a:spcAft>
                          <a:spcPts val="0"/>
                        </a:spcAft>
                        <a:buFont typeface="Arial" panose="020B0604020202020204" pitchFamily="34" charset="0"/>
                        <a:buChar char="•"/>
                      </a:pPr>
                      <a:r>
                        <a:rPr kumimoji="0" lang="en-US" sz="1050" b="0" i="0" u="none" strike="noStrike" kern="1200" cap="none" spc="0" normalizeH="0" baseline="0" noProof="0" dirty="0">
                          <a:ln>
                            <a:noFill/>
                          </a:ln>
                          <a:solidFill>
                            <a:srgbClr val="000000"/>
                          </a:solidFill>
                          <a:effectLst/>
                          <a:uLnTx/>
                          <a:uFillTx/>
                          <a:latin typeface="+mn-lt"/>
                          <a:ea typeface="+mn-ea"/>
                          <a:cs typeface="+mn-cs"/>
                        </a:rPr>
                        <a:t>Worked on a long term project at India’s largest public sector bank  where she developed cross sell, upsell and recommendation model increasing the propensity to buy asset and joint venture products, applied machine learning algorithms to predict the affinity to buy. She developed the approach to derive preferred channel/next best product of a churn model to target the customers.</a:t>
                      </a:r>
                    </a:p>
                    <a:p>
                      <a:pPr marL="171450" marR="0" lvl="0" indent="-171450" algn="l" defTabSz="1266737" rtl="0" eaLnBrk="1" latinLnBrk="0" hangingPunct="1">
                        <a:lnSpc>
                          <a:spcPct val="100000"/>
                        </a:lnSpc>
                        <a:spcBef>
                          <a:spcPts val="0"/>
                        </a:spcBef>
                        <a:spcAft>
                          <a:spcPts val="0"/>
                        </a:spcAft>
                        <a:buFont typeface="Arial" panose="020B0604020202020204" pitchFamily="34" charset="0"/>
                        <a:buChar char="•"/>
                      </a:pPr>
                      <a:endParaRPr kumimoji="0" lang="en-US" sz="1050" b="0" i="0" u="none" strike="noStrike" kern="1200" cap="none" spc="0" normalizeH="0" baseline="0" noProof="0" dirty="0">
                        <a:ln>
                          <a:noFill/>
                        </a:ln>
                        <a:solidFill>
                          <a:srgbClr val="000000"/>
                        </a:solidFill>
                        <a:effectLst/>
                        <a:uLnTx/>
                        <a:uFillTx/>
                        <a:latin typeface="+mn-lt"/>
                        <a:ea typeface="+mn-ea"/>
                        <a:cs typeface="+mn-cs"/>
                      </a:endParaRPr>
                    </a:p>
                    <a:p>
                      <a:pPr marL="171450" marR="0" lvl="0" indent="-171450" algn="l" defTabSz="1266737" rtl="0" eaLnBrk="1" latinLnBrk="0" hangingPunct="1">
                        <a:lnSpc>
                          <a:spcPct val="100000"/>
                        </a:lnSpc>
                        <a:spcBef>
                          <a:spcPts val="0"/>
                        </a:spcBef>
                        <a:spcAft>
                          <a:spcPts val="0"/>
                        </a:spcAft>
                        <a:buFont typeface="Arial" panose="020B0604020202020204" pitchFamily="34" charset="0"/>
                        <a:buChar char="•"/>
                      </a:pPr>
                      <a:r>
                        <a:rPr kumimoji="0" lang="en-US" sz="1050" b="0" i="0" u="none" strike="noStrike" kern="1200" cap="none" spc="0" normalizeH="0" baseline="0" noProof="0" dirty="0">
                          <a:ln>
                            <a:noFill/>
                          </a:ln>
                          <a:solidFill>
                            <a:srgbClr val="000000"/>
                          </a:solidFill>
                          <a:effectLst/>
                          <a:uLnTx/>
                          <a:uFillTx/>
                          <a:latin typeface="+mn-lt"/>
                          <a:ea typeface="+mn-ea"/>
                          <a:cs typeface="+mn-cs"/>
                        </a:rPr>
                        <a:t>Worked with the digital analytics team of India’s fastest growing Life Insurance venture with the objective to analyze and predict the behavior of prospective customers visiting the website. Developed a lead scoring model to predict which visitors are likely to buy their product. Developed a marketing mix model to establish a causation between campaign spends and conversions. Worked with the underwriting team and developed Logistic, GBM and </a:t>
                      </a:r>
                      <a:r>
                        <a:rPr kumimoji="0" lang="en-US" sz="1050" b="0" i="0" u="none" strike="noStrike" kern="1200" cap="none" spc="0" normalizeH="0" baseline="0" noProof="0" dirty="0" err="1">
                          <a:ln>
                            <a:noFill/>
                          </a:ln>
                          <a:solidFill>
                            <a:srgbClr val="000000"/>
                          </a:solidFill>
                          <a:effectLst/>
                          <a:uLnTx/>
                          <a:uFillTx/>
                          <a:latin typeface="+mn-lt"/>
                          <a:ea typeface="+mn-ea"/>
                          <a:cs typeface="+mn-cs"/>
                        </a:rPr>
                        <a:t>XGBoost</a:t>
                      </a:r>
                      <a:r>
                        <a:rPr kumimoji="0" lang="en-US" sz="1050" b="0" i="0" u="none" strike="noStrike" kern="1200" cap="none" spc="0" normalizeH="0" baseline="0" noProof="0" dirty="0">
                          <a:ln>
                            <a:noFill/>
                          </a:ln>
                          <a:solidFill>
                            <a:srgbClr val="000000"/>
                          </a:solidFill>
                          <a:effectLst/>
                          <a:uLnTx/>
                          <a:uFillTx/>
                          <a:latin typeface="+mn-lt"/>
                          <a:ea typeface="+mn-ea"/>
                          <a:cs typeface="+mn-cs"/>
                        </a:rPr>
                        <a:t> predictive models to predict early claims or rejections at the time of underwriting to make the process efficient and which reduces human efforts of manual underwriting proces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lnL w="12700" cmpd="sng">
                      <a:noFill/>
                    </a:lnL>
                  </a:tcPr>
                </a:tc>
                <a:extLst>
                  <a:ext uri="{0D108BD9-81ED-4DB2-BD59-A6C34878D82A}">
                    <a16:rowId xmlns:a16="http://schemas.microsoft.com/office/drawing/2014/main" val="2087447848"/>
                  </a:ext>
                </a:extLst>
              </a:tr>
            </a:tbl>
          </a:graphicData>
        </a:graphic>
      </p:graphicFrame>
      <p:pic>
        <p:nvPicPr>
          <p:cNvPr id="9" name="Picture 8">
            <a:extLst>
              <a:ext uri="{FF2B5EF4-FFF2-40B4-BE49-F238E27FC236}">
                <a16:creationId xmlns:a16="http://schemas.microsoft.com/office/drawing/2014/main" id="{9CAECE4E-28B1-47E7-A8D0-C3D7EC4B1162}"/>
              </a:ext>
            </a:extLst>
          </p:cNvPr>
          <p:cNvPicPr>
            <a:picLocks noChangeAspect="1"/>
          </p:cNvPicPr>
          <p:nvPr/>
        </p:nvPicPr>
        <p:blipFill>
          <a:blip r:embed="rId4" cstate="print">
            <a:grayscl/>
            <a:extLst>
              <a:ext uri="{28A0092B-C50C-407E-A947-70E740481C1C}">
                <a14:useLocalDpi xmlns:a14="http://schemas.microsoft.com/office/drawing/2010/main" val="0"/>
              </a:ext>
            </a:extLst>
          </a:blip>
          <a:stretch>
            <a:fillRect/>
          </a:stretch>
        </p:blipFill>
        <p:spPr>
          <a:xfrm>
            <a:off x="7825563" y="1419783"/>
            <a:ext cx="659218" cy="648564"/>
          </a:xfrm>
          <a:prstGeom prst="flowChartConnector">
            <a:avLst/>
          </a:prstGeom>
        </p:spPr>
      </p:pic>
      <p:sp>
        <p:nvSpPr>
          <p:cNvPr id="10" name="Title 2">
            <a:extLst>
              <a:ext uri="{FF2B5EF4-FFF2-40B4-BE49-F238E27FC236}">
                <a16:creationId xmlns:a16="http://schemas.microsoft.com/office/drawing/2014/main" id="{A043BDBD-B625-4B29-909C-D90F351E595B}"/>
              </a:ext>
            </a:extLst>
          </p:cNvPr>
          <p:cNvSpPr>
            <a:spLocks noGrp="1"/>
          </p:cNvSpPr>
          <p:nvPr>
            <p:ph type="title"/>
          </p:nvPr>
        </p:nvSpPr>
        <p:spPr>
          <a:xfrm>
            <a:off x="943200" y="608400"/>
            <a:ext cx="11700000" cy="741600"/>
          </a:xfrm>
        </p:spPr>
        <p:txBody>
          <a:bodyPr/>
          <a:lstStyle/>
          <a:p>
            <a:r>
              <a:rPr lang="en-GB"/>
              <a:t>Our data science and data management team</a:t>
            </a:r>
            <a:endParaRPr lang="en-US"/>
          </a:p>
        </p:txBody>
      </p:sp>
    </p:spTree>
    <p:extLst>
      <p:ext uri="{BB962C8B-B14F-4D97-AF65-F5344CB8AC3E}">
        <p14:creationId xmlns:p14="http://schemas.microsoft.com/office/powerpoint/2010/main" val="100221668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able 12">
            <a:extLst>
              <a:ext uri="{FF2B5EF4-FFF2-40B4-BE49-F238E27FC236}">
                <a16:creationId xmlns:a16="http://schemas.microsoft.com/office/drawing/2014/main" id="{98685DB1-E591-438C-BDCF-40A589314A97}"/>
              </a:ext>
            </a:extLst>
          </p:cNvPr>
          <p:cNvGraphicFramePr>
            <a:graphicFrameLocks noGrp="1"/>
          </p:cNvGraphicFramePr>
          <p:nvPr>
            <p:extLst>
              <p:ext uri="{D42A27DB-BD31-4B8C-83A1-F6EECF244321}">
                <p14:modId xmlns:p14="http://schemas.microsoft.com/office/powerpoint/2010/main" val="3157340053"/>
              </p:ext>
            </p:extLst>
          </p:nvPr>
        </p:nvGraphicFramePr>
        <p:xfrm>
          <a:off x="939837" y="979201"/>
          <a:ext cx="6706104" cy="6572267"/>
        </p:xfrm>
        <a:graphic>
          <a:graphicData uri="http://schemas.openxmlformats.org/drawingml/2006/table">
            <a:tbl>
              <a:tblPr firstRow="1" bandRow="1">
                <a:tableStyleId>{073A0DAA-6AF3-43AB-8588-CEC1D06C72B9}</a:tableStyleId>
              </a:tblPr>
              <a:tblGrid>
                <a:gridCol w="1317493">
                  <a:extLst>
                    <a:ext uri="{9D8B030D-6E8A-4147-A177-3AD203B41FA5}">
                      <a16:colId xmlns:a16="http://schemas.microsoft.com/office/drawing/2014/main" val="3339861616"/>
                    </a:ext>
                  </a:extLst>
                </a:gridCol>
                <a:gridCol w="310700">
                  <a:extLst>
                    <a:ext uri="{9D8B030D-6E8A-4147-A177-3AD203B41FA5}">
                      <a16:colId xmlns:a16="http://schemas.microsoft.com/office/drawing/2014/main" val="2049419460"/>
                    </a:ext>
                  </a:extLst>
                </a:gridCol>
                <a:gridCol w="1217943">
                  <a:extLst>
                    <a:ext uri="{9D8B030D-6E8A-4147-A177-3AD203B41FA5}">
                      <a16:colId xmlns:a16="http://schemas.microsoft.com/office/drawing/2014/main" val="848844053"/>
                    </a:ext>
                  </a:extLst>
                </a:gridCol>
                <a:gridCol w="439372">
                  <a:extLst>
                    <a:ext uri="{9D8B030D-6E8A-4147-A177-3AD203B41FA5}">
                      <a16:colId xmlns:a16="http://schemas.microsoft.com/office/drawing/2014/main" val="3827351894"/>
                    </a:ext>
                  </a:extLst>
                </a:gridCol>
                <a:gridCol w="1140198">
                  <a:extLst>
                    <a:ext uri="{9D8B030D-6E8A-4147-A177-3AD203B41FA5}">
                      <a16:colId xmlns:a16="http://schemas.microsoft.com/office/drawing/2014/main" val="1270318144"/>
                    </a:ext>
                  </a:extLst>
                </a:gridCol>
                <a:gridCol w="2280398">
                  <a:extLst>
                    <a:ext uri="{9D8B030D-6E8A-4147-A177-3AD203B41FA5}">
                      <a16:colId xmlns:a16="http://schemas.microsoft.com/office/drawing/2014/main" val="4278599134"/>
                    </a:ext>
                  </a:extLst>
                </a:gridCol>
              </a:tblGrid>
              <a:tr h="275202">
                <a:tc gridSpan="6">
                  <a:txBody>
                    <a:bodyPr/>
                    <a:lstStyle/>
                    <a:p>
                      <a:r>
                        <a:rPr lang="en-US" sz="1200">
                          <a:solidFill>
                            <a:schemeClr val="tx2"/>
                          </a:solidFill>
                        </a:rPr>
                        <a:t>DATA MANAGEMENT CONSULTANT</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00A3AE"/>
                    </a:solidFill>
                  </a:tcPr>
                </a:tc>
                <a:tc hMerge="1">
                  <a:txBody>
                    <a:bodyPr/>
                    <a:lstStyle/>
                    <a:p>
                      <a:endParaRPr lang="en-US" sz="1400">
                        <a:solidFill>
                          <a:srgbClr val="000000"/>
                        </a:solidFill>
                      </a:endParaRPr>
                    </a:p>
                  </a:txBody>
                  <a:tcP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267045867"/>
                  </a:ext>
                </a:extLst>
              </a:tr>
              <a:tr h="270169">
                <a:tc gridSpan="6">
                  <a:txBody>
                    <a:bodyPr/>
                    <a:lstStyle/>
                    <a:p>
                      <a:endParaRPr lang="en-US" sz="1050">
                        <a:solidFill>
                          <a:srgbClr val="45B9BE"/>
                        </a:solidFill>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2152776218"/>
                  </a:ext>
                </a:extLst>
              </a:tr>
              <a:tr h="458670">
                <a:tc>
                  <a:txBody>
                    <a:bodyPr/>
                    <a:lstStyle/>
                    <a:p>
                      <a:endParaRPr lang="en-US" sz="1050"/>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gridSpan="2">
                  <a:txBody>
                    <a:bodyPr/>
                    <a:lstStyle/>
                    <a:p>
                      <a:pPr>
                        <a:spcAft>
                          <a:spcPct val="0"/>
                        </a:spcAft>
                        <a:buClrTx/>
                        <a:buSzTx/>
                        <a:buFontTx/>
                        <a:buNone/>
                      </a:pPr>
                      <a:r>
                        <a:rPr lang="en-US" sz="1200" b="1">
                          <a:solidFill>
                            <a:srgbClr val="000000"/>
                          </a:solidFill>
                          <a:latin typeface="EYInterstate" panose="02000503020000020004" pitchFamily="2" charset="0"/>
                          <a:ea typeface="Century Gothic" charset="0"/>
                          <a:cs typeface="Century Gothic" charset="0"/>
                        </a:rPr>
                        <a:t>Arindom Bhattacharjee</a:t>
                      </a:r>
                    </a:p>
                  </a:txBody>
                  <a:tcPr>
                    <a:lnL w="12700" cmpd="sng">
                      <a:noFill/>
                    </a:lnL>
                    <a:lnR w="9525" cap="flat" cmpd="sng" algn="ctr">
                      <a:solidFill>
                        <a:srgbClr val="000000"/>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gridSpan="3">
                  <a:txBody>
                    <a:bodyPr/>
                    <a:lstStyle/>
                    <a:p>
                      <a:endParaRPr kumimoji="0" lang="en-US" sz="1200" b="0" i="0" u="none" strike="noStrike" kern="1200" cap="none" spc="0" normalizeH="0" baseline="0" noProof="0">
                        <a:ln>
                          <a:noFill/>
                        </a:ln>
                        <a:solidFill>
                          <a:srgbClr val="000000"/>
                        </a:solidFill>
                        <a:effectLst/>
                        <a:uLnTx/>
                        <a:uFillTx/>
                        <a:latin typeface="+mn-lt"/>
                      </a:endParaRPr>
                    </a:p>
                  </a:txBody>
                  <a:tcPr>
                    <a:lnL w="9525" cap="flat" cmpd="sng" algn="ctr">
                      <a:solidFill>
                        <a:srgbClr val="000000"/>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2083915768"/>
                  </a:ext>
                </a:extLst>
              </a:tr>
              <a:tr h="275202">
                <a:tc>
                  <a:txBody>
                    <a:bodyPr/>
                    <a:lstStyle/>
                    <a:p>
                      <a:endParaRPr lang="en-US" sz="1050"/>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gridSpan="2">
                  <a:txBody>
                    <a:bodyPr/>
                    <a:lstStyle/>
                    <a:p>
                      <a:endParaRPr lang="en-US" sz="1050">
                        <a:solidFill>
                          <a:srgbClr val="000000"/>
                        </a:solidFill>
                      </a:endParaRPr>
                    </a:p>
                  </a:txBody>
                  <a:tcPr>
                    <a:lnL w="12700" cmpd="sng">
                      <a:noFill/>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gridSpan="3">
                  <a:txBody>
                    <a:bodyPr/>
                    <a:lstStyle/>
                    <a:p>
                      <a:endParaRPr lang="en-IN" sz="1200" b="0" i="0">
                        <a:solidFill>
                          <a:srgbClr val="000000"/>
                        </a:solidFill>
                        <a:latin typeface="+mn-lt"/>
                      </a:endParaRPr>
                    </a:p>
                  </a:txBody>
                  <a:tcPr>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2018406057"/>
                  </a:ext>
                </a:extLst>
              </a:tr>
              <a:tr h="412803">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b="1" u="sng">
                          <a:solidFill>
                            <a:srgbClr val="000000"/>
                          </a:solidFill>
                        </a:rPr>
                        <a:t>ABLE TO WORK IN SG</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50" b="1">
                        <a:solidFill>
                          <a:srgbClr val="000000"/>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75000"/>
                      </a:schemeClr>
                    </a:solidFill>
                  </a:tcPr>
                </a:tc>
                <a:tc gridSpan="3">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b="1" u="sng">
                          <a:solidFill>
                            <a:srgbClr val="000000"/>
                          </a:solidFill>
                        </a:rPr>
                        <a:t>HIGHEST EDUCATION</a:t>
                      </a:r>
                      <a:endParaRPr lang="en-US" sz="1050" b="1">
                        <a:solidFill>
                          <a:srgbClr val="000000"/>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50" b="1">
                        <a:solidFill>
                          <a:srgbClr val="000000"/>
                        </a:solidFill>
                      </a:endParaRPr>
                    </a:p>
                  </a:txBody>
                  <a:tcPr/>
                </a:tc>
                <a:tc hMerge="1">
                  <a:txBody>
                    <a:bodyPr/>
                    <a:lstStyle/>
                    <a:p>
                      <a:endParaRPr lang="en-US"/>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b="1" u="sng">
                          <a:solidFill>
                            <a:srgbClr val="000000"/>
                          </a:solidFill>
                        </a:rPr>
                        <a:t>EMPLOYMENT (LAST 3 YEARS)</a:t>
                      </a:r>
                      <a:endParaRPr lang="en-US" sz="1050" b="1">
                        <a:solidFill>
                          <a:srgbClr val="000000"/>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46864712"/>
                  </a:ext>
                </a:extLst>
              </a:tr>
              <a:tr h="412803">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b="0" kern="1200">
                          <a:solidFill>
                            <a:srgbClr val="000000"/>
                          </a:solidFill>
                          <a:latin typeface="+mn-lt"/>
                          <a:ea typeface="+mn-ea"/>
                          <a:cs typeface="+mn-cs"/>
                        </a:rPr>
                        <a:t>Ye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sz="1050" b="0">
                        <a:solidFill>
                          <a:schemeClr val="bg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kern="0">
                          <a:solidFill>
                            <a:srgbClr val="000000"/>
                          </a:solidFill>
                        </a:rPr>
                        <a:t>Bachelor’s Degree in Engineering from Anna University, India​</a:t>
                      </a:r>
                      <a:endParaRPr lang="en-US" sz="1050" b="0" kern="1200">
                        <a:solidFill>
                          <a:schemeClr val="bg1"/>
                        </a:solidFill>
                        <a:latin typeface="+mn-lt"/>
                        <a:ea typeface="+mn-ea"/>
                        <a:cs typeface="+mn-cs"/>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b="0" i="0" u="none" strike="noStrike" kern="1200" noProof="0"/>
                        <a:t>EY</a:t>
                      </a:r>
                      <a:endParaRPr lang="en-US" sz="1050" b="0" kern="1200">
                        <a:solidFill>
                          <a:srgbClr val="000000"/>
                        </a:solidFill>
                        <a:latin typeface="+mn-lt"/>
                        <a:ea typeface="+mn-ea"/>
                        <a:cs typeface="+mn-cs"/>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47307066"/>
                  </a:ext>
                </a:extLst>
              </a:tr>
              <a:tr h="252269">
                <a:tc gridSpan="6">
                  <a:txBody>
                    <a:bodyPr/>
                    <a:lstStyle/>
                    <a:p>
                      <a:pPr marL="0" algn="l" defTabSz="914400" rtl="0" eaLnBrk="1" latinLnBrk="0" hangingPunct="1"/>
                      <a:r>
                        <a:rPr lang="en-US" sz="1050" b="1" u="sng" kern="1200">
                          <a:solidFill>
                            <a:srgbClr val="000000"/>
                          </a:solidFill>
                          <a:latin typeface="+mn-lt"/>
                          <a:ea typeface="+mn-ea"/>
                          <a:cs typeface="+mn-cs"/>
                        </a:rPr>
                        <a:t>BACKGROUND</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3678239183"/>
                  </a:ext>
                </a:extLst>
              </a:tr>
              <a:tr h="958590">
                <a:tc gridSpan="6">
                  <a:txBody>
                    <a:bodyPr/>
                    <a:lstStyle/>
                    <a:p>
                      <a:pPr marL="171450" indent="-171450" algn="l" defTabSz="914400" rtl="0" eaLnBrk="1" latinLnBrk="0" hangingPunct="1">
                        <a:buFont typeface="Arial" panose="020B0604020202020204" pitchFamily="34" charset="0"/>
                        <a:buChar char="•"/>
                      </a:pPr>
                      <a:r>
                        <a:rPr lang="en-US" sz="1050" b="0" kern="1200" dirty="0">
                          <a:solidFill>
                            <a:srgbClr val="000000"/>
                          </a:solidFill>
                          <a:latin typeface="+mn-lt"/>
                          <a:ea typeface="+mn-ea"/>
                          <a:cs typeface="+mn-cs"/>
                        </a:rPr>
                        <a:t>Arindom has around 12 years of experience in designing, development,  implementation and delivery of enterprise solutions and large scale distributed Hadoop systems.</a:t>
                      </a:r>
                    </a:p>
                    <a:p>
                      <a:pPr marL="171450" indent="-171450" algn="l" defTabSz="914400" rtl="0" eaLnBrk="1" latinLnBrk="0" hangingPunct="1">
                        <a:buFont typeface="Arial" panose="020B0604020202020204" pitchFamily="34" charset="0"/>
                        <a:buChar char="•"/>
                      </a:pPr>
                      <a:r>
                        <a:rPr lang="en-US" sz="1050" b="0" kern="1200" dirty="0">
                          <a:solidFill>
                            <a:srgbClr val="000000"/>
                          </a:solidFill>
                          <a:latin typeface="+mn-lt"/>
                          <a:ea typeface="+mn-ea"/>
                          <a:cs typeface="+mn-cs"/>
                        </a:rPr>
                        <a:t>He has played key roles like Data Engineering Lead and worked across various areas such as technical solution designing, development and deployment of multiple projects that range from enterprise level Data Lake creation to various use case specific Data Mart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3917136942"/>
                  </a:ext>
                </a:extLst>
              </a:tr>
              <a:tr h="252269">
                <a:tc gridSpan="6">
                  <a:txBody>
                    <a:bodyPr/>
                    <a:lstStyle/>
                    <a:p>
                      <a:pPr marL="0" marR="0" lvl="0" indent="0" algn="l" defTabSz="1266737" rtl="0" eaLnBrk="1" latinLnBrk="0" hangingPunct="1">
                        <a:lnSpc>
                          <a:spcPct val="100000"/>
                        </a:lnSpc>
                        <a:spcBef>
                          <a:spcPts val="0"/>
                        </a:spcBef>
                        <a:spcAft>
                          <a:spcPts val="0"/>
                        </a:spcAft>
                        <a:buNone/>
                      </a:pPr>
                      <a:r>
                        <a:rPr lang="en-US" sz="1050" b="1" u="sng" kern="1200" noProof="0">
                          <a:solidFill>
                            <a:srgbClr val="000000"/>
                          </a:solidFill>
                          <a:latin typeface="+mn-lt"/>
                          <a:ea typeface="+mn-ea"/>
                          <a:cs typeface="+mn-cs"/>
                        </a:rPr>
                        <a:t>PROFESSIONAL CAPABILITIE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a:p>
                  </a:txBody>
                  <a:tcPr/>
                </a:tc>
                <a:tc hMerge="1">
                  <a:txBody>
                    <a:bodyPr/>
                    <a:lstStyle/>
                    <a:p>
                      <a:pPr marL="0" marR="0" lvl="0" indent="0" algn="l">
                        <a:lnSpc>
                          <a:spcPct val="100000"/>
                        </a:lnSpc>
                        <a:spcBef>
                          <a:spcPts val="0"/>
                        </a:spcBef>
                        <a:spcAft>
                          <a:spcPts val="0"/>
                        </a:spcAft>
                        <a:buNone/>
                      </a:pPr>
                      <a:endParaRPr lang="en-US" sz="1050" b="0" i="0" u="none" strike="noStrike" kern="1200" noProof="0">
                        <a:highlight>
                          <a:srgbClr val="FFFF00"/>
                        </a:highlight>
                      </a:endParaRPr>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2989454977"/>
                  </a:ext>
                </a:extLst>
              </a:tr>
              <a:tr h="733872">
                <a:tc gridSpan="4">
                  <a:txBody>
                    <a:bodyPr/>
                    <a:lstStyle/>
                    <a:p>
                      <a:pPr marL="171450" marR="0" lvl="0" indent="-171450" algn="l" defTabSz="1266737" rtl="0" eaLnBrk="1" latinLnBrk="0" hangingPunct="1">
                        <a:lnSpc>
                          <a:spcPct val="100000"/>
                        </a:lnSpc>
                        <a:spcBef>
                          <a:spcPts val="0"/>
                        </a:spcBef>
                        <a:spcAft>
                          <a:spcPts val="0"/>
                        </a:spcAft>
                        <a:buFont typeface="Arial" panose="020B0604020202020204" pitchFamily="34" charset="0"/>
                        <a:buChar char="•"/>
                      </a:pPr>
                      <a:r>
                        <a:rPr kumimoji="0" lang="en-US" sz="1050" b="0" i="0" u="none" strike="noStrike" kern="1200" cap="none" spc="0" normalizeH="0" baseline="0" noProof="0">
                          <a:ln>
                            <a:noFill/>
                          </a:ln>
                          <a:solidFill>
                            <a:srgbClr val="000000"/>
                          </a:solidFill>
                          <a:effectLst/>
                          <a:uLnTx/>
                          <a:uFillTx/>
                          <a:latin typeface="+mn-lt"/>
                          <a:ea typeface="+mn-ea"/>
                          <a:cs typeface="+mn-cs"/>
                        </a:rPr>
                        <a:t>Apache Spark &amp; Hive Certifications ​</a:t>
                      </a:r>
                    </a:p>
                    <a:p>
                      <a:pPr marL="171450" marR="0" lvl="0" indent="-171450" algn="l" defTabSz="1266737" rtl="0" eaLnBrk="1" latinLnBrk="0" hangingPunct="1">
                        <a:lnSpc>
                          <a:spcPct val="100000"/>
                        </a:lnSpc>
                        <a:spcBef>
                          <a:spcPts val="0"/>
                        </a:spcBef>
                        <a:spcAft>
                          <a:spcPts val="0"/>
                        </a:spcAft>
                        <a:buFont typeface="Arial" panose="020B0604020202020204" pitchFamily="34" charset="0"/>
                        <a:buChar char="•"/>
                      </a:pPr>
                      <a:r>
                        <a:rPr kumimoji="0" lang="en-US" sz="1050" b="0" i="0" u="none" strike="noStrike" kern="1200" cap="none" spc="0" normalizeH="0" baseline="0" noProof="0">
                          <a:ln>
                            <a:noFill/>
                          </a:ln>
                          <a:solidFill>
                            <a:srgbClr val="000000"/>
                          </a:solidFill>
                          <a:effectLst/>
                          <a:uLnTx/>
                          <a:uFillTx/>
                          <a:latin typeface="+mn-lt"/>
                          <a:ea typeface="+mn-ea"/>
                          <a:cs typeface="+mn-cs"/>
                        </a:rPr>
                        <a:t>Hadoop Technologies (Hive, Pig, Sqoop)​</a:t>
                      </a:r>
                    </a:p>
                    <a:p>
                      <a:pPr marL="171450" marR="0" lvl="0" indent="-171450" algn="l" defTabSz="1266737" rtl="0" eaLnBrk="1" latinLnBrk="0" hangingPunct="1">
                        <a:lnSpc>
                          <a:spcPct val="100000"/>
                        </a:lnSpc>
                        <a:spcBef>
                          <a:spcPts val="0"/>
                        </a:spcBef>
                        <a:spcAft>
                          <a:spcPts val="0"/>
                        </a:spcAft>
                        <a:buFont typeface="Arial" panose="020B0604020202020204" pitchFamily="34" charset="0"/>
                        <a:buChar char="•"/>
                      </a:pPr>
                      <a:r>
                        <a:rPr kumimoji="0" lang="en-US" sz="1050" b="0" i="0" u="none" strike="noStrike" kern="1200" cap="none" spc="0" normalizeH="0" baseline="0" noProof="0">
                          <a:ln>
                            <a:noFill/>
                          </a:ln>
                          <a:solidFill>
                            <a:srgbClr val="000000"/>
                          </a:solidFill>
                          <a:effectLst/>
                          <a:uLnTx/>
                          <a:uFillTx/>
                          <a:latin typeface="+mn-lt"/>
                          <a:ea typeface="+mn-ea"/>
                          <a:cs typeface="+mn-cs"/>
                        </a:rPr>
                        <a:t>ETL tools like Talend BDP​</a:t>
                      </a:r>
                    </a:p>
                    <a:p>
                      <a:pPr marL="171450" marR="0" lvl="0" indent="-171450" algn="l" defTabSz="126673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a:ln>
                            <a:noFill/>
                          </a:ln>
                          <a:solidFill>
                            <a:srgbClr val="000000"/>
                          </a:solidFill>
                          <a:effectLst/>
                          <a:uLnTx/>
                          <a:uFillTx/>
                          <a:latin typeface="+mn-lt"/>
                          <a:ea typeface="+mn-ea"/>
                          <a:cs typeface="+mn-cs"/>
                        </a:rPr>
                        <a:t>Experienced in Scala, Python &amp; Java</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a:p>
                  </a:txBody>
                  <a:tcPr/>
                </a:tc>
                <a:tc hMerge="1">
                  <a:txBody>
                    <a:bodyPr/>
                    <a:lstStyle/>
                    <a:p>
                      <a:endParaRPr lang="en-US"/>
                    </a:p>
                  </a:txBody>
                  <a:tcPr/>
                </a:tc>
                <a:tc gridSpan="2">
                  <a:txBody>
                    <a:bodyPr/>
                    <a:lstStyle/>
                    <a:p>
                      <a:pPr marL="171450" marR="0" lvl="0" indent="-171450" algn="l" defTabSz="1266737" rtl="0" eaLnBrk="1" latinLnBrk="0" hangingPunct="1">
                        <a:lnSpc>
                          <a:spcPct val="100000"/>
                        </a:lnSpc>
                        <a:spcBef>
                          <a:spcPts val="0"/>
                        </a:spcBef>
                        <a:spcAft>
                          <a:spcPts val="0"/>
                        </a:spcAft>
                        <a:buFont typeface="Arial" panose="020B0604020202020204" pitchFamily="34" charset="0"/>
                        <a:buChar char="•"/>
                      </a:pPr>
                      <a:r>
                        <a:rPr kumimoji="0" lang="en-US" sz="1050" b="0" i="0" u="none" strike="noStrike" kern="1200" cap="none" spc="0" normalizeH="0" baseline="0" noProof="0">
                          <a:ln>
                            <a:noFill/>
                          </a:ln>
                          <a:solidFill>
                            <a:srgbClr val="000000"/>
                          </a:solidFill>
                          <a:effectLst/>
                          <a:uLnTx/>
                          <a:uFillTx/>
                          <a:latin typeface="+mn-lt"/>
                          <a:ea typeface="+mn-ea"/>
                          <a:cs typeface="+mn-cs"/>
                        </a:rPr>
                        <a:t>Enterprise Data Lake and Data Marts architecture designing​</a:t>
                      </a:r>
                    </a:p>
                    <a:p>
                      <a:pPr marL="171450" marR="0" lvl="0" indent="-171450" algn="l" defTabSz="1266737" rtl="0" eaLnBrk="1" latinLnBrk="0" hangingPunct="1">
                        <a:lnSpc>
                          <a:spcPct val="100000"/>
                        </a:lnSpc>
                        <a:spcBef>
                          <a:spcPts val="0"/>
                        </a:spcBef>
                        <a:spcAft>
                          <a:spcPts val="0"/>
                        </a:spcAft>
                        <a:buFont typeface="Arial" panose="020B0604020202020204" pitchFamily="34" charset="0"/>
                        <a:buChar char="•"/>
                      </a:pPr>
                      <a:r>
                        <a:rPr kumimoji="0" lang="en-US" sz="1050" b="0" i="0" u="none" strike="noStrike" kern="1200" cap="none" spc="0" normalizeH="0" baseline="0" noProof="0">
                          <a:ln>
                            <a:noFill/>
                          </a:ln>
                          <a:solidFill>
                            <a:srgbClr val="000000"/>
                          </a:solidFill>
                          <a:effectLst/>
                          <a:uLnTx/>
                          <a:uFillTx/>
                          <a:latin typeface="+mn-lt"/>
                          <a:ea typeface="+mn-ea"/>
                          <a:cs typeface="+mn-cs"/>
                        </a:rPr>
                        <a:t>Banking (Core-Banking, Wealth Management, Suitability/Risk Analytic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extLst>
                  <a:ext uri="{0D108BD9-81ED-4DB2-BD59-A6C34878D82A}">
                    <a16:rowId xmlns:a16="http://schemas.microsoft.com/office/drawing/2014/main" val="325936331"/>
                  </a:ext>
                </a:extLst>
              </a:tr>
              <a:tr h="252269">
                <a:tc gridSpan="6">
                  <a:txBody>
                    <a:bodyPr/>
                    <a:lstStyle/>
                    <a:p>
                      <a:pPr marL="0" algn="l" defTabSz="914400" rtl="0" eaLnBrk="1" latinLnBrk="0" hangingPunct="1"/>
                      <a:r>
                        <a:rPr lang="en-US" sz="1050" b="1" u="sng" kern="1200">
                          <a:solidFill>
                            <a:srgbClr val="000000"/>
                          </a:solidFill>
                          <a:latin typeface="+mn-lt"/>
                          <a:ea typeface="+mn-ea"/>
                          <a:cs typeface="+mn-cs"/>
                        </a:rPr>
                        <a:t>RELEVANT EXPERIENCE</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3322682632"/>
                  </a:ext>
                </a:extLst>
              </a:tr>
              <a:tr h="2018149">
                <a:tc gridSpan="6">
                  <a:txBody>
                    <a:bodyPr/>
                    <a:lstStyle/>
                    <a:p>
                      <a:pPr marL="171450" marR="0" lvl="0" indent="-171450" algn="l" defTabSz="1266737" rtl="0" eaLnBrk="1" latinLnBrk="0" hangingPunct="1">
                        <a:lnSpc>
                          <a:spcPct val="100000"/>
                        </a:lnSpc>
                        <a:spcBef>
                          <a:spcPts val="0"/>
                        </a:spcBef>
                        <a:spcAft>
                          <a:spcPts val="0"/>
                        </a:spcAft>
                        <a:buFont typeface="Arial" panose="020B0604020202020204" pitchFamily="34" charset="0"/>
                        <a:buChar char="•"/>
                      </a:pPr>
                      <a:r>
                        <a:rPr kumimoji="0" lang="en-US" sz="1050" b="1" i="0" u="none" strike="noStrike" kern="1200" cap="none" spc="0" normalizeH="0" baseline="0" noProof="0" dirty="0">
                          <a:ln>
                            <a:noFill/>
                          </a:ln>
                          <a:solidFill>
                            <a:srgbClr val="000000"/>
                          </a:solidFill>
                          <a:effectLst/>
                          <a:uLnTx/>
                          <a:uFillTx/>
                          <a:latin typeface="+mn-lt"/>
                          <a:ea typeface="+mn-ea"/>
                          <a:cs typeface="+mn-cs"/>
                        </a:rPr>
                        <a:t>Ingestion of data from disparate source systems into Data Lake for IFRS17 implementation for Great Eastern</a:t>
                      </a:r>
                    </a:p>
                    <a:p>
                      <a:pPr marL="344488" marR="0" lvl="1" indent="-171450" algn="l" defTabSz="1266737" rtl="0" eaLnBrk="1" latinLnBrk="0" hangingPunct="1">
                        <a:lnSpc>
                          <a:spcPct val="100000"/>
                        </a:lnSpc>
                        <a:spcBef>
                          <a:spcPts val="0"/>
                        </a:spcBef>
                        <a:spcAft>
                          <a:spcPts val="0"/>
                        </a:spcAft>
                        <a:buFont typeface="Courier New" panose="02070309020205020404" pitchFamily="49" charset="0"/>
                        <a:buChar char="o"/>
                      </a:pPr>
                      <a:r>
                        <a:rPr kumimoji="0" lang="en-US" sz="1050" b="0" i="0" u="none" strike="noStrike" kern="1200" cap="none" spc="0" normalizeH="0" baseline="0" noProof="0" dirty="0">
                          <a:ln>
                            <a:noFill/>
                          </a:ln>
                          <a:solidFill>
                            <a:srgbClr val="000000"/>
                          </a:solidFill>
                          <a:effectLst/>
                          <a:uLnTx/>
                          <a:uFillTx/>
                          <a:latin typeface="+mn-lt"/>
                          <a:ea typeface="+mn-ea"/>
                          <a:cs typeface="+mn-cs"/>
                        </a:rPr>
                        <a:t>Leads the EY Data Engineering team for IFRS17 data ingestion project into Hadoop Data Lake (aka Big Data Platform) from 8 sources systems and has strong understanding of the underlying data taxonomy.</a:t>
                      </a:r>
                    </a:p>
                    <a:p>
                      <a:pPr marL="171450" marR="0" lvl="0" indent="-171450" algn="l" defTabSz="1266737" rtl="0" eaLnBrk="1" latinLnBrk="0" hangingPunct="1">
                        <a:lnSpc>
                          <a:spcPct val="100000"/>
                        </a:lnSpc>
                        <a:spcBef>
                          <a:spcPts val="0"/>
                        </a:spcBef>
                        <a:spcAft>
                          <a:spcPts val="0"/>
                        </a:spcAft>
                        <a:buFont typeface="Arial" panose="020B0604020202020204" pitchFamily="34" charset="0"/>
                        <a:buChar char="•"/>
                      </a:pPr>
                      <a:r>
                        <a:rPr kumimoji="0" lang="en-US" sz="1050" b="1" i="0" u="none" strike="noStrike" kern="1200" cap="none" spc="0" normalizeH="0" baseline="0" noProof="0" dirty="0">
                          <a:ln>
                            <a:noFill/>
                          </a:ln>
                          <a:solidFill>
                            <a:srgbClr val="000000"/>
                          </a:solidFill>
                          <a:effectLst/>
                          <a:uLnTx/>
                          <a:uFillTx/>
                          <a:latin typeface="+mn-lt"/>
                          <a:ea typeface="+mn-ea"/>
                          <a:cs typeface="+mn-cs"/>
                        </a:rPr>
                        <a:t>Enterprise level Data Lake project for a leading International Bank</a:t>
                      </a:r>
                    </a:p>
                    <a:p>
                      <a:pPr marL="344488" marR="0" lvl="1" indent="-171450" algn="l" defTabSz="1266737" rtl="0" eaLnBrk="1" latinLnBrk="0" hangingPunct="1">
                        <a:lnSpc>
                          <a:spcPct val="100000"/>
                        </a:lnSpc>
                        <a:spcBef>
                          <a:spcPts val="0"/>
                        </a:spcBef>
                        <a:spcAft>
                          <a:spcPts val="0"/>
                        </a:spcAft>
                        <a:buFont typeface="Courier New" panose="02070309020205020404" pitchFamily="49" charset="0"/>
                        <a:buChar char="o"/>
                      </a:pPr>
                      <a:r>
                        <a:rPr kumimoji="0" lang="en-US" sz="1050" b="0" i="0" u="none" strike="noStrike" kern="1200" cap="none" spc="0" normalizeH="0" baseline="0" noProof="0" dirty="0">
                          <a:ln>
                            <a:noFill/>
                          </a:ln>
                          <a:solidFill>
                            <a:srgbClr val="000000"/>
                          </a:solidFill>
                          <a:effectLst/>
                          <a:uLnTx/>
                          <a:uFillTx/>
                          <a:latin typeface="+mn-lt"/>
                          <a:ea typeface="+mn-ea"/>
                          <a:cs typeface="+mn-cs"/>
                        </a:rPr>
                        <a:t>Involved in design and implementation of a scalable infrastructure to ingest and process very large amounts of data (structured and unstructured), for the bank’s Enterprise Data Management platform.</a:t>
                      </a:r>
                    </a:p>
                    <a:p>
                      <a:pPr marL="344488" marR="0" lvl="1" indent="-171450" algn="l" defTabSz="1266737" rtl="0" eaLnBrk="1" latinLnBrk="0" hangingPunct="1">
                        <a:lnSpc>
                          <a:spcPct val="100000"/>
                        </a:lnSpc>
                        <a:spcBef>
                          <a:spcPts val="0"/>
                        </a:spcBef>
                        <a:spcAft>
                          <a:spcPts val="0"/>
                        </a:spcAft>
                        <a:buFont typeface="Courier New" panose="02070309020205020404" pitchFamily="49" charset="0"/>
                        <a:buChar char="o"/>
                      </a:pPr>
                      <a:r>
                        <a:rPr kumimoji="0" lang="en-US" sz="1050" b="0" i="0" u="none" strike="noStrike" kern="1200" cap="none" spc="0" normalizeH="0" baseline="0" noProof="0" dirty="0">
                          <a:ln>
                            <a:noFill/>
                          </a:ln>
                          <a:solidFill>
                            <a:srgbClr val="000000"/>
                          </a:solidFill>
                          <a:effectLst/>
                          <a:uLnTx/>
                          <a:uFillTx/>
                          <a:latin typeface="+mn-lt"/>
                          <a:ea typeface="+mn-ea"/>
                          <a:cs typeface="+mn-cs"/>
                        </a:rPr>
                        <a:t>Data from disparate platforms and systems, spread across 40+ countries were brought into a single data lake, which now serves as the foundation over which all other data analytics projects would be built upon.​</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2087447848"/>
                  </a:ext>
                </a:extLst>
              </a:tr>
            </a:tbl>
          </a:graphicData>
        </a:graphic>
      </p:graphicFrame>
      <p:pic>
        <p:nvPicPr>
          <p:cNvPr id="8" name="Picture 7">
            <a:extLst>
              <a:ext uri="{FF2B5EF4-FFF2-40B4-BE49-F238E27FC236}">
                <a16:creationId xmlns:a16="http://schemas.microsoft.com/office/drawing/2014/main" id="{923C0A31-7AA7-46D4-BB3D-CEA14F798B38}"/>
              </a:ext>
            </a:extLst>
          </p:cNvPr>
          <p:cNvPicPr>
            <a:picLocks noChangeAspect="1"/>
          </p:cNvPicPr>
          <p:nvPr/>
        </p:nvPicPr>
        <p:blipFill>
          <a:blip r:embed="rId3"/>
          <a:stretch>
            <a:fillRect/>
          </a:stretch>
        </p:blipFill>
        <p:spPr>
          <a:xfrm>
            <a:off x="1300024" y="1455100"/>
            <a:ext cx="697768" cy="630071"/>
          </a:xfrm>
          <a:prstGeom prst="flowChartConnector">
            <a:avLst/>
          </a:prstGeom>
          <a:effectLst/>
        </p:spPr>
      </p:pic>
      <p:sp>
        <p:nvSpPr>
          <p:cNvPr id="7" name="Title 2">
            <a:extLst>
              <a:ext uri="{FF2B5EF4-FFF2-40B4-BE49-F238E27FC236}">
                <a16:creationId xmlns:a16="http://schemas.microsoft.com/office/drawing/2014/main" id="{A6C0D2F8-FAF5-4E3E-BD35-6603411D7475}"/>
              </a:ext>
            </a:extLst>
          </p:cNvPr>
          <p:cNvSpPr>
            <a:spLocks noGrp="1"/>
          </p:cNvSpPr>
          <p:nvPr>
            <p:ph type="title"/>
          </p:nvPr>
        </p:nvSpPr>
        <p:spPr>
          <a:xfrm>
            <a:off x="943200" y="608400"/>
            <a:ext cx="11700000" cy="741600"/>
          </a:xfrm>
        </p:spPr>
        <p:txBody>
          <a:bodyPr/>
          <a:lstStyle/>
          <a:p>
            <a:r>
              <a:rPr lang="en-GB"/>
              <a:t>Our data science and data management team</a:t>
            </a:r>
            <a:endParaRPr lang="en-US"/>
          </a:p>
        </p:txBody>
      </p:sp>
    </p:spTree>
    <p:extLst>
      <p:ext uri="{BB962C8B-B14F-4D97-AF65-F5344CB8AC3E}">
        <p14:creationId xmlns:p14="http://schemas.microsoft.com/office/powerpoint/2010/main" val="329555785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7A9C3EF-EC79-EF41-AEE2-C98A0561165D}"/>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8130" name="think-cell Slide" r:id="rId6" imgW="7772400" imgH="10058400" progId="TCLayout.ActiveDocument.1">
                  <p:embed/>
                </p:oleObj>
              </mc:Choice>
              <mc:Fallback>
                <p:oleObj name="think-cell Slide" r:id="rId6" imgW="7772400" imgH="10058400" progId="TCLayout.ActiveDocument.1">
                  <p:embed/>
                  <p:pic>
                    <p:nvPicPr>
                      <p:cNvPr id="4" name="Object 3" hidden="1">
                        <a:extLst>
                          <a:ext uri="{FF2B5EF4-FFF2-40B4-BE49-F238E27FC236}">
                            <a16:creationId xmlns:a16="http://schemas.microsoft.com/office/drawing/2014/main" id="{A7A9C3EF-EC79-EF41-AEE2-C98A0561165D}"/>
                          </a:ext>
                        </a:extLst>
                      </p:cNvPr>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7389429-FF38-8644-86AD-26B3FFE70C1E}"/>
              </a:ext>
            </a:extLst>
          </p:cNvPr>
          <p:cNvSpPr/>
          <p:nvPr>
            <p:custDataLst>
              <p:tags r:id="rId3"/>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marR="0" lvl="0" indent="0" algn="ctr" defTabSz="914400" rtl="0" eaLnBrk="1" fontAlgn="base" latinLnBrk="0" hangingPunct="1">
              <a:lnSpc>
                <a:spcPct val="100000"/>
              </a:lnSpc>
              <a:spcBef>
                <a:spcPct val="0"/>
              </a:spcBef>
              <a:spcAft>
                <a:spcPct val="50000"/>
              </a:spcAft>
              <a:buClr>
                <a:srgbClr val="FFE600"/>
              </a:buClr>
              <a:buSzPct val="80000"/>
              <a:buFont typeface="Arial" charset="0"/>
              <a:buNone/>
              <a:tabLst/>
              <a:defRPr/>
            </a:pPr>
            <a:endParaRPr kumimoji="0" lang="en-GB" sz="2400" b="1" i="0" u="none" strike="noStrike" kern="1200" cap="none" spc="0" normalizeH="0" baseline="0" noProof="0">
              <a:ln>
                <a:noFill/>
              </a:ln>
              <a:solidFill>
                <a:srgbClr val="646464"/>
              </a:solidFill>
              <a:effectLst/>
              <a:uLnTx/>
              <a:uFillTx/>
              <a:latin typeface="EYInterstate" panose="02000503020000020004" pitchFamily="2" charset="0"/>
              <a:ea typeface="+mn-ea"/>
              <a:cs typeface="+mn-cs"/>
              <a:sym typeface="EYInterstate" panose="02000503020000020004" pitchFamily="2" charset="0"/>
            </a:endParaRPr>
          </a:p>
        </p:txBody>
      </p:sp>
      <p:sp>
        <p:nvSpPr>
          <p:cNvPr id="2" name="Title 1">
            <a:extLst>
              <a:ext uri="{FF2B5EF4-FFF2-40B4-BE49-F238E27FC236}">
                <a16:creationId xmlns:a16="http://schemas.microsoft.com/office/drawing/2014/main" id="{C4C23136-0F1A-2043-A138-823BF069E3FE}"/>
              </a:ext>
            </a:extLst>
          </p:cNvPr>
          <p:cNvSpPr>
            <a:spLocks noGrp="1"/>
          </p:cNvSpPr>
          <p:nvPr>
            <p:ph type="title"/>
          </p:nvPr>
        </p:nvSpPr>
        <p:spPr/>
        <p:txBody>
          <a:bodyPr/>
          <a:lstStyle/>
          <a:p>
            <a:r>
              <a:rPr lang="en-GB">
                <a:solidFill>
                  <a:srgbClr val="FFFFFF"/>
                </a:solidFill>
              </a:rPr>
              <a:t>Table of Contents</a:t>
            </a:r>
            <a:endParaRPr lang="en-GB"/>
          </a:p>
        </p:txBody>
      </p:sp>
      <p:sp>
        <p:nvSpPr>
          <p:cNvPr id="5" name="Rectangle 4">
            <a:extLst>
              <a:ext uri="{FF2B5EF4-FFF2-40B4-BE49-F238E27FC236}">
                <a16:creationId xmlns:a16="http://schemas.microsoft.com/office/drawing/2014/main" id="{1A6C3D31-1A5E-F641-AEFF-8DE3943F771A}"/>
              </a:ext>
            </a:extLst>
          </p:cNvPr>
          <p:cNvSpPr/>
          <p:nvPr/>
        </p:nvSpPr>
        <p:spPr>
          <a:xfrm>
            <a:off x="943904" y="1906135"/>
            <a:ext cx="9791829" cy="4616648"/>
          </a:xfrm>
          <a:prstGeom prst="rect">
            <a:avLst/>
          </a:prstGeom>
        </p:spPr>
        <p:txBody>
          <a:bodyPr wrap="square" lIns="90000" anchor="t" anchorCtr="0">
            <a:spAutoFit/>
          </a:bodyPr>
          <a:lstStyle/>
          <a:p>
            <a:pPr marL="742950" marR="0" lvl="3" indent="-742950" algn="l" defTabSz="1042342" rtl="0" eaLnBrk="1" fontAlgn="base" latinLnBrk="0" hangingPunct="1">
              <a:lnSpc>
                <a:spcPct val="100000"/>
              </a:lnSpc>
              <a:spcBef>
                <a:spcPct val="0"/>
              </a:spcBef>
              <a:spcAft>
                <a:spcPts val="1200"/>
              </a:spcAft>
              <a:buClr>
                <a:srgbClr val="FFE600"/>
              </a:buClr>
              <a:buSzPct val="100000"/>
              <a:buFont typeface="+mj-lt"/>
              <a:buAutoNum type="arabicPeriod"/>
              <a:tabLst/>
              <a:defRPr/>
            </a:pPr>
            <a:r>
              <a:rPr kumimoji="0" lang="en-US" sz="2800" b="1" i="0" u="none" strike="noStrike" kern="0" cap="none" spc="0" normalizeH="0" baseline="0" noProof="0">
                <a:ln>
                  <a:noFill/>
                </a:ln>
                <a:solidFill>
                  <a:srgbClr val="646464"/>
                </a:solidFill>
                <a:effectLst/>
                <a:uLnTx/>
                <a:uFillTx/>
                <a:latin typeface="EYInterstate" panose="02000503020000020004" pitchFamily="2" charset="0"/>
                <a:ea typeface="+mn-ea"/>
                <a:cs typeface="+mn-cs"/>
              </a:rPr>
              <a:t>Our Understanding of your needs</a:t>
            </a:r>
          </a:p>
          <a:p>
            <a:pPr marL="742950" marR="0" lvl="3" indent="-742950" algn="l" defTabSz="1042342" rtl="0" eaLnBrk="1" fontAlgn="base" latinLnBrk="0" hangingPunct="1">
              <a:lnSpc>
                <a:spcPct val="100000"/>
              </a:lnSpc>
              <a:spcBef>
                <a:spcPct val="0"/>
              </a:spcBef>
              <a:spcAft>
                <a:spcPts val="1200"/>
              </a:spcAft>
              <a:buClr>
                <a:srgbClr val="FFE600"/>
              </a:buClr>
              <a:buSzPct val="100000"/>
              <a:buFont typeface="+mj-lt"/>
              <a:buAutoNum type="arabicPeriod"/>
              <a:tabLst/>
              <a:defRPr/>
            </a:pPr>
            <a:r>
              <a:rPr kumimoji="0" lang="en-US" sz="2800" b="1" i="0" u="none" strike="noStrike" kern="0" cap="none" spc="0" normalizeH="0" baseline="0" noProof="0">
                <a:ln>
                  <a:noFill/>
                </a:ln>
                <a:solidFill>
                  <a:srgbClr val="646464"/>
                </a:solidFill>
                <a:effectLst/>
                <a:uLnTx/>
                <a:uFillTx/>
                <a:latin typeface="EYInterstate" panose="02000503020000020004" pitchFamily="2" charset="0"/>
                <a:ea typeface="+mn-ea"/>
                <a:cs typeface="+mn-cs"/>
              </a:rPr>
              <a:t>Our Capabilities  </a:t>
            </a:r>
          </a:p>
          <a:p>
            <a:pPr marL="742950" marR="0" lvl="3" indent="-742950" algn="l" defTabSz="1042342" rtl="0" eaLnBrk="1" fontAlgn="base" latinLnBrk="0" hangingPunct="1">
              <a:lnSpc>
                <a:spcPct val="100000"/>
              </a:lnSpc>
              <a:spcBef>
                <a:spcPct val="0"/>
              </a:spcBef>
              <a:spcAft>
                <a:spcPts val="1200"/>
              </a:spcAft>
              <a:buClr>
                <a:srgbClr val="FFE600"/>
              </a:buClr>
              <a:buSzPct val="100000"/>
              <a:buFont typeface="+mj-lt"/>
              <a:buAutoNum type="arabicPeriod"/>
              <a:tabLst/>
              <a:defRPr/>
            </a:pPr>
            <a:r>
              <a:rPr kumimoji="0" lang="en-US" sz="2800" b="1" i="0" u="none" strike="noStrike" kern="0" cap="none" spc="0" normalizeH="0" baseline="0" noProof="0">
                <a:ln>
                  <a:noFill/>
                </a:ln>
                <a:solidFill>
                  <a:srgbClr val="646464"/>
                </a:solidFill>
                <a:effectLst/>
                <a:uLnTx/>
                <a:uFillTx/>
                <a:latin typeface="EYInterstate" panose="02000503020000020004" pitchFamily="2" charset="0"/>
                <a:ea typeface="+mn-ea"/>
                <a:cs typeface="+mn-cs"/>
              </a:rPr>
              <a:t>Our Approach</a:t>
            </a:r>
          </a:p>
          <a:p>
            <a:pPr marL="742950" marR="0" lvl="3" indent="-742950" algn="l" defTabSz="1042342" rtl="0" eaLnBrk="1" fontAlgn="base" latinLnBrk="0" hangingPunct="1">
              <a:lnSpc>
                <a:spcPct val="100000"/>
              </a:lnSpc>
              <a:spcBef>
                <a:spcPct val="0"/>
              </a:spcBef>
              <a:spcAft>
                <a:spcPts val="1200"/>
              </a:spcAft>
              <a:buClr>
                <a:srgbClr val="FFE600"/>
              </a:buClr>
              <a:buSzPct val="100000"/>
              <a:buFont typeface="+mj-lt"/>
              <a:buAutoNum type="arabicPeriod"/>
              <a:tabLst/>
              <a:defRPr/>
            </a:pPr>
            <a:r>
              <a:rPr kumimoji="0" lang="en-US" sz="2800" b="1" i="0" u="none" strike="noStrike" kern="0" cap="none" spc="0" normalizeH="0" baseline="0" noProof="0">
                <a:ln>
                  <a:noFill/>
                </a:ln>
                <a:solidFill>
                  <a:srgbClr val="646464"/>
                </a:solidFill>
                <a:effectLst/>
                <a:uLnTx/>
                <a:uFillTx/>
                <a:latin typeface="EYInterstate" panose="02000503020000020004" pitchFamily="2" charset="0"/>
                <a:ea typeface="+mn-ea"/>
                <a:cs typeface="+mn-cs"/>
              </a:rPr>
              <a:t>Our Delivery</a:t>
            </a:r>
          </a:p>
          <a:p>
            <a:pPr marL="742950" marR="0" lvl="3" indent="-742950" algn="l" defTabSz="1042342" rtl="0" eaLnBrk="1" fontAlgn="base" latinLnBrk="0" hangingPunct="1">
              <a:lnSpc>
                <a:spcPct val="100000"/>
              </a:lnSpc>
              <a:spcBef>
                <a:spcPct val="0"/>
              </a:spcBef>
              <a:spcAft>
                <a:spcPts val="1200"/>
              </a:spcAft>
              <a:buClr>
                <a:srgbClr val="FFE600"/>
              </a:buClr>
              <a:buSzPct val="100000"/>
              <a:buFont typeface="+mj-lt"/>
              <a:buAutoNum type="arabicPeriod"/>
              <a:tabLst/>
              <a:defRPr/>
            </a:pPr>
            <a:r>
              <a:rPr kumimoji="0" lang="en-US" sz="2800" b="1" i="0" u="none" strike="noStrike" kern="0" cap="none" spc="0" normalizeH="0" baseline="0" noProof="0">
                <a:ln>
                  <a:noFill/>
                </a:ln>
                <a:solidFill>
                  <a:srgbClr val="646464"/>
                </a:solidFill>
                <a:effectLst/>
                <a:uLnTx/>
                <a:uFillTx/>
                <a:latin typeface="EYInterstate" panose="02000503020000020004" pitchFamily="2" charset="0"/>
                <a:ea typeface="+mn-ea"/>
                <a:cs typeface="+mn-cs"/>
              </a:rPr>
              <a:t>Team Structure</a:t>
            </a:r>
          </a:p>
          <a:p>
            <a:pPr marL="742950" marR="0" lvl="3" indent="-742950" algn="l" defTabSz="1042342" rtl="0" eaLnBrk="1" fontAlgn="base" latinLnBrk="0" hangingPunct="1">
              <a:lnSpc>
                <a:spcPct val="100000"/>
              </a:lnSpc>
              <a:spcBef>
                <a:spcPct val="0"/>
              </a:spcBef>
              <a:spcAft>
                <a:spcPts val="1200"/>
              </a:spcAft>
              <a:buClr>
                <a:srgbClr val="FFE600"/>
              </a:buClr>
              <a:buSzPct val="100000"/>
              <a:buFont typeface="+mj-lt"/>
              <a:buAutoNum type="arabicPeriod"/>
              <a:tabLst/>
              <a:defRPr/>
            </a:pPr>
            <a:r>
              <a:rPr kumimoji="0" lang="en-US" sz="2800" b="1" i="0" u="none" strike="noStrike" kern="0" cap="none" spc="0" normalizeH="0" baseline="0" noProof="0">
                <a:ln>
                  <a:noFill/>
                </a:ln>
                <a:solidFill>
                  <a:srgbClr val="FFE600"/>
                </a:solidFill>
                <a:effectLst/>
                <a:uLnTx/>
                <a:uFillTx/>
                <a:latin typeface="EYInterstate" panose="02000503020000020004" pitchFamily="2" charset="0"/>
                <a:ea typeface="+mn-ea"/>
                <a:cs typeface="+mn-cs"/>
              </a:rPr>
              <a:t>Our Credentials</a:t>
            </a:r>
          </a:p>
          <a:p>
            <a:pPr marL="742950" marR="0" lvl="3" indent="-742950" algn="l" defTabSz="1042342" rtl="0" eaLnBrk="1" fontAlgn="base" latinLnBrk="0" hangingPunct="1">
              <a:lnSpc>
                <a:spcPct val="100000"/>
              </a:lnSpc>
              <a:spcBef>
                <a:spcPct val="0"/>
              </a:spcBef>
              <a:spcAft>
                <a:spcPts val="1200"/>
              </a:spcAft>
              <a:buClr>
                <a:srgbClr val="FFE600"/>
              </a:buClr>
              <a:buSzPct val="100000"/>
              <a:buFont typeface="+mj-lt"/>
              <a:buAutoNum type="arabicPeriod"/>
              <a:tabLst/>
              <a:defRPr/>
            </a:pPr>
            <a:r>
              <a:rPr kumimoji="0" lang="en-US" sz="2800" b="1" i="0" u="none" strike="noStrike" kern="0" cap="none" spc="0" normalizeH="0" baseline="0" noProof="0">
                <a:ln>
                  <a:noFill/>
                </a:ln>
                <a:solidFill>
                  <a:srgbClr val="646464"/>
                </a:solidFill>
                <a:effectLst/>
                <a:uLnTx/>
                <a:uFillTx/>
                <a:latin typeface="EYInterstate" panose="02000503020000020004" pitchFamily="2" charset="0"/>
                <a:ea typeface="+mn-ea"/>
                <a:cs typeface="+mn-cs"/>
              </a:rPr>
              <a:t>Our Proposed Fees</a:t>
            </a:r>
          </a:p>
          <a:p>
            <a:pPr marL="742950" marR="0" lvl="3" indent="-742950" algn="l" defTabSz="1042342" rtl="0" eaLnBrk="1" fontAlgn="base" latinLnBrk="0" hangingPunct="1">
              <a:lnSpc>
                <a:spcPct val="100000"/>
              </a:lnSpc>
              <a:spcBef>
                <a:spcPct val="0"/>
              </a:spcBef>
              <a:spcAft>
                <a:spcPts val="1200"/>
              </a:spcAft>
              <a:buClr>
                <a:srgbClr val="FFE600"/>
              </a:buClr>
              <a:buSzPct val="100000"/>
              <a:buFont typeface="+mj-lt"/>
              <a:buAutoNum type="arabicPeriod"/>
              <a:tabLst/>
              <a:defRPr/>
            </a:pPr>
            <a:r>
              <a:rPr kumimoji="0" lang="en-US" sz="2800" b="1" i="0" u="none" strike="noStrike" kern="0" cap="none" spc="0" normalizeH="0" baseline="0" noProof="0">
                <a:ln>
                  <a:noFill/>
                </a:ln>
                <a:solidFill>
                  <a:srgbClr val="646464"/>
                </a:solidFill>
                <a:effectLst/>
                <a:uLnTx/>
                <a:uFillTx/>
                <a:latin typeface="EYInterstate" panose="02000503020000020004" pitchFamily="2" charset="0"/>
                <a:ea typeface="+mn-ea"/>
                <a:cs typeface="+mn-cs"/>
              </a:rPr>
              <a:t>Appendix</a:t>
            </a:r>
          </a:p>
        </p:txBody>
      </p:sp>
      <p:grpSp>
        <p:nvGrpSpPr>
          <p:cNvPr id="10" name="Group 9">
            <a:extLst>
              <a:ext uri="{FF2B5EF4-FFF2-40B4-BE49-F238E27FC236}">
                <a16:creationId xmlns:a16="http://schemas.microsoft.com/office/drawing/2014/main" id="{A01F99EE-3BB0-4982-8CDA-0DB47603B60E}"/>
              </a:ext>
            </a:extLst>
          </p:cNvPr>
          <p:cNvGrpSpPr/>
          <p:nvPr/>
        </p:nvGrpSpPr>
        <p:grpSpPr>
          <a:xfrm>
            <a:off x="9569359" y="5031127"/>
            <a:ext cx="684000" cy="232949"/>
            <a:chOff x="9563141" y="2547476"/>
            <a:chExt cx="684000" cy="232949"/>
          </a:xfrm>
        </p:grpSpPr>
        <p:sp>
          <p:nvSpPr>
            <p:cNvPr id="11" name="Arrow: Chevron 3">
              <a:extLst>
                <a:ext uri="{FF2B5EF4-FFF2-40B4-BE49-F238E27FC236}">
                  <a16:creationId xmlns:a16="http://schemas.microsoft.com/office/drawing/2014/main" id="{D2BF9A0E-2389-4940-8496-513FE463B8AC}"/>
                </a:ext>
              </a:extLst>
            </p:cNvPr>
            <p:cNvSpPr/>
            <p:nvPr/>
          </p:nvSpPr>
          <p:spPr>
            <a:xfrm rot="10800000">
              <a:off x="9563141" y="2547476"/>
              <a:ext cx="276149" cy="232949"/>
            </a:xfrm>
            <a:prstGeom prst="chevron">
              <a:avLst/>
            </a:prstGeom>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50000"/>
                </a:spcAft>
                <a:buClr>
                  <a:srgbClr val="FFE600"/>
                </a:buClr>
                <a:buSzPct val="80000"/>
                <a:buFont typeface="Arial" charset="0"/>
                <a:buNone/>
                <a:tabLst/>
                <a:defRPr/>
              </a:pPr>
              <a:endParaRPr kumimoji="0" lang="en-US" sz="1400" b="1" i="0" u="none" strike="noStrike" kern="1200" cap="none" spc="0" normalizeH="0" baseline="0" noProof="0">
                <a:ln w="22225">
                  <a:solidFill>
                    <a:srgbClr val="FFE600"/>
                  </a:solidFill>
                  <a:prstDash val="solid"/>
                </a:ln>
                <a:solidFill>
                  <a:srgbClr val="FFE600">
                    <a:lumMod val="40000"/>
                    <a:lumOff val="60000"/>
                  </a:srgbClr>
                </a:solidFill>
                <a:effectLst/>
                <a:uLnTx/>
                <a:uFillTx/>
                <a:latin typeface="EYInterstate" panose="02000503020000020004" pitchFamily="2" charset="0"/>
                <a:ea typeface="+mn-ea"/>
                <a:cs typeface="+mn-cs"/>
              </a:endParaRPr>
            </a:p>
          </p:txBody>
        </p:sp>
        <p:sp>
          <p:nvSpPr>
            <p:cNvPr id="12" name="Arrow: Chevron 4">
              <a:extLst>
                <a:ext uri="{FF2B5EF4-FFF2-40B4-BE49-F238E27FC236}">
                  <a16:creationId xmlns:a16="http://schemas.microsoft.com/office/drawing/2014/main" id="{7E91B9B4-9770-48CB-9D95-B059104AA987}"/>
                </a:ext>
              </a:extLst>
            </p:cNvPr>
            <p:cNvSpPr/>
            <p:nvPr/>
          </p:nvSpPr>
          <p:spPr>
            <a:xfrm rot="10800000">
              <a:off x="9767067" y="2547476"/>
              <a:ext cx="276149" cy="232949"/>
            </a:xfrm>
            <a:prstGeom prst="chevron">
              <a:avLst/>
            </a:prstGeom>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50000"/>
                </a:spcAft>
                <a:buClr>
                  <a:srgbClr val="FFE600"/>
                </a:buClr>
                <a:buSzPct val="80000"/>
                <a:buFont typeface="Arial" charset="0"/>
                <a:buNone/>
                <a:tabLst/>
                <a:defRPr/>
              </a:pPr>
              <a:endParaRPr kumimoji="0" lang="en-US" sz="1400" b="1" i="0" u="none" strike="noStrike" kern="1200" cap="none" spc="0" normalizeH="0" baseline="0" noProof="0">
                <a:ln w="22225">
                  <a:solidFill>
                    <a:srgbClr val="FFE600"/>
                  </a:solidFill>
                  <a:prstDash val="solid"/>
                </a:ln>
                <a:solidFill>
                  <a:srgbClr val="FFE600">
                    <a:lumMod val="40000"/>
                    <a:lumOff val="60000"/>
                  </a:srgbClr>
                </a:solidFill>
                <a:effectLst/>
                <a:uLnTx/>
                <a:uFillTx/>
                <a:latin typeface="EYInterstate" panose="02000503020000020004" pitchFamily="2" charset="0"/>
                <a:ea typeface="+mn-ea"/>
                <a:cs typeface="+mn-cs"/>
              </a:endParaRPr>
            </a:p>
          </p:txBody>
        </p:sp>
        <p:sp>
          <p:nvSpPr>
            <p:cNvPr id="13" name="Arrow: Chevron 5">
              <a:extLst>
                <a:ext uri="{FF2B5EF4-FFF2-40B4-BE49-F238E27FC236}">
                  <a16:creationId xmlns:a16="http://schemas.microsoft.com/office/drawing/2014/main" id="{D7419B56-EA19-4F40-A31D-9C103AFC8EAC}"/>
                </a:ext>
              </a:extLst>
            </p:cNvPr>
            <p:cNvSpPr/>
            <p:nvPr/>
          </p:nvSpPr>
          <p:spPr>
            <a:xfrm rot="10800000">
              <a:off x="9970992" y="2547476"/>
              <a:ext cx="276149" cy="232949"/>
            </a:xfrm>
            <a:prstGeom prst="chevron">
              <a:avLst/>
            </a:prstGeom>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50000"/>
                </a:spcAft>
                <a:buClr>
                  <a:srgbClr val="FFE600"/>
                </a:buClr>
                <a:buSzPct val="80000"/>
                <a:buFont typeface="Arial" charset="0"/>
                <a:buNone/>
                <a:tabLst/>
                <a:defRPr/>
              </a:pPr>
              <a:endParaRPr kumimoji="0" lang="en-US" sz="1400" b="1" i="0" u="none" strike="noStrike" kern="1200" cap="none" spc="0" normalizeH="0" baseline="0" noProof="0">
                <a:ln w="22225">
                  <a:solidFill>
                    <a:srgbClr val="FFE600"/>
                  </a:solidFill>
                  <a:prstDash val="solid"/>
                </a:ln>
                <a:solidFill>
                  <a:srgbClr val="FFE600">
                    <a:lumMod val="40000"/>
                    <a:lumOff val="60000"/>
                  </a:srgbClr>
                </a:solidFill>
                <a:effectLst/>
                <a:uLnTx/>
                <a:uFillTx/>
                <a:latin typeface="EYInterstate" panose="02000503020000020004" pitchFamily="2" charset="0"/>
                <a:ea typeface="+mn-ea"/>
                <a:cs typeface="+mn-cs"/>
              </a:endParaRPr>
            </a:p>
          </p:txBody>
        </p:sp>
      </p:grpSp>
    </p:spTree>
    <p:extLst>
      <p:ext uri="{BB962C8B-B14F-4D97-AF65-F5344CB8AC3E}">
        <p14:creationId xmlns:p14="http://schemas.microsoft.com/office/powerpoint/2010/main" val="248019909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Content Placeholder 4">
            <a:extLst>
              <a:ext uri="{FF2B5EF4-FFF2-40B4-BE49-F238E27FC236}">
                <a16:creationId xmlns:a16="http://schemas.microsoft.com/office/drawing/2014/main" id="{D8DF632A-C0EE-4C4E-9413-0431DC305F56}"/>
              </a:ext>
            </a:extLst>
          </p:cNvPr>
          <p:cNvSpPr txBox="1">
            <a:spLocks/>
          </p:cNvSpPr>
          <p:nvPr/>
        </p:nvSpPr>
        <p:spPr bwMode="gray">
          <a:xfrm>
            <a:off x="943199" y="1167864"/>
            <a:ext cx="12191776" cy="5602391"/>
          </a:xfrm>
          <a:prstGeom prst="rect">
            <a:avLst/>
          </a:prstGeom>
          <a:solidFill>
            <a:schemeClr val="accent1">
              <a:lumMod val="20000"/>
              <a:lumOff val="80000"/>
            </a:schemeClr>
          </a:solidFill>
        </p:spPr>
        <p:txBody>
          <a:bodyPr vert="horz" lIns="71882" tIns="71882" rIns="71882" bIns="71882" rtlCol="0" anchor="t" anchorCtr="0">
            <a:noAutofit/>
          </a:bodyPr>
          <a:lstStyle>
            <a:lvl1pPr marL="356616" indent="-356616" algn="l" defTabSz="914400" rtl="0" eaLnBrk="1" latinLnBrk="0" hangingPunct="1">
              <a:spcBef>
                <a:spcPct val="20000"/>
              </a:spcBef>
              <a:buClr>
                <a:schemeClr val="accent2"/>
              </a:buClr>
              <a:buSzPct val="70000"/>
              <a:buFont typeface="Arial" pitchFamily="34" charset="0"/>
              <a:buChar char="►"/>
              <a:defRPr sz="2000" kern="1200">
                <a:solidFill>
                  <a:schemeClr val="bg2"/>
                </a:solidFill>
                <a:latin typeface="+mn-lt"/>
                <a:ea typeface="+mn-ea"/>
                <a:cs typeface="+mn-cs"/>
              </a:defRPr>
            </a:lvl1pPr>
            <a:lvl2pPr marL="713232" indent="-356616" algn="l" defTabSz="914400" rtl="0" eaLnBrk="1" latinLnBrk="0" hangingPunct="1">
              <a:spcBef>
                <a:spcPct val="20000"/>
              </a:spcBef>
              <a:buClr>
                <a:schemeClr val="accent2"/>
              </a:buClr>
              <a:buSzPct val="70000"/>
              <a:buFont typeface="Arial" pitchFamily="34" charset="0"/>
              <a:buChar char="►"/>
              <a:defRPr sz="1800" kern="1200">
                <a:solidFill>
                  <a:schemeClr val="bg2"/>
                </a:solidFill>
                <a:latin typeface="+mn-lt"/>
                <a:ea typeface="+mn-ea"/>
                <a:cs typeface="+mn-cs"/>
              </a:defRPr>
            </a:lvl2pPr>
            <a:lvl3pPr marL="1069848" indent="-356616" algn="l" defTabSz="914400" rtl="0" eaLnBrk="1" latinLnBrk="0" hangingPunct="1">
              <a:spcBef>
                <a:spcPct val="20000"/>
              </a:spcBef>
              <a:buClr>
                <a:schemeClr val="accent2"/>
              </a:buClr>
              <a:buSzPct val="70000"/>
              <a:buFont typeface="Arial" pitchFamily="34" charset="0"/>
              <a:buChar char="►"/>
              <a:defRPr sz="1600" kern="1200">
                <a:solidFill>
                  <a:schemeClr val="bg2"/>
                </a:solidFill>
                <a:latin typeface="+mn-lt"/>
                <a:ea typeface="+mn-ea"/>
                <a:cs typeface="+mn-cs"/>
              </a:defRPr>
            </a:lvl3pPr>
            <a:lvl4pPr marL="1426464" indent="-356616" algn="l" defTabSz="914400" rtl="0" eaLnBrk="1" latinLnBrk="0" hangingPunct="1">
              <a:spcBef>
                <a:spcPct val="20000"/>
              </a:spcBef>
              <a:buClr>
                <a:schemeClr val="accent2"/>
              </a:buClr>
              <a:buSzPct val="70000"/>
              <a:buFont typeface="Arial" pitchFamily="34" charset="0"/>
              <a:buChar char="►"/>
              <a:defRPr sz="1400" kern="1200">
                <a:solidFill>
                  <a:schemeClr val="bg2"/>
                </a:solidFill>
                <a:latin typeface="+mn-lt"/>
                <a:ea typeface="+mn-ea"/>
                <a:cs typeface="+mn-cs"/>
              </a:defRPr>
            </a:lvl4pPr>
            <a:lvl5pPr marL="1783080" indent="-356616" algn="l" defTabSz="914400" rtl="0" eaLnBrk="1" latinLnBrk="0" hangingPunct="1">
              <a:spcBef>
                <a:spcPct val="20000"/>
              </a:spcBef>
              <a:buClr>
                <a:schemeClr val="accent2"/>
              </a:buClr>
              <a:buSzPct val="70000"/>
              <a:buFont typeface="Arial" pitchFamily="34" charset="0"/>
              <a:buChar char="►"/>
              <a:defRPr sz="1400" kern="1200">
                <a:solidFill>
                  <a:schemeClr val="bg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20000"/>
              </a:spcBef>
              <a:spcAft>
                <a:spcPts val="0"/>
              </a:spcAft>
              <a:buClr>
                <a:srgbClr val="FFD200"/>
              </a:buClr>
              <a:buSzPct val="70000"/>
              <a:buFont typeface="Arial" pitchFamily="34" charset="0"/>
              <a:buNone/>
              <a:tabLst/>
              <a:defRPr/>
            </a:pPr>
            <a:endParaRPr kumimoji="0" lang="en-US" sz="1400" b="0"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endParaRPr>
          </a:p>
        </p:txBody>
      </p:sp>
      <p:sp>
        <p:nvSpPr>
          <p:cNvPr id="2" name="Title 1">
            <a:extLst>
              <a:ext uri="{FF2B5EF4-FFF2-40B4-BE49-F238E27FC236}">
                <a16:creationId xmlns:a16="http://schemas.microsoft.com/office/drawing/2014/main" id="{4482F414-64FF-4D5F-9A21-B78191E283D3}"/>
              </a:ext>
            </a:extLst>
          </p:cNvPr>
          <p:cNvSpPr>
            <a:spLocks noGrp="1"/>
          </p:cNvSpPr>
          <p:nvPr>
            <p:ph type="title"/>
          </p:nvPr>
        </p:nvSpPr>
        <p:spPr/>
        <p:txBody>
          <a:bodyPr/>
          <a:lstStyle/>
          <a:p>
            <a:r>
              <a:rPr lang="en-US"/>
              <a:t>Our Credentials</a:t>
            </a:r>
          </a:p>
        </p:txBody>
      </p:sp>
      <p:grpSp>
        <p:nvGrpSpPr>
          <p:cNvPr id="3" name="Group 2">
            <a:extLst>
              <a:ext uri="{FF2B5EF4-FFF2-40B4-BE49-F238E27FC236}">
                <a16:creationId xmlns:a16="http://schemas.microsoft.com/office/drawing/2014/main" id="{C23A8B75-ECB4-4257-91EE-33D491678490}"/>
              </a:ext>
            </a:extLst>
          </p:cNvPr>
          <p:cNvGrpSpPr/>
          <p:nvPr/>
        </p:nvGrpSpPr>
        <p:grpSpPr>
          <a:xfrm>
            <a:off x="1192581" y="1351895"/>
            <a:ext cx="3545672" cy="5085848"/>
            <a:chOff x="609917" y="1715994"/>
            <a:chExt cx="3204000" cy="5088603"/>
          </a:xfrm>
        </p:grpSpPr>
        <p:sp>
          <p:nvSpPr>
            <p:cNvPr id="4" name="Rettangolo 28">
              <a:extLst>
                <a:ext uri="{FF2B5EF4-FFF2-40B4-BE49-F238E27FC236}">
                  <a16:creationId xmlns:a16="http://schemas.microsoft.com/office/drawing/2014/main" id="{E47C7D35-FAEB-4C49-9952-268184C6A568}"/>
                </a:ext>
              </a:extLst>
            </p:cNvPr>
            <p:cNvSpPr/>
            <p:nvPr/>
          </p:nvSpPr>
          <p:spPr>
            <a:xfrm>
              <a:off x="609917" y="2366460"/>
              <a:ext cx="3204000" cy="4438137"/>
            </a:xfrm>
            <a:prstGeom prst="rect">
              <a:avLst/>
            </a:prstGeom>
            <a:solidFill>
              <a:schemeClr val="tx2"/>
            </a:solidFill>
            <a:ln w="19050">
              <a:solidFill>
                <a:schemeClr val="accent5"/>
              </a:solidFill>
              <a:miter lim="800000"/>
            </a:ln>
          </p:spPr>
          <p:txBody>
            <a:bodyPr wrap="square" lIns="71963" tIns="107944" rIns="71963" bIns="71963">
              <a:noAutofit/>
            </a:bodyPr>
            <a:lstStyle/>
            <a:p>
              <a:pPr marL="182472" marR="0" lvl="0" indent="-182472" algn="l" defTabSz="914400" rtl="0" eaLnBrk="1" fontAlgn="base" latinLnBrk="0" hangingPunct="1">
                <a:lnSpc>
                  <a:spcPct val="100000"/>
                </a:lnSpc>
                <a:spcBef>
                  <a:spcPct val="0"/>
                </a:spcBef>
                <a:spcAft>
                  <a:spcPts val="300"/>
                </a:spcAft>
                <a:buClr>
                  <a:srgbClr val="FFE600"/>
                </a:buClr>
                <a:buSzPct val="70000"/>
                <a:buFont typeface="Arial" pitchFamily="34" charset="0"/>
                <a:buChar char="►"/>
                <a:tabLst/>
                <a:defRPr/>
              </a:pPr>
              <a:r>
                <a:rPr kumimoji="0" lang="en-US" sz="1000" b="0" i="0" u="none" strike="noStrike" kern="1200" cap="none" spc="0" normalizeH="0" baseline="0" noProof="0" dirty="0">
                  <a:ln>
                    <a:noFill/>
                  </a:ln>
                  <a:solidFill>
                    <a:srgbClr val="000000"/>
                  </a:solidFill>
                  <a:effectLst/>
                  <a:uLnTx/>
                  <a:uFillTx/>
                  <a:latin typeface="EYInterstate Light" pitchFamily="2" charset="0"/>
                  <a:ea typeface="+mn-ea"/>
                  <a:cs typeface="+mn-cs"/>
                </a:rPr>
                <a:t>EY assisted a regional insurer to identify cross-sell and upsell opportunities within the existing customer base. In this regard, increase the width of data by identifying new variables and increase the depth of data by identifying new measures using structured and unstructured data.</a:t>
              </a:r>
            </a:p>
            <a:p>
              <a:pPr marL="182472" marR="0" lvl="0" indent="-182472" algn="l" defTabSz="914400" rtl="0" eaLnBrk="1" fontAlgn="base" latinLnBrk="0" hangingPunct="1">
                <a:lnSpc>
                  <a:spcPct val="100000"/>
                </a:lnSpc>
                <a:spcBef>
                  <a:spcPct val="0"/>
                </a:spcBef>
                <a:spcAft>
                  <a:spcPts val="300"/>
                </a:spcAft>
                <a:buClr>
                  <a:srgbClr val="FFE600"/>
                </a:buClr>
                <a:buSzPct val="70000"/>
                <a:buFont typeface="Arial" pitchFamily="34" charset="0"/>
                <a:buChar char="►"/>
                <a:tabLst/>
                <a:defRPr/>
              </a:pPr>
              <a:r>
                <a:rPr kumimoji="0" lang="en-US" sz="1000" b="0" i="0" u="none" strike="noStrike" kern="1200" cap="none" spc="0" normalizeH="0" baseline="0" noProof="0" dirty="0">
                  <a:ln>
                    <a:noFill/>
                  </a:ln>
                  <a:solidFill>
                    <a:srgbClr val="000000"/>
                  </a:solidFill>
                  <a:effectLst/>
                  <a:uLnTx/>
                  <a:uFillTx/>
                  <a:latin typeface="EYInterstate Light" pitchFamily="2" charset="0"/>
                  <a:ea typeface="+mn-ea"/>
                  <a:cs typeface="+mn-cs"/>
                </a:rPr>
                <a:t>The idea was to identify &amp; use new data as well as state-of-art techniques for deriving information value &amp; insights. It also required micro segments to be identified where there are opportunities for cross-sell/upsell. </a:t>
              </a:r>
            </a:p>
            <a:p>
              <a:pPr marL="182472" marR="0" lvl="0" indent="-182472" algn="l" defTabSz="914400" rtl="0" eaLnBrk="1" fontAlgn="base" latinLnBrk="0" hangingPunct="1">
                <a:lnSpc>
                  <a:spcPct val="100000"/>
                </a:lnSpc>
                <a:spcBef>
                  <a:spcPct val="0"/>
                </a:spcBef>
                <a:spcAft>
                  <a:spcPts val="300"/>
                </a:spcAft>
                <a:buClr>
                  <a:srgbClr val="FFE600"/>
                </a:buClr>
                <a:buSzPct val="70000"/>
                <a:buFont typeface="Arial" pitchFamily="34" charset="0"/>
                <a:buChar char="►"/>
                <a:tabLst/>
                <a:defRPr/>
              </a:pPr>
              <a:r>
                <a:rPr kumimoji="0" lang="en-US" sz="1000" b="0" i="0" u="none" strike="noStrike" kern="1200" cap="none" spc="0" normalizeH="0" baseline="0" noProof="0" dirty="0">
                  <a:ln>
                    <a:noFill/>
                  </a:ln>
                  <a:solidFill>
                    <a:srgbClr val="000000"/>
                  </a:solidFill>
                  <a:effectLst/>
                  <a:uLnTx/>
                  <a:uFillTx/>
                  <a:latin typeface="EYInterstate Light" pitchFamily="2" charset="0"/>
                  <a:ea typeface="+mn-ea"/>
                  <a:cs typeface="+mn-cs"/>
                </a:rPr>
                <a:t>Customer segments based on their affluence (net worth, total assets), risk profile were designed and their product priorities were modelled using unsupervised ML algorithms for Clustering (K-Means, Gaussian Mixture Models, Spectral Clustering, etc.).</a:t>
              </a:r>
            </a:p>
            <a:p>
              <a:pPr marL="182472" marR="0" lvl="0" indent="-182472" algn="l" defTabSz="914400" rtl="0" eaLnBrk="1" fontAlgn="base" latinLnBrk="0" hangingPunct="1">
                <a:lnSpc>
                  <a:spcPct val="100000"/>
                </a:lnSpc>
                <a:spcBef>
                  <a:spcPct val="0"/>
                </a:spcBef>
                <a:spcAft>
                  <a:spcPts val="300"/>
                </a:spcAft>
                <a:buClr>
                  <a:srgbClr val="FFE600"/>
                </a:buClr>
                <a:buSzPct val="70000"/>
                <a:buFont typeface="Arial" pitchFamily="34" charset="0"/>
                <a:buChar char="►"/>
                <a:tabLst/>
                <a:defRPr/>
              </a:pPr>
              <a:r>
                <a:rPr kumimoji="0" lang="en-US" sz="1000" b="0" i="0" u="none" strike="noStrike" kern="1200" cap="none" spc="0" normalizeH="0" baseline="0" noProof="0" dirty="0">
                  <a:ln>
                    <a:noFill/>
                  </a:ln>
                  <a:solidFill>
                    <a:srgbClr val="000000"/>
                  </a:solidFill>
                  <a:effectLst/>
                  <a:uLnTx/>
                  <a:uFillTx/>
                  <a:latin typeface="EYInterstate Light" pitchFamily="2" charset="0"/>
                  <a:ea typeface="+mn-ea"/>
                  <a:cs typeface="+mn-cs"/>
                </a:rPr>
                <a:t>The current life stage across different net worth groups were also recognized to identify up sell &amp; cross sell opportunities based on priority vs. product holding using look-alike models like K-Nearest Neighbors.</a:t>
              </a:r>
            </a:p>
            <a:p>
              <a:pPr marL="182472" marR="0" lvl="0" indent="-182472" algn="l" defTabSz="914400" rtl="0" eaLnBrk="1" fontAlgn="base" latinLnBrk="0" hangingPunct="1">
                <a:lnSpc>
                  <a:spcPct val="100000"/>
                </a:lnSpc>
                <a:spcBef>
                  <a:spcPct val="0"/>
                </a:spcBef>
                <a:spcAft>
                  <a:spcPts val="300"/>
                </a:spcAft>
                <a:buClr>
                  <a:srgbClr val="FFE600"/>
                </a:buClr>
                <a:buSzPct val="70000"/>
                <a:buFont typeface="Arial" pitchFamily="34" charset="0"/>
                <a:buChar char="►"/>
                <a:tabLst/>
                <a:defRPr/>
              </a:pPr>
              <a:r>
                <a:rPr kumimoji="0" lang="en-US" sz="1000" b="0" i="0" u="none" strike="noStrike" kern="1200" cap="none" spc="0" normalizeH="0" baseline="0" noProof="0" dirty="0">
                  <a:ln>
                    <a:noFill/>
                  </a:ln>
                  <a:solidFill>
                    <a:srgbClr val="000000"/>
                  </a:solidFill>
                  <a:effectLst/>
                  <a:uLnTx/>
                  <a:uFillTx/>
                  <a:latin typeface="EYInterstate Light" pitchFamily="2" charset="0"/>
                  <a:ea typeface="+mn-ea"/>
                  <a:cs typeface="+mn-cs"/>
                </a:rPr>
                <a:t>~60K customers for cross-sell and up-sell opportunities with potential benefits to the tune of $10M - $15M were identified using ~700 variables across structured &amp; unstructured data of Disposable Income, Net Worth, Customer Life Stage, Client Priority (Saving, Health, Protection and GI) and Affiliation towards Insurer, and state-of-art data science models.</a:t>
              </a:r>
            </a:p>
          </p:txBody>
        </p:sp>
        <p:sp>
          <p:nvSpPr>
            <p:cNvPr id="5" name="Rounded Rectangle 13">
              <a:extLst>
                <a:ext uri="{FF2B5EF4-FFF2-40B4-BE49-F238E27FC236}">
                  <a16:creationId xmlns:a16="http://schemas.microsoft.com/office/drawing/2014/main" id="{E6AFCDA9-A5B7-48B9-8593-26B9BCC7B36D}"/>
                </a:ext>
              </a:extLst>
            </p:cNvPr>
            <p:cNvSpPr/>
            <p:nvPr/>
          </p:nvSpPr>
          <p:spPr>
            <a:xfrm>
              <a:off x="609917" y="1715994"/>
              <a:ext cx="3204000" cy="551092"/>
            </a:xfrm>
            <a:prstGeom prst="roundRect">
              <a:avLst>
                <a:gd name="adj" fmla="val 50000"/>
              </a:avLst>
            </a:prstGeom>
            <a:solidFill>
              <a:schemeClr val="accent5"/>
            </a:solidFill>
            <a:ln w="19050" cap="flat" cmpd="sng" algn="ctr">
              <a:solidFill>
                <a:schemeClr val="accent5"/>
              </a:solidFill>
              <a:prstDash val="solid"/>
            </a:ln>
            <a:effectLst/>
          </p:spPr>
          <p:txBody>
            <a:bodyPr wrap="square" lIns="70457" tIns="35981" rIns="70457" bIns="35981" rtlCol="0" anchor="ctr" anchorCtr="0">
              <a:noAutofit/>
            </a:bodyPr>
            <a:lstStyle/>
            <a:p>
              <a:pPr marL="0" marR="0" lvl="0" indent="0" algn="ctr" defTabSz="914400" rtl="0" eaLnBrk="1" fontAlgn="base" latinLnBrk="0" hangingPunct="1">
                <a:lnSpc>
                  <a:spcPct val="100000"/>
                </a:lnSpc>
                <a:spcBef>
                  <a:spcPts val="588"/>
                </a:spcBef>
                <a:spcAft>
                  <a:spcPct val="50000"/>
                </a:spcAft>
                <a:buClr>
                  <a:srgbClr val="FFE600"/>
                </a:buClr>
                <a:buSzPct val="80000"/>
                <a:buFont typeface="Arial" charset="0"/>
                <a:buNone/>
                <a:tabLst/>
                <a:defRPr/>
              </a:pPr>
              <a:r>
                <a:rPr kumimoji="0" lang="en-US" sz="1199" b="1" i="0" u="none" strike="noStrike" kern="0" cap="none" spc="0" normalizeH="0" baseline="0" noProof="0">
                  <a:ln>
                    <a:noFill/>
                  </a:ln>
                  <a:solidFill>
                    <a:srgbClr val="FFFFFF"/>
                  </a:solidFill>
                  <a:effectLst/>
                  <a:uLnTx/>
                  <a:uFillTx/>
                  <a:latin typeface="EYInterstate"/>
                  <a:ea typeface="+mn-ea"/>
                  <a:cs typeface="+mn-cs"/>
                </a:rPr>
                <a:t>Cross-sell / upsell opportunity determination for a regional insurer</a:t>
              </a:r>
            </a:p>
          </p:txBody>
        </p:sp>
      </p:grpSp>
      <p:grpSp>
        <p:nvGrpSpPr>
          <p:cNvPr id="6" name="Group 5">
            <a:extLst>
              <a:ext uri="{FF2B5EF4-FFF2-40B4-BE49-F238E27FC236}">
                <a16:creationId xmlns:a16="http://schemas.microsoft.com/office/drawing/2014/main" id="{2ED3715D-9994-48E8-9C80-68D1A8122909}"/>
              </a:ext>
            </a:extLst>
          </p:cNvPr>
          <p:cNvGrpSpPr/>
          <p:nvPr/>
        </p:nvGrpSpPr>
        <p:grpSpPr>
          <a:xfrm>
            <a:off x="8859619" y="1351894"/>
            <a:ext cx="4032962" cy="5085850"/>
            <a:chOff x="8007675" y="1715994"/>
            <a:chExt cx="3204000" cy="5088605"/>
          </a:xfrm>
        </p:grpSpPr>
        <p:sp>
          <p:nvSpPr>
            <p:cNvPr id="7" name="Rettangolo 28">
              <a:extLst>
                <a:ext uri="{FF2B5EF4-FFF2-40B4-BE49-F238E27FC236}">
                  <a16:creationId xmlns:a16="http://schemas.microsoft.com/office/drawing/2014/main" id="{8CFAE103-B533-4B65-A347-E43FA67A3917}"/>
                </a:ext>
              </a:extLst>
            </p:cNvPr>
            <p:cNvSpPr/>
            <p:nvPr/>
          </p:nvSpPr>
          <p:spPr>
            <a:xfrm>
              <a:off x="8007675" y="2406303"/>
              <a:ext cx="3204000" cy="4398296"/>
            </a:xfrm>
            <a:prstGeom prst="rect">
              <a:avLst/>
            </a:prstGeom>
            <a:solidFill>
              <a:schemeClr val="tx2"/>
            </a:solidFill>
            <a:ln w="19050">
              <a:solidFill>
                <a:srgbClr val="2C973E"/>
              </a:solidFill>
              <a:miter lim="800000"/>
            </a:ln>
          </p:spPr>
          <p:txBody>
            <a:bodyPr wrap="square" lIns="71963" tIns="107944" rIns="71963" bIns="71963">
              <a:noAutofit/>
            </a:bodyPr>
            <a:lstStyle/>
            <a:p>
              <a:pPr marL="182472" marR="0" lvl="0" indent="-182472" algn="l" defTabSz="914400" rtl="0" eaLnBrk="1" fontAlgn="base" latinLnBrk="0" hangingPunct="1">
                <a:lnSpc>
                  <a:spcPct val="100000"/>
                </a:lnSpc>
                <a:spcBef>
                  <a:spcPct val="0"/>
                </a:spcBef>
                <a:spcAft>
                  <a:spcPts val="300"/>
                </a:spcAft>
                <a:buClr>
                  <a:srgbClr val="FFE600"/>
                </a:buClr>
                <a:buSzPct val="70000"/>
                <a:buFont typeface="Arial" pitchFamily="34" charset="0"/>
                <a:buChar char="►"/>
                <a:tabLst/>
                <a:defRPr/>
              </a:pPr>
              <a:r>
                <a:rPr kumimoji="0" lang="en-US" sz="1000" b="0" i="0" u="none" strike="noStrike" kern="1200" cap="none" spc="0" normalizeH="0" baseline="0" noProof="0" dirty="0">
                  <a:ln>
                    <a:noFill/>
                  </a:ln>
                  <a:solidFill>
                    <a:srgbClr val="000000"/>
                  </a:solidFill>
                  <a:effectLst/>
                  <a:uLnTx/>
                  <a:uFillTx/>
                  <a:latin typeface="EYInterstate Light" pitchFamily="2" charset="0"/>
                  <a:ea typeface="+mn-ea"/>
                  <a:cs typeface="+mn-cs"/>
                </a:rPr>
                <a:t>A global health insurance company’s Sales and Marketing department conducted a study every year to estimate total savings for corporate clients if they purchased additional products from the insurer. The savings estimates had to be refreshed using aggregated data which was not client-specific which was a time-consuming and labor-intensive process. They wanted to create a recommendation system that could automate this process and use client-specific data to determine the cost savings that clients could achieve by purchasing additional products.</a:t>
              </a:r>
            </a:p>
            <a:p>
              <a:pPr marL="182472" marR="0" lvl="0" indent="-182472" algn="l" defTabSz="914400" rtl="0" eaLnBrk="1" fontAlgn="base" latinLnBrk="0" hangingPunct="1">
                <a:lnSpc>
                  <a:spcPct val="100000"/>
                </a:lnSpc>
                <a:spcBef>
                  <a:spcPct val="0"/>
                </a:spcBef>
                <a:spcAft>
                  <a:spcPts val="300"/>
                </a:spcAft>
                <a:buClr>
                  <a:srgbClr val="FFE600"/>
                </a:buClr>
                <a:buSzPct val="70000"/>
                <a:buFont typeface="Arial" pitchFamily="34" charset="0"/>
                <a:buChar char="►"/>
                <a:tabLst/>
                <a:defRPr/>
              </a:pPr>
              <a:r>
                <a:rPr kumimoji="0" lang="en-US" sz="1000" b="0" i="0" u="none" strike="noStrike" kern="1200" cap="none" spc="0" normalizeH="0" baseline="0" noProof="0" dirty="0">
                  <a:ln>
                    <a:noFill/>
                  </a:ln>
                  <a:solidFill>
                    <a:srgbClr val="000000"/>
                  </a:solidFill>
                  <a:effectLst/>
                  <a:uLnTx/>
                  <a:uFillTx/>
                  <a:latin typeface="EYInterstate Light" pitchFamily="2" charset="0"/>
                  <a:ea typeface="+mn-ea"/>
                  <a:cs typeface="+mn-cs"/>
                </a:rPr>
                <a:t>EY developed a recommendation system to recommend products that would result in high cost savings, allowing clients to evaluate the impact of purchasing additional products.</a:t>
              </a:r>
            </a:p>
            <a:p>
              <a:pPr marL="182472" marR="0" lvl="0" indent="-182472" algn="l" defTabSz="914400" rtl="0" eaLnBrk="1" fontAlgn="base" latinLnBrk="0" hangingPunct="1">
                <a:lnSpc>
                  <a:spcPct val="100000"/>
                </a:lnSpc>
                <a:spcBef>
                  <a:spcPct val="0"/>
                </a:spcBef>
                <a:spcAft>
                  <a:spcPts val="300"/>
                </a:spcAft>
                <a:buClr>
                  <a:srgbClr val="FFE600"/>
                </a:buClr>
                <a:buSzPct val="70000"/>
                <a:buFont typeface="Arial" pitchFamily="34" charset="0"/>
                <a:buChar char="►"/>
                <a:tabLst/>
                <a:defRPr/>
              </a:pPr>
              <a:r>
                <a:rPr kumimoji="0" lang="en-US" sz="1000" b="0" i="0" u="none" strike="noStrike" kern="1200" cap="none" spc="0" normalizeH="0" baseline="0" noProof="0" dirty="0">
                  <a:ln>
                    <a:noFill/>
                  </a:ln>
                  <a:solidFill>
                    <a:srgbClr val="000000"/>
                  </a:solidFill>
                  <a:effectLst/>
                  <a:uLnTx/>
                  <a:uFillTx/>
                  <a:latin typeface="EYInterstate Light" pitchFamily="2" charset="0"/>
                  <a:ea typeface="+mn-ea"/>
                  <a:cs typeface="+mn-cs"/>
                </a:rPr>
                <a:t>Total Medical Cost Savings engine which would estimate the expected savings for each customer and product. This was built in Python using Stepwise Linear Regression and simulated ~50 times to determine model stability.</a:t>
              </a:r>
            </a:p>
            <a:p>
              <a:pPr marL="182472" marR="0" lvl="0" indent="-182472" algn="l" defTabSz="914400" rtl="0" eaLnBrk="1" fontAlgn="base" latinLnBrk="0" hangingPunct="1">
                <a:lnSpc>
                  <a:spcPct val="100000"/>
                </a:lnSpc>
                <a:spcBef>
                  <a:spcPct val="0"/>
                </a:spcBef>
                <a:spcAft>
                  <a:spcPts val="300"/>
                </a:spcAft>
                <a:buClr>
                  <a:srgbClr val="FFE600"/>
                </a:buClr>
                <a:buSzPct val="70000"/>
                <a:buFont typeface="Arial" pitchFamily="34" charset="0"/>
                <a:buChar char="►"/>
                <a:tabLst/>
                <a:defRPr/>
              </a:pPr>
              <a:r>
                <a:rPr kumimoji="0" lang="en-US" sz="1000" b="0" i="0" u="none" strike="noStrike" kern="1200" cap="none" spc="0" normalizeH="0" baseline="0" noProof="0" dirty="0">
                  <a:ln>
                    <a:noFill/>
                  </a:ln>
                  <a:solidFill>
                    <a:srgbClr val="000000"/>
                  </a:solidFill>
                  <a:effectLst/>
                  <a:uLnTx/>
                  <a:uFillTx/>
                  <a:latin typeface="EYInterstate Light" pitchFamily="2" charset="0"/>
                  <a:ea typeface="+mn-ea"/>
                  <a:cs typeface="+mn-cs"/>
                </a:rPr>
                <a:t>Aggregated Total Medical Cost Savings by product and client, and modeled the interaction of Total Medical Cost Savings from adding multiple products using Regression techniques.</a:t>
              </a:r>
            </a:p>
            <a:p>
              <a:pPr marL="182472" marR="0" lvl="0" indent="-182472" algn="l" defTabSz="914400" rtl="0" eaLnBrk="1" fontAlgn="base" latinLnBrk="0" hangingPunct="1">
                <a:lnSpc>
                  <a:spcPct val="100000"/>
                </a:lnSpc>
                <a:spcBef>
                  <a:spcPct val="0"/>
                </a:spcBef>
                <a:spcAft>
                  <a:spcPts val="300"/>
                </a:spcAft>
                <a:buClr>
                  <a:srgbClr val="FFE600"/>
                </a:buClr>
                <a:buSzPct val="70000"/>
                <a:buFont typeface="Arial" pitchFamily="34" charset="0"/>
                <a:buChar char="►"/>
                <a:tabLst/>
                <a:defRPr/>
              </a:pPr>
              <a:r>
                <a:rPr kumimoji="0" lang="en-US" sz="1000" b="0" i="0" u="none" strike="noStrike" kern="1200" cap="none" spc="0" normalizeH="0" baseline="0" noProof="0" dirty="0">
                  <a:ln>
                    <a:noFill/>
                  </a:ln>
                  <a:solidFill>
                    <a:srgbClr val="000000"/>
                  </a:solidFill>
                  <a:effectLst/>
                  <a:uLnTx/>
                  <a:uFillTx/>
                  <a:latin typeface="EYInterstate Light" pitchFamily="2" charset="0"/>
                  <a:ea typeface="+mn-ea"/>
                  <a:cs typeface="+mn-cs"/>
                </a:rPr>
                <a:t>Produced a client report which visualized the recommendations of products and expected Total Medical Cost savings.</a:t>
              </a:r>
            </a:p>
            <a:p>
              <a:pPr marL="182472" marR="0" lvl="0" indent="-182472" algn="l" defTabSz="914400" rtl="0" eaLnBrk="1" fontAlgn="base" latinLnBrk="0" hangingPunct="1">
                <a:lnSpc>
                  <a:spcPct val="100000"/>
                </a:lnSpc>
                <a:spcBef>
                  <a:spcPct val="0"/>
                </a:spcBef>
                <a:spcAft>
                  <a:spcPts val="300"/>
                </a:spcAft>
                <a:buClr>
                  <a:srgbClr val="FFE600"/>
                </a:buClr>
                <a:buSzPct val="70000"/>
                <a:buFont typeface="Arial" pitchFamily="34" charset="0"/>
                <a:buChar char="►"/>
                <a:tabLst/>
                <a:defRPr/>
              </a:pPr>
              <a:r>
                <a:rPr kumimoji="0" lang="en-US" sz="1000" b="0" i="0" u="none" strike="noStrike" kern="1200" cap="none" spc="0" normalizeH="0" baseline="0" noProof="0" dirty="0">
                  <a:ln>
                    <a:noFill/>
                  </a:ln>
                  <a:solidFill>
                    <a:srgbClr val="000000"/>
                  </a:solidFill>
                  <a:effectLst/>
                  <a:uLnTx/>
                  <a:uFillTx/>
                  <a:latin typeface="EYInterstate Light" pitchFamily="2" charset="0"/>
                  <a:ea typeface="+mn-ea"/>
                  <a:cs typeface="+mn-cs"/>
                </a:rPr>
                <a:t>The new solution reduced the amount of time spent on the lengthy annual study. The model identified the average client cost savings across Integrated Banking Product: $15,657; Triple Integration Product:  $31,867; HMCM Product: $80,652.</a:t>
              </a:r>
            </a:p>
            <a:p>
              <a:pPr marL="182472" marR="0" lvl="0" indent="-182472" algn="l" defTabSz="914400" rtl="0" eaLnBrk="1" fontAlgn="base" latinLnBrk="0" hangingPunct="1">
                <a:lnSpc>
                  <a:spcPct val="100000"/>
                </a:lnSpc>
                <a:spcBef>
                  <a:spcPct val="0"/>
                </a:spcBef>
                <a:spcAft>
                  <a:spcPts val="300"/>
                </a:spcAft>
                <a:buClr>
                  <a:srgbClr val="FFE600"/>
                </a:buClr>
                <a:buSzPct val="70000"/>
                <a:buFont typeface="Arial" pitchFamily="34" charset="0"/>
                <a:buChar char="►"/>
                <a:tabLst/>
                <a:defRPr/>
              </a:pPr>
              <a:endParaRPr kumimoji="0" lang="en-US" sz="1000" b="0" i="0" u="none" strike="noStrike" kern="1200" cap="none" spc="0" normalizeH="0" baseline="0" noProof="0" dirty="0">
                <a:ln>
                  <a:noFill/>
                </a:ln>
                <a:solidFill>
                  <a:srgbClr val="000000"/>
                </a:solidFill>
                <a:effectLst/>
                <a:uLnTx/>
                <a:uFillTx/>
                <a:latin typeface="EYInterstate Light" pitchFamily="2" charset="0"/>
                <a:ea typeface="+mn-ea"/>
                <a:cs typeface="+mn-cs"/>
              </a:endParaRPr>
            </a:p>
            <a:p>
              <a:pPr marL="639672" marR="0" lvl="1" indent="-182472" algn="l" defTabSz="914400" rtl="0" eaLnBrk="1" fontAlgn="base" latinLnBrk="0" hangingPunct="1">
                <a:lnSpc>
                  <a:spcPct val="100000"/>
                </a:lnSpc>
                <a:spcBef>
                  <a:spcPct val="0"/>
                </a:spcBef>
                <a:spcAft>
                  <a:spcPts val="300"/>
                </a:spcAft>
                <a:buClr>
                  <a:srgbClr val="FFE600"/>
                </a:buClr>
                <a:buSzPct val="70000"/>
                <a:buFont typeface="Arial" pitchFamily="34" charset="0"/>
                <a:buChar char="►"/>
                <a:tabLst/>
                <a:defRPr/>
              </a:pPr>
              <a:endParaRPr kumimoji="0" lang="en-GB" sz="1000" b="0" i="0" u="none" strike="noStrike" kern="1200" cap="none" spc="0" normalizeH="0" baseline="0" noProof="0" dirty="0">
                <a:ln>
                  <a:noFill/>
                </a:ln>
                <a:solidFill>
                  <a:srgbClr val="000000"/>
                </a:solidFill>
                <a:effectLst/>
                <a:uLnTx/>
                <a:uFillTx/>
                <a:latin typeface="EYInterstate Light" pitchFamily="2" charset="0"/>
                <a:ea typeface="+mn-ea"/>
                <a:cs typeface="+mn-cs"/>
              </a:endParaRPr>
            </a:p>
            <a:p>
              <a:pPr marL="182472" marR="0" lvl="0" indent="-182472" algn="l" defTabSz="914400" rtl="0" eaLnBrk="1" fontAlgn="base" latinLnBrk="0" hangingPunct="1">
                <a:lnSpc>
                  <a:spcPct val="100000"/>
                </a:lnSpc>
                <a:spcBef>
                  <a:spcPct val="0"/>
                </a:spcBef>
                <a:spcAft>
                  <a:spcPts val="300"/>
                </a:spcAft>
                <a:buClr>
                  <a:srgbClr val="FFE600"/>
                </a:buClr>
                <a:buSzPct val="70000"/>
                <a:buFont typeface="Arial" pitchFamily="34" charset="0"/>
                <a:buChar char="►"/>
                <a:tabLst/>
                <a:defRPr/>
              </a:pPr>
              <a:endParaRPr kumimoji="0" lang="en-GB" sz="1000" b="0" i="0" u="none" strike="noStrike" kern="1200" cap="none" spc="0" normalizeH="0" baseline="0" noProof="0" dirty="0">
                <a:ln>
                  <a:noFill/>
                </a:ln>
                <a:solidFill>
                  <a:srgbClr val="000000"/>
                </a:solidFill>
                <a:effectLst/>
                <a:uLnTx/>
                <a:uFillTx/>
                <a:latin typeface="EYInterstate Light" pitchFamily="2" charset="0"/>
                <a:ea typeface="+mn-ea"/>
                <a:cs typeface="+mn-cs"/>
              </a:endParaRPr>
            </a:p>
          </p:txBody>
        </p:sp>
        <p:sp>
          <p:nvSpPr>
            <p:cNvPr id="8" name="Rounded Rectangle 15">
              <a:extLst>
                <a:ext uri="{FF2B5EF4-FFF2-40B4-BE49-F238E27FC236}">
                  <a16:creationId xmlns:a16="http://schemas.microsoft.com/office/drawing/2014/main" id="{21DD0FB4-7123-44E4-BA21-DE20308DEFD8}"/>
                </a:ext>
              </a:extLst>
            </p:cNvPr>
            <p:cNvSpPr/>
            <p:nvPr/>
          </p:nvSpPr>
          <p:spPr>
            <a:xfrm>
              <a:off x="8007675" y="1715994"/>
              <a:ext cx="3204000" cy="551090"/>
            </a:xfrm>
            <a:prstGeom prst="roundRect">
              <a:avLst>
                <a:gd name="adj" fmla="val 50000"/>
              </a:avLst>
            </a:prstGeom>
            <a:solidFill>
              <a:srgbClr val="2C973E"/>
            </a:solidFill>
            <a:ln w="19050" cap="flat" cmpd="sng" algn="ctr">
              <a:solidFill>
                <a:srgbClr val="2C973E"/>
              </a:solidFill>
              <a:prstDash val="solid"/>
            </a:ln>
            <a:effectLst/>
          </p:spPr>
          <p:txBody>
            <a:bodyPr wrap="square" lIns="70457" tIns="35981" rIns="70457" bIns="35981"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 typeface="Arial" charset="0"/>
                <a:buNone/>
                <a:tabLst/>
                <a:defRPr/>
              </a:pPr>
              <a:r>
                <a:rPr kumimoji="0" lang="en-US" sz="1200" b="1" i="0" u="none" strike="noStrike" kern="1200" cap="none" spc="0" normalizeH="0" baseline="0" noProof="0">
                  <a:ln>
                    <a:noFill/>
                  </a:ln>
                  <a:solidFill>
                    <a:srgbClr val="FFFFFF"/>
                  </a:solidFill>
                  <a:effectLst/>
                  <a:uLnTx/>
                  <a:uFillTx/>
                  <a:latin typeface="EYInterstate Light" pitchFamily="2" charset="0"/>
                  <a:ea typeface="+mn-ea"/>
                  <a:cs typeface="+mn-cs"/>
                </a:rPr>
                <a:t>Recommend products based on</a:t>
              </a:r>
            </a:p>
            <a:p>
              <a:pPr marL="0" marR="0" lvl="0" indent="0" algn="ctr" defTabSz="914400" rtl="0" eaLnBrk="1" fontAlgn="auto" latinLnBrk="0" hangingPunct="1">
                <a:lnSpc>
                  <a:spcPct val="100000"/>
                </a:lnSpc>
                <a:spcBef>
                  <a:spcPts val="0"/>
                </a:spcBef>
                <a:spcAft>
                  <a:spcPts val="0"/>
                </a:spcAft>
                <a:buClrTx/>
                <a:buSzTx/>
                <a:buFont typeface="Arial" charset="0"/>
                <a:buNone/>
                <a:tabLst/>
                <a:defRPr/>
              </a:pPr>
              <a:r>
                <a:rPr kumimoji="0" lang="en-US" sz="1200" b="1" i="0" u="none" strike="noStrike" kern="1200" cap="none" spc="0" normalizeH="0" baseline="0" noProof="0">
                  <a:ln>
                    <a:noFill/>
                  </a:ln>
                  <a:solidFill>
                    <a:srgbClr val="FFFFFF"/>
                  </a:solidFill>
                  <a:effectLst/>
                  <a:uLnTx/>
                  <a:uFillTx/>
                  <a:latin typeface="EYInterstate Light" pitchFamily="2" charset="0"/>
                  <a:ea typeface="+mn-ea"/>
                  <a:cs typeface="+mn-cs"/>
                </a:rPr>
                <a:t>expected cost savings for a global health insurer</a:t>
              </a:r>
              <a:endParaRPr kumimoji="0" lang="en-IN" sz="1200" b="1" i="0" u="none" strike="noStrike" kern="1200" cap="none" spc="0" normalizeH="0" baseline="0" noProof="0">
                <a:ln>
                  <a:noFill/>
                </a:ln>
                <a:solidFill>
                  <a:srgbClr val="FFFFFF"/>
                </a:solidFill>
                <a:effectLst/>
                <a:uLnTx/>
                <a:uFillTx/>
                <a:latin typeface="EYInterstate Light" pitchFamily="2" charset="0"/>
                <a:ea typeface="+mn-ea"/>
                <a:cs typeface="+mn-cs"/>
              </a:endParaRPr>
            </a:p>
          </p:txBody>
        </p:sp>
      </p:grpSp>
      <p:grpSp>
        <p:nvGrpSpPr>
          <p:cNvPr id="9" name="Group 8">
            <a:extLst>
              <a:ext uri="{FF2B5EF4-FFF2-40B4-BE49-F238E27FC236}">
                <a16:creationId xmlns:a16="http://schemas.microsoft.com/office/drawing/2014/main" id="{2C53B4C4-D31E-4386-B8E7-A24AC48624FC}"/>
              </a:ext>
            </a:extLst>
          </p:cNvPr>
          <p:cNvGrpSpPr/>
          <p:nvPr/>
        </p:nvGrpSpPr>
        <p:grpSpPr>
          <a:xfrm>
            <a:off x="4843773" y="1351893"/>
            <a:ext cx="3910326" cy="5085850"/>
            <a:chOff x="4308748" y="1715993"/>
            <a:chExt cx="3204000" cy="5088501"/>
          </a:xfrm>
        </p:grpSpPr>
        <p:sp>
          <p:nvSpPr>
            <p:cNvPr id="10" name="Rettangolo 28">
              <a:extLst>
                <a:ext uri="{FF2B5EF4-FFF2-40B4-BE49-F238E27FC236}">
                  <a16:creationId xmlns:a16="http://schemas.microsoft.com/office/drawing/2014/main" id="{54FC093E-404C-463A-B471-A161838566B1}"/>
                </a:ext>
              </a:extLst>
            </p:cNvPr>
            <p:cNvSpPr/>
            <p:nvPr/>
          </p:nvSpPr>
          <p:spPr>
            <a:xfrm>
              <a:off x="4308748" y="2384928"/>
              <a:ext cx="3204000" cy="4419566"/>
            </a:xfrm>
            <a:prstGeom prst="rect">
              <a:avLst/>
            </a:prstGeom>
            <a:solidFill>
              <a:schemeClr val="tx2"/>
            </a:solidFill>
            <a:ln w="19050">
              <a:solidFill>
                <a:srgbClr val="91278F"/>
              </a:solidFill>
              <a:miter lim="800000"/>
            </a:ln>
          </p:spPr>
          <p:txBody>
            <a:bodyPr wrap="square" lIns="71963" tIns="107944" rIns="71963" bIns="71963">
              <a:noAutofit/>
            </a:bodyPr>
            <a:lstStyle/>
            <a:p>
              <a:pPr marL="182472" marR="0" lvl="0" indent="-182472" algn="l" defTabSz="914400" rtl="0" eaLnBrk="1" fontAlgn="base" latinLnBrk="0" hangingPunct="1">
                <a:lnSpc>
                  <a:spcPct val="100000"/>
                </a:lnSpc>
                <a:spcBef>
                  <a:spcPct val="0"/>
                </a:spcBef>
                <a:spcAft>
                  <a:spcPts val="300"/>
                </a:spcAft>
                <a:buClr>
                  <a:srgbClr val="FFE600"/>
                </a:buClr>
                <a:buSzPct val="70000"/>
                <a:buFont typeface="Arial" pitchFamily="34" charset="0"/>
                <a:buChar char="►"/>
                <a:tabLst/>
                <a:defRPr/>
              </a:pPr>
              <a:r>
                <a:rPr kumimoji="0" lang="en-US" sz="1000" b="0" i="0" u="none" strike="noStrike" kern="1200" cap="none" spc="0" normalizeH="0" baseline="0" noProof="0">
                  <a:ln>
                    <a:noFill/>
                  </a:ln>
                  <a:solidFill>
                    <a:srgbClr val="000000"/>
                  </a:solidFill>
                  <a:effectLst/>
                  <a:uLnTx/>
                  <a:uFillTx/>
                  <a:latin typeface="EYInterstate Light" pitchFamily="2" charset="0"/>
                  <a:ea typeface="+mn-ea"/>
                  <a:cs typeface="+mn-cs"/>
                </a:rPr>
                <a:t>EY assisted a global health insurance company in developing an outreach approach to help customers manage their healthcare costs. It was tailored for customers with high total medical utilization (&gt;$50k annually), but internal analysis found the program to have low customer engagement and no significant cost savings.</a:t>
              </a:r>
            </a:p>
            <a:p>
              <a:pPr marL="182472" marR="0" lvl="0" indent="-182472" algn="l" defTabSz="914400" rtl="0" eaLnBrk="1" fontAlgn="base" latinLnBrk="0" hangingPunct="1">
                <a:lnSpc>
                  <a:spcPct val="100000"/>
                </a:lnSpc>
                <a:spcBef>
                  <a:spcPct val="0"/>
                </a:spcBef>
                <a:spcAft>
                  <a:spcPts val="300"/>
                </a:spcAft>
                <a:buClr>
                  <a:srgbClr val="FFE600"/>
                </a:buClr>
                <a:buSzPct val="70000"/>
                <a:buFont typeface="Arial" pitchFamily="34" charset="0"/>
                <a:buChar char="►"/>
                <a:tabLst/>
                <a:defRPr/>
              </a:pPr>
              <a:r>
                <a:rPr kumimoji="0" lang="en-US" sz="1000" b="0" i="0" u="none" strike="noStrike" kern="1200" cap="none" spc="0" normalizeH="0" baseline="0" noProof="0">
                  <a:ln>
                    <a:noFill/>
                  </a:ln>
                  <a:solidFill>
                    <a:srgbClr val="000000"/>
                  </a:solidFill>
                  <a:effectLst/>
                  <a:uLnTx/>
                  <a:uFillTx/>
                  <a:latin typeface="EYInterstate Light" pitchFamily="2" charset="0"/>
                  <a:ea typeface="+mn-ea"/>
                  <a:cs typeface="+mn-cs"/>
                </a:rPr>
                <a:t>EY developed a ML solution to plan the timing of customer outreach to optimize engagement, based on a customer’s likelihood to engage. This recommendation used a combination of customer journey trends, demographics, and high cost conditions to determine the best time for outreach.</a:t>
              </a:r>
            </a:p>
            <a:p>
              <a:pPr marL="182472" marR="0" lvl="0" indent="-182472" algn="l" defTabSz="914400" rtl="0" eaLnBrk="1" fontAlgn="base" latinLnBrk="0" hangingPunct="1">
                <a:lnSpc>
                  <a:spcPct val="100000"/>
                </a:lnSpc>
                <a:spcBef>
                  <a:spcPct val="0"/>
                </a:spcBef>
                <a:spcAft>
                  <a:spcPts val="300"/>
                </a:spcAft>
                <a:buClr>
                  <a:srgbClr val="FFE600"/>
                </a:buClr>
                <a:buSzPct val="70000"/>
                <a:buFont typeface="Arial" pitchFamily="34" charset="0"/>
                <a:buChar char="►"/>
                <a:tabLst/>
                <a:defRPr/>
              </a:pPr>
              <a:r>
                <a:rPr kumimoji="0" lang="en-US" sz="1000" b="0" i="0" u="none" strike="noStrike" kern="1200" cap="none" spc="0" normalizeH="0" baseline="0" noProof="0">
                  <a:ln>
                    <a:noFill/>
                  </a:ln>
                  <a:solidFill>
                    <a:srgbClr val="000000"/>
                  </a:solidFill>
                  <a:effectLst/>
                  <a:uLnTx/>
                  <a:uFillTx/>
                  <a:latin typeface="EYInterstate Light" pitchFamily="2" charset="0"/>
                  <a:ea typeface="+mn-ea"/>
                  <a:cs typeface="+mn-cs"/>
                </a:rPr>
                <a:t>EY built a time series customer health journey dataset to see at which point in time customers would engage with case management through encompassing association rules using SPADE and </a:t>
              </a:r>
              <a:r>
                <a:rPr kumimoji="0" lang="en-US" sz="1000" b="0" i="0" u="none" strike="noStrike" kern="1200" cap="none" spc="0" normalizeH="0" baseline="0" noProof="0" err="1">
                  <a:ln>
                    <a:noFill/>
                  </a:ln>
                  <a:solidFill>
                    <a:srgbClr val="000000"/>
                  </a:solidFill>
                  <a:effectLst/>
                  <a:uLnTx/>
                  <a:uFillTx/>
                  <a:latin typeface="EYInterstate Light" pitchFamily="2" charset="0"/>
                  <a:ea typeface="+mn-ea"/>
                  <a:cs typeface="+mn-cs"/>
                </a:rPr>
                <a:t>Apriori</a:t>
              </a:r>
              <a:r>
                <a:rPr kumimoji="0" lang="en-US" sz="1000" b="0" i="0" u="none" strike="noStrike" kern="1200" cap="none" spc="0" normalizeH="0" baseline="0" noProof="0">
                  <a:ln>
                    <a:noFill/>
                  </a:ln>
                  <a:solidFill>
                    <a:srgbClr val="000000"/>
                  </a:solidFill>
                  <a:effectLst/>
                  <a:uLnTx/>
                  <a:uFillTx/>
                  <a:latin typeface="EYInterstate Light" pitchFamily="2" charset="0"/>
                  <a:ea typeface="+mn-ea"/>
                  <a:cs typeface="+mn-cs"/>
                </a:rPr>
                <a:t> algorithms in R, Python, and HiveQL.</a:t>
              </a:r>
            </a:p>
            <a:p>
              <a:pPr marL="182472" marR="0" lvl="0" indent="-182472" algn="l" defTabSz="914400" rtl="0" eaLnBrk="1" fontAlgn="base" latinLnBrk="0" hangingPunct="1">
                <a:lnSpc>
                  <a:spcPct val="100000"/>
                </a:lnSpc>
                <a:spcBef>
                  <a:spcPct val="0"/>
                </a:spcBef>
                <a:spcAft>
                  <a:spcPts val="300"/>
                </a:spcAft>
                <a:buClr>
                  <a:srgbClr val="FFE600"/>
                </a:buClr>
                <a:buSzPct val="70000"/>
                <a:buFont typeface="Arial" pitchFamily="34" charset="0"/>
                <a:buChar char="►"/>
                <a:tabLst/>
                <a:defRPr/>
              </a:pPr>
              <a:r>
                <a:rPr kumimoji="0" lang="en-US" sz="1000" b="0" i="0" u="none" strike="noStrike" kern="1200" cap="none" spc="0" normalizeH="0" baseline="0" noProof="0">
                  <a:ln>
                    <a:noFill/>
                  </a:ln>
                  <a:solidFill>
                    <a:srgbClr val="000000"/>
                  </a:solidFill>
                  <a:effectLst/>
                  <a:uLnTx/>
                  <a:uFillTx/>
                  <a:latin typeface="EYInterstate Light" pitchFamily="2" charset="0"/>
                  <a:ea typeface="+mn-ea"/>
                  <a:cs typeface="+mn-cs"/>
                </a:rPr>
                <a:t>To test the potential impact on customer engagement, EY gathered historical data, tested it in the model, and identified a 20% increase in customer engagement when using the recommended outreach timing.</a:t>
              </a:r>
            </a:p>
            <a:p>
              <a:pPr marL="182472" marR="0" lvl="0" indent="-182472" algn="l" defTabSz="914400" rtl="0" eaLnBrk="1" fontAlgn="base" latinLnBrk="0" hangingPunct="1">
                <a:lnSpc>
                  <a:spcPct val="100000"/>
                </a:lnSpc>
                <a:spcBef>
                  <a:spcPct val="0"/>
                </a:spcBef>
                <a:spcAft>
                  <a:spcPts val="300"/>
                </a:spcAft>
                <a:buClr>
                  <a:srgbClr val="FFE600"/>
                </a:buClr>
                <a:buSzPct val="70000"/>
                <a:buFont typeface="Arial" pitchFamily="34" charset="0"/>
                <a:buChar char="►"/>
                <a:tabLst/>
                <a:defRPr/>
              </a:pPr>
              <a:r>
                <a:rPr kumimoji="0" lang="en-US" sz="1000" b="0" i="0" u="none" strike="noStrike" kern="1200" cap="none" spc="0" normalizeH="0" baseline="0" noProof="0">
                  <a:ln>
                    <a:noFill/>
                  </a:ln>
                  <a:solidFill>
                    <a:srgbClr val="000000"/>
                  </a:solidFill>
                  <a:effectLst/>
                  <a:uLnTx/>
                  <a:uFillTx/>
                  <a:latin typeface="EYInterstate Light" pitchFamily="2" charset="0"/>
                  <a:ea typeface="+mn-ea"/>
                  <a:cs typeface="+mn-cs"/>
                </a:rPr>
                <a:t>The approach was put into a pilot program to test the impact on engagement.</a:t>
              </a:r>
            </a:p>
            <a:p>
              <a:pPr marL="182472" marR="0" lvl="0" indent="-182472" algn="l" defTabSz="914400" rtl="0" eaLnBrk="1" fontAlgn="base" latinLnBrk="0" hangingPunct="1">
                <a:lnSpc>
                  <a:spcPct val="100000"/>
                </a:lnSpc>
                <a:spcBef>
                  <a:spcPct val="0"/>
                </a:spcBef>
                <a:spcAft>
                  <a:spcPts val="300"/>
                </a:spcAft>
                <a:buClr>
                  <a:srgbClr val="FFE600"/>
                </a:buClr>
                <a:buSzPct val="70000"/>
                <a:buFont typeface="Arial" pitchFamily="34" charset="0"/>
                <a:buChar char="►"/>
                <a:tabLst/>
                <a:defRPr/>
              </a:pPr>
              <a:r>
                <a:rPr kumimoji="0" lang="en-US" sz="1000" b="0" i="0" u="none" strike="noStrike" kern="1200" cap="none" spc="0" normalizeH="0" baseline="0" noProof="0">
                  <a:ln>
                    <a:noFill/>
                  </a:ln>
                  <a:solidFill>
                    <a:srgbClr val="000000"/>
                  </a:solidFill>
                  <a:effectLst/>
                  <a:uLnTx/>
                  <a:uFillTx/>
                  <a:latin typeface="EYInterstate Light" pitchFamily="2" charset="0"/>
                  <a:ea typeface="+mn-ea"/>
                  <a:cs typeface="+mn-cs"/>
                </a:rPr>
                <a:t>The client’s existing approach to engage with patients with high medical costs had low engagement and cost savings. EY developed a recommendation system to recommend the best timing for customer outreach, which predicted a 20% increase in engagement with high-cost customers.</a:t>
              </a:r>
            </a:p>
            <a:p>
              <a:pPr marL="639672" marR="0" lvl="1" indent="-182472" algn="l" defTabSz="914400" rtl="0" eaLnBrk="1" fontAlgn="base" latinLnBrk="0" hangingPunct="1">
                <a:lnSpc>
                  <a:spcPct val="100000"/>
                </a:lnSpc>
                <a:spcBef>
                  <a:spcPct val="0"/>
                </a:spcBef>
                <a:spcAft>
                  <a:spcPts val="300"/>
                </a:spcAft>
                <a:buClr>
                  <a:srgbClr val="FFE600"/>
                </a:buClr>
                <a:buSzPct val="70000"/>
                <a:buFont typeface="Arial" pitchFamily="34" charset="0"/>
                <a:buChar char="►"/>
                <a:tabLst/>
                <a:defRPr/>
              </a:pPr>
              <a:endParaRPr kumimoji="0" lang="en-GB" sz="1000" b="0" i="0" u="none" strike="noStrike" kern="1200" cap="none" spc="0" normalizeH="0" baseline="0" noProof="0">
                <a:ln>
                  <a:noFill/>
                </a:ln>
                <a:solidFill>
                  <a:srgbClr val="000000"/>
                </a:solidFill>
                <a:effectLst/>
                <a:uLnTx/>
                <a:uFillTx/>
                <a:latin typeface="EYInterstate Light" pitchFamily="2" charset="0"/>
                <a:ea typeface="+mn-ea"/>
                <a:cs typeface="+mn-cs"/>
              </a:endParaRPr>
            </a:p>
          </p:txBody>
        </p:sp>
        <p:sp>
          <p:nvSpPr>
            <p:cNvPr id="11" name="Rounded Rectangle 17">
              <a:extLst>
                <a:ext uri="{FF2B5EF4-FFF2-40B4-BE49-F238E27FC236}">
                  <a16:creationId xmlns:a16="http://schemas.microsoft.com/office/drawing/2014/main" id="{D2D29DE8-01AF-480C-A0E5-49D748470F5F}"/>
                </a:ext>
              </a:extLst>
            </p:cNvPr>
            <p:cNvSpPr/>
            <p:nvPr/>
          </p:nvSpPr>
          <p:spPr>
            <a:xfrm>
              <a:off x="4308748" y="1715993"/>
              <a:ext cx="3204000" cy="551080"/>
            </a:xfrm>
            <a:prstGeom prst="roundRect">
              <a:avLst>
                <a:gd name="adj" fmla="val 50000"/>
              </a:avLst>
            </a:prstGeom>
            <a:solidFill>
              <a:srgbClr val="91278F"/>
            </a:solidFill>
            <a:ln w="19050" cap="flat" cmpd="sng" algn="ctr">
              <a:solidFill>
                <a:srgbClr val="91278F"/>
              </a:solidFill>
              <a:prstDash val="solid"/>
            </a:ln>
            <a:effectLst/>
          </p:spPr>
          <p:txBody>
            <a:bodyPr wrap="square" lIns="70457" tIns="35981" rIns="70457" bIns="35981"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 typeface="Arial" charset="0"/>
                <a:buNone/>
                <a:tabLst/>
                <a:defRPr/>
              </a:pPr>
              <a:r>
                <a:rPr kumimoji="0" lang="en-US" sz="1200" b="1" i="0" u="none" strike="noStrike" kern="1200" cap="none" spc="0" normalizeH="0" baseline="0" noProof="0">
                  <a:ln>
                    <a:noFill/>
                  </a:ln>
                  <a:solidFill>
                    <a:srgbClr val="FFFFFF"/>
                  </a:solidFill>
                  <a:effectLst/>
                  <a:uLnTx/>
                  <a:uFillTx/>
                  <a:latin typeface="EYInterstate Light" pitchFamily="2" charset="0"/>
                  <a:ea typeface="+mn-ea"/>
                  <a:cs typeface="+mn-cs"/>
                </a:rPr>
                <a:t>Recommendation system for optimal time of customer outreach for a global health insurer</a:t>
              </a:r>
            </a:p>
          </p:txBody>
        </p:sp>
      </p:grpSp>
    </p:spTree>
    <p:extLst>
      <p:ext uri="{BB962C8B-B14F-4D97-AF65-F5344CB8AC3E}">
        <p14:creationId xmlns:p14="http://schemas.microsoft.com/office/powerpoint/2010/main" val="15996620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Content Placeholder 4">
            <a:extLst>
              <a:ext uri="{FF2B5EF4-FFF2-40B4-BE49-F238E27FC236}">
                <a16:creationId xmlns:a16="http://schemas.microsoft.com/office/drawing/2014/main" id="{D8DF632A-C0EE-4C4E-9413-0431DC305F56}"/>
              </a:ext>
            </a:extLst>
          </p:cNvPr>
          <p:cNvSpPr txBox="1">
            <a:spLocks/>
          </p:cNvSpPr>
          <p:nvPr/>
        </p:nvSpPr>
        <p:spPr bwMode="gray">
          <a:xfrm>
            <a:off x="943199" y="1167864"/>
            <a:ext cx="12191776" cy="6064209"/>
          </a:xfrm>
          <a:prstGeom prst="rect">
            <a:avLst/>
          </a:prstGeom>
          <a:solidFill>
            <a:schemeClr val="accent1">
              <a:lumMod val="20000"/>
              <a:lumOff val="80000"/>
            </a:schemeClr>
          </a:solidFill>
        </p:spPr>
        <p:txBody>
          <a:bodyPr vert="horz" lIns="71882" tIns="71882" rIns="71882" bIns="71882" rtlCol="0" anchor="t" anchorCtr="0">
            <a:noAutofit/>
          </a:bodyPr>
          <a:lstStyle>
            <a:lvl1pPr marL="356616" indent="-356616" algn="l" defTabSz="914400" rtl="0" eaLnBrk="1" latinLnBrk="0" hangingPunct="1">
              <a:spcBef>
                <a:spcPct val="20000"/>
              </a:spcBef>
              <a:buClr>
                <a:schemeClr val="accent2"/>
              </a:buClr>
              <a:buSzPct val="70000"/>
              <a:buFont typeface="Arial" pitchFamily="34" charset="0"/>
              <a:buChar char="►"/>
              <a:defRPr sz="2000" kern="1200">
                <a:solidFill>
                  <a:schemeClr val="bg2"/>
                </a:solidFill>
                <a:latin typeface="+mn-lt"/>
                <a:ea typeface="+mn-ea"/>
                <a:cs typeface="+mn-cs"/>
              </a:defRPr>
            </a:lvl1pPr>
            <a:lvl2pPr marL="713232" indent="-356616" algn="l" defTabSz="914400" rtl="0" eaLnBrk="1" latinLnBrk="0" hangingPunct="1">
              <a:spcBef>
                <a:spcPct val="20000"/>
              </a:spcBef>
              <a:buClr>
                <a:schemeClr val="accent2"/>
              </a:buClr>
              <a:buSzPct val="70000"/>
              <a:buFont typeface="Arial" pitchFamily="34" charset="0"/>
              <a:buChar char="►"/>
              <a:defRPr sz="1800" kern="1200">
                <a:solidFill>
                  <a:schemeClr val="bg2"/>
                </a:solidFill>
                <a:latin typeface="+mn-lt"/>
                <a:ea typeface="+mn-ea"/>
                <a:cs typeface="+mn-cs"/>
              </a:defRPr>
            </a:lvl2pPr>
            <a:lvl3pPr marL="1069848" indent="-356616" algn="l" defTabSz="914400" rtl="0" eaLnBrk="1" latinLnBrk="0" hangingPunct="1">
              <a:spcBef>
                <a:spcPct val="20000"/>
              </a:spcBef>
              <a:buClr>
                <a:schemeClr val="accent2"/>
              </a:buClr>
              <a:buSzPct val="70000"/>
              <a:buFont typeface="Arial" pitchFamily="34" charset="0"/>
              <a:buChar char="►"/>
              <a:defRPr sz="1600" kern="1200">
                <a:solidFill>
                  <a:schemeClr val="bg2"/>
                </a:solidFill>
                <a:latin typeface="+mn-lt"/>
                <a:ea typeface="+mn-ea"/>
                <a:cs typeface="+mn-cs"/>
              </a:defRPr>
            </a:lvl3pPr>
            <a:lvl4pPr marL="1426464" indent="-356616" algn="l" defTabSz="914400" rtl="0" eaLnBrk="1" latinLnBrk="0" hangingPunct="1">
              <a:spcBef>
                <a:spcPct val="20000"/>
              </a:spcBef>
              <a:buClr>
                <a:schemeClr val="accent2"/>
              </a:buClr>
              <a:buSzPct val="70000"/>
              <a:buFont typeface="Arial" pitchFamily="34" charset="0"/>
              <a:buChar char="►"/>
              <a:defRPr sz="1400" kern="1200">
                <a:solidFill>
                  <a:schemeClr val="bg2"/>
                </a:solidFill>
                <a:latin typeface="+mn-lt"/>
                <a:ea typeface="+mn-ea"/>
                <a:cs typeface="+mn-cs"/>
              </a:defRPr>
            </a:lvl4pPr>
            <a:lvl5pPr marL="1783080" indent="-356616" algn="l" defTabSz="914400" rtl="0" eaLnBrk="1" latinLnBrk="0" hangingPunct="1">
              <a:spcBef>
                <a:spcPct val="20000"/>
              </a:spcBef>
              <a:buClr>
                <a:schemeClr val="accent2"/>
              </a:buClr>
              <a:buSzPct val="70000"/>
              <a:buFont typeface="Arial" pitchFamily="34" charset="0"/>
              <a:buChar char="►"/>
              <a:defRPr sz="1400" kern="1200">
                <a:solidFill>
                  <a:schemeClr val="bg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20000"/>
              </a:spcBef>
              <a:spcAft>
                <a:spcPts val="0"/>
              </a:spcAft>
              <a:buClr>
                <a:srgbClr val="FFD200"/>
              </a:buClr>
              <a:buSzPct val="70000"/>
              <a:buFont typeface="Arial" pitchFamily="34" charset="0"/>
              <a:buNone/>
              <a:tabLst/>
              <a:defRPr/>
            </a:pPr>
            <a:endParaRPr kumimoji="0" lang="en-US" sz="1400" b="0"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endParaRPr>
          </a:p>
        </p:txBody>
      </p:sp>
      <p:sp>
        <p:nvSpPr>
          <p:cNvPr id="2" name="Title 1">
            <a:extLst>
              <a:ext uri="{FF2B5EF4-FFF2-40B4-BE49-F238E27FC236}">
                <a16:creationId xmlns:a16="http://schemas.microsoft.com/office/drawing/2014/main" id="{4482F414-64FF-4D5F-9A21-B78191E283D3}"/>
              </a:ext>
            </a:extLst>
          </p:cNvPr>
          <p:cNvSpPr>
            <a:spLocks noGrp="1"/>
          </p:cNvSpPr>
          <p:nvPr>
            <p:ph type="title"/>
          </p:nvPr>
        </p:nvSpPr>
        <p:spPr/>
        <p:txBody>
          <a:bodyPr/>
          <a:lstStyle/>
          <a:p>
            <a:r>
              <a:rPr lang="en-US"/>
              <a:t>Our Credentials</a:t>
            </a:r>
          </a:p>
        </p:txBody>
      </p:sp>
      <p:grpSp>
        <p:nvGrpSpPr>
          <p:cNvPr id="3" name="Group 2">
            <a:extLst>
              <a:ext uri="{FF2B5EF4-FFF2-40B4-BE49-F238E27FC236}">
                <a16:creationId xmlns:a16="http://schemas.microsoft.com/office/drawing/2014/main" id="{C23A8B75-ECB4-4257-91EE-33D491678490}"/>
              </a:ext>
            </a:extLst>
          </p:cNvPr>
          <p:cNvGrpSpPr/>
          <p:nvPr/>
        </p:nvGrpSpPr>
        <p:grpSpPr>
          <a:xfrm>
            <a:off x="1192581" y="1351895"/>
            <a:ext cx="3545672" cy="5619436"/>
            <a:chOff x="609917" y="1715994"/>
            <a:chExt cx="3204000" cy="5622480"/>
          </a:xfrm>
        </p:grpSpPr>
        <p:sp>
          <p:nvSpPr>
            <p:cNvPr id="4" name="Rettangolo 28">
              <a:extLst>
                <a:ext uri="{FF2B5EF4-FFF2-40B4-BE49-F238E27FC236}">
                  <a16:creationId xmlns:a16="http://schemas.microsoft.com/office/drawing/2014/main" id="{E47C7D35-FAEB-4C49-9952-268184C6A568}"/>
                </a:ext>
              </a:extLst>
            </p:cNvPr>
            <p:cNvSpPr/>
            <p:nvPr/>
          </p:nvSpPr>
          <p:spPr>
            <a:xfrm>
              <a:off x="609917" y="2366460"/>
              <a:ext cx="3204000" cy="4972014"/>
            </a:xfrm>
            <a:prstGeom prst="rect">
              <a:avLst/>
            </a:prstGeom>
            <a:solidFill>
              <a:schemeClr val="tx2"/>
            </a:solidFill>
            <a:ln w="19050">
              <a:solidFill>
                <a:schemeClr val="accent5"/>
              </a:solidFill>
              <a:miter lim="800000"/>
            </a:ln>
          </p:spPr>
          <p:txBody>
            <a:bodyPr wrap="square" lIns="71963" tIns="107944" rIns="71963" bIns="71963">
              <a:noAutofit/>
            </a:bodyPr>
            <a:lstStyle/>
            <a:p>
              <a:pPr marL="182472" marR="0" lvl="0" indent="-182472" algn="l" defTabSz="914400" rtl="0" eaLnBrk="1" fontAlgn="base" latinLnBrk="0" hangingPunct="1">
                <a:lnSpc>
                  <a:spcPct val="100000"/>
                </a:lnSpc>
                <a:spcBef>
                  <a:spcPct val="0"/>
                </a:spcBef>
                <a:spcAft>
                  <a:spcPts val="300"/>
                </a:spcAft>
                <a:buClr>
                  <a:srgbClr val="FFE600"/>
                </a:buClr>
                <a:buSzPct val="70000"/>
                <a:buFont typeface="Arial" pitchFamily="34" charset="0"/>
                <a:buChar char="►"/>
                <a:tabLst/>
                <a:defRPr/>
              </a:pPr>
              <a:r>
                <a:rPr kumimoji="0" lang="en-US" sz="1000" b="0" i="0" u="none" strike="noStrike" kern="1200" cap="none" spc="0" normalizeH="0" baseline="0" noProof="0" dirty="0">
                  <a:ln>
                    <a:noFill/>
                  </a:ln>
                  <a:solidFill>
                    <a:srgbClr val="000000"/>
                  </a:solidFill>
                  <a:effectLst/>
                  <a:uLnTx/>
                  <a:uFillTx/>
                  <a:latin typeface="EYInterstate Light" pitchFamily="2" charset="0"/>
                  <a:ea typeface="+mn-ea"/>
                  <a:cs typeface="+mn-cs"/>
                </a:rPr>
                <a:t>EY assisted a regional banking group to manage a large opening balance of pre-impaired assets with limited resources (workforce, calls &amp; budget) to collect leveraging on EY’s analytics capabilities with the goal to improve Unsecured Financing portfolio delinquency performance.</a:t>
              </a:r>
            </a:p>
            <a:p>
              <a:pPr marL="182472" marR="0" lvl="0" indent="-182472" algn="l" defTabSz="914400" rtl="0" eaLnBrk="1" fontAlgn="base" latinLnBrk="0" hangingPunct="1">
                <a:lnSpc>
                  <a:spcPct val="100000"/>
                </a:lnSpc>
                <a:spcBef>
                  <a:spcPct val="0"/>
                </a:spcBef>
                <a:spcAft>
                  <a:spcPts val="300"/>
                </a:spcAft>
                <a:buClr>
                  <a:srgbClr val="FFE600"/>
                </a:buClr>
                <a:buSzPct val="70000"/>
                <a:buFont typeface="Arial" pitchFamily="34" charset="0"/>
                <a:buChar char="►"/>
                <a:tabLst/>
                <a:defRPr/>
              </a:pPr>
              <a:r>
                <a:rPr kumimoji="0" lang="en-US" sz="1000" b="0" i="0" u="none" strike="noStrike" kern="1200" cap="none" spc="0" normalizeH="0" baseline="0" noProof="0" dirty="0">
                  <a:ln>
                    <a:noFill/>
                  </a:ln>
                  <a:solidFill>
                    <a:srgbClr val="000000"/>
                  </a:solidFill>
                  <a:effectLst/>
                  <a:uLnTx/>
                  <a:uFillTx/>
                  <a:latin typeface="EYInterstate Light" pitchFamily="2" charset="0"/>
                  <a:ea typeface="+mn-ea"/>
                  <a:cs typeface="+mn-cs"/>
                </a:rPr>
                <a:t>EY provided predictive scores on customers’ propensity to pay and to self cure. EY also optimized collections activities for delinquent customers by introducing concept of self-cure and proposing channels for collectors to contact customers.</a:t>
              </a:r>
            </a:p>
            <a:p>
              <a:pPr marL="182472" marR="0" lvl="0" indent="-182472" algn="l" defTabSz="914400" rtl="0" eaLnBrk="1" fontAlgn="base" latinLnBrk="0" hangingPunct="1">
                <a:lnSpc>
                  <a:spcPct val="100000"/>
                </a:lnSpc>
                <a:spcBef>
                  <a:spcPct val="0"/>
                </a:spcBef>
                <a:spcAft>
                  <a:spcPts val="300"/>
                </a:spcAft>
                <a:buClr>
                  <a:srgbClr val="FFE600"/>
                </a:buClr>
                <a:buSzPct val="70000"/>
                <a:buFont typeface="Arial" pitchFamily="34" charset="0"/>
                <a:buChar char="►"/>
                <a:tabLst/>
                <a:defRPr/>
              </a:pPr>
              <a:r>
                <a:rPr kumimoji="0" lang="en-US" sz="1000" b="0" i="0" u="none" strike="noStrike" kern="1200" cap="none" spc="0" normalizeH="0" baseline="0" noProof="0" dirty="0">
                  <a:ln>
                    <a:noFill/>
                  </a:ln>
                  <a:solidFill>
                    <a:srgbClr val="000000"/>
                  </a:solidFill>
                  <a:effectLst/>
                  <a:uLnTx/>
                  <a:uFillTx/>
                  <a:latin typeface="EYInterstate Light" pitchFamily="2" charset="0"/>
                  <a:ea typeface="+mn-ea"/>
                  <a:cs typeface="+mn-cs"/>
                </a:rPr>
                <a:t>Predictive models were developed using advanced machine learning techniques to generate propensity to pay, self-cure, pushback and stayover. To-Be processes and proposed holding period for new channels were also identified as an additional part to the engagement.</a:t>
              </a:r>
            </a:p>
            <a:p>
              <a:pPr marL="182472" marR="0" lvl="0" indent="-182472" algn="l" defTabSz="914400" rtl="0" eaLnBrk="1" fontAlgn="base" latinLnBrk="0" hangingPunct="1">
                <a:lnSpc>
                  <a:spcPct val="100000"/>
                </a:lnSpc>
                <a:spcBef>
                  <a:spcPct val="0"/>
                </a:spcBef>
                <a:spcAft>
                  <a:spcPts val="300"/>
                </a:spcAft>
                <a:buClr>
                  <a:srgbClr val="FFE600"/>
                </a:buClr>
                <a:buSzPct val="70000"/>
                <a:buFont typeface="Arial" pitchFamily="34" charset="0"/>
                <a:buChar char="►"/>
                <a:tabLst/>
                <a:defRPr/>
              </a:pPr>
              <a:r>
                <a:rPr kumimoji="0" lang="en-US" sz="1000" b="0" i="0" u="none" strike="noStrike" kern="1200" cap="none" spc="0" normalizeH="0" baseline="0" noProof="0" dirty="0">
                  <a:ln>
                    <a:noFill/>
                  </a:ln>
                  <a:solidFill>
                    <a:srgbClr val="000000"/>
                  </a:solidFill>
                  <a:effectLst/>
                  <a:uLnTx/>
                  <a:uFillTx/>
                  <a:latin typeface="EYInterstate Light" pitchFamily="2" charset="0"/>
                  <a:ea typeface="+mn-ea"/>
                  <a:cs typeface="+mn-cs"/>
                </a:rPr>
                <a:t>A Collections data mart for modelling, collections optimization and reporting purpose was developed. Moreover, EY designed collections optimization related management dashboards.</a:t>
              </a:r>
            </a:p>
            <a:p>
              <a:pPr marL="182472" marR="0" lvl="0" indent="-182472" algn="l" defTabSz="914400" rtl="0" eaLnBrk="1" fontAlgn="base" latinLnBrk="0" hangingPunct="1">
                <a:lnSpc>
                  <a:spcPct val="100000"/>
                </a:lnSpc>
                <a:spcBef>
                  <a:spcPct val="0"/>
                </a:spcBef>
                <a:spcAft>
                  <a:spcPts val="300"/>
                </a:spcAft>
                <a:buClr>
                  <a:srgbClr val="FFE600"/>
                </a:buClr>
                <a:buSzPct val="70000"/>
                <a:buFont typeface="Arial" pitchFamily="34" charset="0"/>
                <a:buChar char="►"/>
                <a:tabLst/>
                <a:defRPr/>
              </a:pPr>
              <a:r>
                <a:rPr kumimoji="0" lang="en-US" sz="1000" b="0" i="0" u="none" strike="noStrike" kern="1200" cap="none" spc="0" normalizeH="0" baseline="0" noProof="0" dirty="0">
                  <a:ln>
                    <a:noFill/>
                  </a:ln>
                  <a:solidFill>
                    <a:srgbClr val="000000"/>
                  </a:solidFill>
                  <a:effectLst/>
                  <a:uLnTx/>
                  <a:uFillTx/>
                  <a:latin typeface="EYInterstate Light" pitchFamily="2" charset="0"/>
                  <a:ea typeface="+mn-ea"/>
                  <a:cs typeface="+mn-cs"/>
                </a:rPr>
                <a:t>Net flow rate of pre-impaired accounts improved by 6% within 3 months with improvement in Collective Assessment due to reduction in net flow rate. </a:t>
              </a:r>
            </a:p>
            <a:p>
              <a:pPr marL="182472" marR="0" lvl="0" indent="-182472" algn="l" defTabSz="914400" rtl="0" eaLnBrk="1" fontAlgn="base" latinLnBrk="0" hangingPunct="1">
                <a:lnSpc>
                  <a:spcPct val="100000"/>
                </a:lnSpc>
                <a:spcBef>
                  <a:spcPct val="0"/>
                </a:spcBef>
                <a:spcAft>
                  <a:spcPts val="300"/>
                </a:spcAft>
                <a:buClr>
                  <a:srgbClr val="FFE600"/>
                </a:buClr>
                <a:buSzPct val="70000"/>
                <a:buFont typeface="Arial" pitchFamily="34" charset="0"/>
                <a:buChar char="►"/>
                <a:tabLst/>
                <a:defRPr/>
              </a:pPr>
              <a:r>
                <a:rPr kumimoji="0" lang="en-US" sz="1000" b="0" i="0" u="none" strike="noStrike" kern="1200" cap="none" spc="0" normalizeH="0" baseline="0" noProof="0" dirty="0">
                  <a:ln>
                    <a:noFill/>
                  </a:ln>
                  <a:solidFill>
                    <a:srgbClr val="000000"/>
                  </a:solidFill>
                  <a:effectLst/>
                  <a:uLnTx/>
                  <a:uFillTx/>
                  <a:latin typeface="EYInterstate Light" pitchFamily="2" charset="0"/>
                  <a:ea typeface="+mn-ea"/>
                  <a:cs typeface="+mn-cs"/>
                </a:rPr>
                <a:t>Collections results were maximized by effectively segregating the delinquent list into different channels – call, SMS and email.</a:t>
              </a:r>
            </a:p>
            <a:p>
              <a:pPr marL="182472" marR="0" lvl="0" indent="-182472" algn="l" defTabSz="914400" rtl="0" eaLnBrk="1" fontAlgn="base" latinLnBrk="0" hangingPunct="1">
                <a:lnSpc>
                  <a:spcPct val="100000"/>
                </a:lnSpc>
                <a:spcBef>
                  <a:spcPct val="0"/>
                </a:spcBef>
                <a:spcAft>
                  <a:spcPts val="300"/>
                </a:spcAft>
                <a:buClr>
                  <a:srgbClr val="FFE600"/>
                </a:buClr>
                <a:buSzPct val="70000"/>
                <a:buFont typeface="Arial" pitchFamily="34" charset="0"/>
                <a:buChar char="►"/>
                <a:tabLst/>
                <a:defRPr/>
              </a:pPr>
              <a:r>
                <a:rPr kumimoji="0" lang="en-US" sz="1000" b="0" i="0" u="none" strike="noStrike" kern="1200" cap="none" spc="0" normalizeH="0" baseline="0" noProof="0" dirty="0">
                  <a:ln>
                    <a:noFill/>
                  </a:ln>
                  <a:solidFill>
                    <a:srgbClr val="000000"/>
                  </a:solidFill>
                  <a:effectLst/>
                  <a:uLnTx/>
                  <a:uFillTx/>
                  <a:latin typeface="EYInterstate Light" pitchFamily="2" charset="0"/>
                  <a:ea typeface="+mn-ea"/>
                  <a:cs typeface="+mn-cs"/>
                </a:rPr>
                <a:t>Self-cure customers with self-cured account ratio of 18% were identified. This provided better insight into customer behavior on their propensity to pay and receptivity to the different channels.</a:t>
              </a:r>
            </a:p>
          </p:txBody>
        </p:sp>
        <p:sp>
          <p:nvSpPr>
            <p:cNvPr id="5" name="Rounded Rectangle 13">
              <a:extLst>
                <a:ext uri="{FF2B5EF4-FFF2-40B4-BE49-F238E27FC236}">
                  <a16:creationId xmlns:a16="http://schemas.microsoft.com/office/drawing/2014/main" id="{E6AFCDA9-A5B7-48B9-8593-26B9BCC7B36D}"/>
                </a:ext>
              </a:extLst>
            </p:cNvPr>
            <p:cNvSpPr/>
            <p:nvPr/>
          </p:nvSpPr>
          <p:spPr>
            <a:xfrm>
              <a:off x="609917" y="1715994"/>
              <a:ext cx="3204000" cy="551092"/>
            </a:xfrm>
            <a:prstGeom prst="roundRect">
              <a:avLst>
                <a:gd name="adj" fmla="val 50000"/>
              </a:avLst>
            </a:prstGeom>
            <a:solidFill>
              <a:schemeClr val="accent5"/>
            </a:solidFill>
            <a:ln w="19050" cap="flat" cmpd="sng" algn="ctr">
              <a:solidFill>
                <a:schemeClr val="accent5"/>
              </a:solidFill>
              <a:prstDash val="solid"/>
            </a:ln>
            <a:effectLst/>
          </p:spPr>
          <p:txBody>
            <a:bodyPr wrap="square" lIns="70457" tIns="35981" rIns="70457" bIns="35981" rtlCol="0" anchor="ctr" anchorCtr="0">
              <a:noAutofit/>
            </a:bodyPr>
            <a:lstStyle/>
            <a:p>
              <a:pPr marL="0" marR="0" lvl="0" indent="0" algn="ctr" defTabSz="914400" rtl="0" eaLnBrk="1" fontAlgn="base" latinLnBrk="0" hangingPunct="1">
                <a:lnSpc>
                  <a:spcPct val="100000"/>
                </a:lnSpc>
                <a:spcBef>
                  <a:spcPts val="588"/>
                </a:spcBef>
                <a:spcAft>
                  <a:spcPct val="50000"/>
                </a:spcAft>
                <a:buClr>
                  <a:srgbClr val="FFE600"/>
                </a:buClr>
                <a:buSzPct val="80000"/>
                <a:buFont typeface="Arial" charset="0"/>
                <a:buNone/>
                <a:tabLst/>
                <a:defRPr/>
              </a:pPr>
              <a:r>
                <a:rPr kumimoji="0" lang="en-US" sz="1199" b="1" i="0" u="none" strike="noStrike" kern="0" cap="none" spc="0" normalizeH="0" baseline="0" noProof="0">
                  <a:ln>
                    <a:noFill/>
                  </a:ln>
                  <a:solidFill>
                    <a:srgbClr val="FFFFFF"/>
                  </a:solidFill>
                  <a:effectLst/>
                  <a:uLnTx/>
                  <a:uFillTx/>
                  <a:latin typeface="EYInterstate"/>
                  <a:ea typeface="+mn-ea"/>
                  <a:cs typeface="+mn-cs"/>
                </a:rPr>
                <a:t>Collections Optimization for a large banking group in Malaysia</a:t>
              </a:r>
            </a:p>
          </p:txBody>
        </p:sp>
      </p:grpSp>
      <p:grpSp>
        <p:nvGrpSpPr>
          <p:cNvPr id="6" name="Group 5">
            <a:extLst>
              <a:ext uri="{FF2B5EF4-FFF2-40B4-BE49-F238E27FC236}">
                <a16:creationId xmlns:a16="http://schemas.microsoft.com/office/drawing/2014/main" id="{2ED3715D-9994-48E8-9C80-68D1A8122909}"/>
              </a:ext>
            </a:extLst>
          </p:cNvPr>
          <p:cNvGrpSpPr/>
          <p:nvPr/>
        </p:nvGrpSpPr>
        <p:grpSpPr>
          <a:xfrm>
            <a:off x="8859619" y="1351894"/>
            <a:ext cx="4032962" cy="5600969"/>
            <a:chOff x="8007675" y="1715994"/>
            <a:chExt cx="3204000" cy="5604003"/>
          </a:xfrm>
        </p:grpSpPr>
        <p:sp>
          <p:nvSpPr>
            <p:cNvPr id="7" name="Rettangolo 28">
              <a:extLst>
                <a:ext uri="{FF2B5EF4-FFF2-40B4-BE49-F238E27FC236}">
                  <a16:creationId xmlns:a16="http://schemas.microsoft.com/office/drawing/2014/main" id="{8CFAE103-B533-4B65-A347-E43FA67A3917}"/>
                </a:ext>
              </a:extLst>
            </p:cNvPr>
            <p:cNvSpPr/>
            <p:nvPr/>
          </p:nvSpPr>
          <p:spPr>
            <a:xfrm>
              <a:off x="8007675" y="2406303"/>
              <a:ext cx="3204000" cy="4913694"/>
            </a:xfrm>
            <a:prstGeom prst="rect">
              <a:avLst/>
            </a:prstGeom>
            <a:solidFill>
              <a:schemeClr val="tx2"/>
            </a:solidFill>
            <a:ln w="19050">
              <a:solidFill>
                <a:srgbClr val="2C973E"/>
              </a:solidFill>
              <a:miter lim="800000"/>
            </a:ln>
          </p:spPr>
          <p:txBody>
            <a:bodyPr wrap="square" lIns="71963" tIns="107944" rIns="71963" bIns="71963">
              <a:noAutofit/>
            </a:bodyPr>
            <a:lstStyle/>
            <a:p>
              <a:pPr marL="182472" marR="0" lvl="0" indent="-182472" algn="l" defTabSz="914400" rtl="0" eaLnBrk="1" fontAlgn="base" latinLnBrk="0" hangingPunct="1">
                <a:lnSpc>
                  <a:spcPct val="100000"/>
                </a:lnSpc>
                <a:spcBef>
                  <a:spcPct val="0"/>
                </a:spcBef>
                <a:spcAft>
                  <a:spcPts val="300"/>
                </a:spcAft>
                <a:buClr>
                  <a:srgbClr val="FFE600"/>
                </a:buClr>
                <a:buSzPct val="70000"/>
                <a:buFont typeface="Arial" pitchFamily="34" charset="0"/>
                <a:buChar char="►"/>
                <a:tabLst/>
                <a:defRPr/>
              </a:pPr>
              <a:r>
                <a:rPr kumimoji="0" lang="en-US" sz="1000" b="0" i="0" u="none" strike="noStrike" kern="1200" cap="none" spc="0" normalizeH="0" baseline="0" noProof="0" dirty="0">
                  <a:ln>
                    <a:noFill/>
                  </a:ln>
                  <a:solidFill>
                    <a:srgbClr val="000000"/>
                  </a:solidFill>
                  <a:effectLst/>
                  <a:uLnTx/>
                  <a:uFillTx/>
                  <a:latin typeface="EYInterstate Light" pitchFamily="2" charset="0"/>
                  <a:ea typeface="+mn-ea"/>
                  <a:cs typeface="+mn-cs"/>
                </a:rPr>
                <a:t>With 60% market share of CASA pool, the Bank wanted to drive greater share of wallet and fee based transactions. The aim was to be at the center of the customers world, leveraging the bank’s and partner’s ecosystem and meet customer’s daily life needs by integrating into ecosystems valuable to their daily life i.e. provide timely and contextual interactions to customers across touchpoints.</a:t>
              </a:r>
            </a:p>
            <a:p>
              <a:pPr marL="182472" marR="0" lvl="0" indent="-182472" algn="l" defTabSz="914400" rtl="0" eaLnBrk="1" fontAlgn="base" latinLnBrk="0" hangingPunct="1">
                <a:lnSpc>
                  <a:spcPct val="100000"/>
                </a:lnSpc>
                <a:spcBef>
                  <a:spcPct val="0"/>
                </a:spcBef>
                <a:spcAft>
                  <a:spcPts val="300"/>
                </a:spcAft>
                <a:buClr>
                  <a:srgbClr val="FFE600"/>
                </a:buClr>
                <a:buSzPct val="70000"/>
                <a:buFont typeface="Arial" pitchFamily="34" charset="0"/>
                <a:buChar char="►"/>
                <a:tabLst/>
                <a:defRPr/>
              </a:pPr>
              <a:r>
                <a:rPr kumimoji="0" lang="en-US" sz="1000" b="0" i="0" u="none" strike="noStrike" kern="1200" cap="none" spc="0" normalizeH="0" baseline="0" noProof="0" dirty="0">
                  <a:ln>
                    <a:noFill/>
                  </a:ln>
                  <a:solidFill>
                    <a:srgbClr val="000000"/>
                  </a:solidFill>
                  <a:effectLst/>
                  <a:uLnTx/>
                  <a:uFillTx/>
                  <a:latin typeface="EYInterstate Light" pitchFamily="2" charset="0"/>
                  <a:ea typeface="+mn-ea"/>
                  <a:cs typeface="+mn-cs"/>
                </a:rPr>
                <a:t>The approach involved creating a holistic view of the customer across profile, customer preferences, context, trigger and the action leveraging analytics.</a:t>
              </a:r>
            </a:p>
            <a:p>
              <a:pPr marL="182472" marR="0" lvl="0" indent="-182472" algn="l" defTabSz="914400" rtl="0" eaLnBrk="1" fontAlgn="base" latinLnBrk="0" hangingPunct="1">
                <a:lnSpc>
                  <a:spcPct val="100000"/>
                </a:lnSpc>
                <a:spcBef>
                  <a:spcPct val="0"/>
                </a:spcBef>
                <a:spcAft>
                  <a:spcPts val="300"/>
                </a:spcAft>
                <a:buClr>
                  <a:srgbClr val="FFE600"/>
                </a:buClr>
                <a:buSzPct val="70000"/>
                <a:buFont typeface="Arial" pitchFamily="34" charset="0"/>
                <a:buChar char="►"/>
                <a:tabLst/>
                <a:defRPr/>
              </a:pPr>
              <a:r>
                <a:rPr kumimoji="0" lang="en-US" sz="1000" b="0" i="0" u="none" strike="noStrike" kern="1200" cap="none" spc="0" normalizeH="0" baseline="0" noProof="0" dirty="0">
                  <a:ln>
                    <a:noFill/>
                  </a:ln>
                  <a:solidFill>
                    <a:srgbClr val="000000"/>
                  </a:solidFill>
                  <a:effectLst/>
                  <a:uLnTx/>
                  <a:uFillTx/>
                  <a:latin typeface="EYInterstate Light" pitchFamily="2" charset="0"/>
                  <a:ea typeface="+mn-ea"/>
                  <a:cs typeface="+mn-cs"/>
                </a:rPr>
                <a:t>Data elements ranging from Demographic profile, behavioral profile, Networks, consumption preferences, Banking product preferences,  customer receptiveness to messages, context based on location, time &amp; date, activity, marketing response, transactional etc. were designed which will be relevant to the action the bank wanted to take.</a:t>
              </a:r>
            </a:p>
            <a:p>
              <a:pPr marL="182472" marR="0" lvl="0" indent="-182472" algn="l" defTabSz="914400" rtl="0" eaLnBrk="1" fontAlgn="base" latinLnBrk="0" hangingPunct="1">
                <a:lnSpc>
                  <a:spcPct val="100000"/>
                </a:lnSpc>
                <a:spcBef>
                  <a:spcPct val="0"/>
                </a:spcBef>
                <a:spcAft>
                  <a:spcPts val="300"/>
                </a:spcAft>
                <a:buClr>
                  <a:srgbClr val="FFE600"/>
                </a:buClr>
                <a:buSzPct val="70000"/>
                <a:buFont typeface="Arial" pitchFamily="34" charset="0"/>
                <a:buChar char="►"/>
                <a:tabLst/>
                <a:defRPr/>
              </a:pPr>
              <a:r>
                <a:rPr kumimoji="0" lang="en-US" sz="1000" b="0" i="0" u="none" strike="noStrike" kern="1200" cap="none" spc="0" normalizeH="0" baseline="0" noProof="0" dirty="0">
                  <a:ln>
                    <a:noFill/>
                  </a:ln>
                  <a:solidFill>
                    <a:srgbClr val="000000"/>
                  </a:solidFill>
                  <a:effectLst/>
                  <a:uLnTx/>
                  <a:uFillTx/>
                  <a:latin typeface="EYInterstate Light" pitchFamily="2" charset="0"/>
                  <a:ea typeface="+mn-ea"/>
                  <a:cs typeface="+mn-cs"/>
                </a:rPr>
                <a:t>Significant benefits have been realized over the program, including near real-time contextual marketing campaigns for customer segments designed using machine learning unsupervised approaches.</a:t>
              </a:r>
            </a:p>
            <a:p>
              <a:pPr marL="182472" marR="0" lvl="0" indent="-182472" algn="l" defTabSz="914400" rtl="0" eaLnBrk="1" fontAlgn="base" latinLnBrk="0" hangingPunct="1">
                <a:lnSpc>
                  <a:spcPct val="100000"/>
                </a:lnSpc>
                <a:spcBef>
                  <a:spcPct val="0"/>
                </a:spcBef>
                <a:spcAft>
                  <a:spcPts val="300"/>
                </a:spcAft>
                <a:buClr>
                  <a:srgbClr val="FFE600"/>
                </a:buClr>
                <a:buSzPct val="70000"/>
                <a:buFont typeface="Arial" pitchFamily="34" charset="0"/>
                <a:buChar char="►"/>
                <a:tabLst/>
                <a:defRPr/>
              </a:pPr>
              <a:r>
                <a:rPr kumimoji="0" lang="en-US" sz="1000" b="0" i="0" u="none" strike="noStrike" kern="1200" cap="none" spc="0" normalizeH="0" baseline="0" noProof="0" dirty="0">
                  <a:ln>
                    <a:noFill/>
                  </a:ln>
                  <a:solidFill>
                    <a:srgbClr val="000000"/>
                  </a:solidFill>
                  <a:effectLst/>
                  <a:uLnTx/>
                  <a:uFillTx/>
                  <a:latin typeface="EYInterstate Light" pitchFamily="2" charset="0"/>
                  <a:ea typeface="+mn-ea"/>
                  <a:cs typeface="+mn-cs"/>
                </a:rPr>
                <a:t>Detection of real-time events and trigger offers were enabled through building ML models for product propensity for prioritization.</a:t>
              </a:r>
            </a:p>
            <a:p>
              <a:pPr marL="182472" marR="0" lvl="0" indent="-182472" algn="l" defTabSz="914400" rtl="0" eaLnBrk="1" fontAlgn="base" latinLnBrk="0" hangingPunct="1">
                <a:lnSpc>
                  <a:spcPct val="100000"/>
                </a:lnSpc>
                <a:spcBef>
                  <a:spcPct val="0"/>
                </a:spcBef>
                <a:spcAft>
                  <a:spcPts val="300"/>
                </a:spcAft>
                <a:buClr>
                  <a:srgbClr val="FFE600"/>
                </a:buClr>
                <a:buSzPct val="70000"/>
                <a:buFont typeface="Arial" pitchFamily="34" charset="0"/>
                <a:buChar char="►"/>
                <a:tabLst/>
                <a:defRPr/>
              </a:pPr>
              <a:r>
                <a:rPr kumimoji="0" lang="en-US" sz="1000" b="0" i="0" u="none" strike="noStrike" kern="1200" cap="none" spc="0" normalizeH="0" baseline="0" noProof="0" dirty="0">
                  <a:ln>
                    <a:noFill/>
                  </a:ln>
                  <a:solidFill>
                    <a:srgbClr val="000000"/>
                  </a:solidFill>
                  <a:effectLst/>
                  <a:uLnTx/>
                  <a:uFillTx/>
                  <a:latin typeface="EYInterstate Light" pitchFamily="2" charset="0"/>
                  <a:ea typeface="+mn-ea"/>
                  <a:cs typeface="+mn-cs"/>
                </a:rPr>
                <a:t>Identified opportunities using sector specific and customer insights and recommend customer-specific solutions.</a:t>
              </a:r>
            </a:p>
            <a:p>
              <a:pPr marL="182472" marR="0" lvl="0" indent="-182472" algn="l" defTabSz="914400" rtl="0" eaLnBrk="1" fontAlgn="base" latinLnBrk="0" hangingPunct="1">
                <a:lnSpc>
                  <a:spcPct val="100000"/>
                </a:lnSpc>
                <a:spcBef>
                  <a:spcPct val="0"/>
                </a:spcBef>
                <a:spcAft>
                  <a:spcPts val="300"/>
                </a:spcAft>
                <a:buClr>
                  <a:srgbClr val="FFE600"/>
                </a:buClr>
                <a:buSzPct val="70000"/>
                <a:buFont typeface="Arial" pitchFamily="34" charset="0"/>
                <a:buChar char="►"/>
                <a:tabLst/>
                <a:defRPr/>
              </a:pPr>
              <a:endParaRPr kumimoji="0" lang="en-US" sz="1000" b="0" i="0" u="none" strike="noStrike" kern="1200" cap="none" spc="0" normalizeH="0" baseline="0" noProof="0" dirty="0">
                <a:ln>
                  <a:noFill/>
                </a:ln>
                <a:solidFill>
                  <a:srgbClr val="000000"/>
                </a:solidFill>
                <a:effectLst/>
                <a:uLnTx/>
                <a:uFillTx/>
                <a:latin typeface="EYInterstate Light" pitchFamily="2" charset="0"/>
                <a:ea typeface="+mn-ea"/>
                <a:cs typeface="+mn-cs"/>
              </a:endParaRPr>
            </a:p>
            <a:p>
              <a:pPr marL="639672" marR="0" lvl="1" indent="-182472" algn="l" defTabSz="914400" rtl="0" eaLnBrk="1" fontAlgn="base" latinLnBrk="0" hangingPunct="1">
                <a:lnSpc>
                  <a:spcPct val="100000"/>
                </a:lnSpc>
                <a:spcBef>
                  <a:spcPct val="0"/>
                </a:spcBef>
                <a:spcAft>
                  <a:spcPts val="300"/>
                </a:spcAft>
                <a:buClr>
                  <a:srgbClr val="FFE600"/>
                </a:buClr>
                <a:buSzPct val="70000"/>
                <a:buFont typeface="Arial" pitchFamily="34" charset="0"/>
                <a:buChar char="►"/>
                <a:tabLst/>
                <a:defRPr/>
              </a:pPr>
              <a:endParaRPr kumimoji="0" lang="en-GB" sz="1000" b="0" i="0" u="none" strike="noStrike" kern="1200" cap="none" spc="0" normalizeH="0" baseline="0" noProof="0" dirty="0">
                <a:ln>
                  <a:noFill/>
                </a:ln>
                <a:solidFill>
                  <a:srgbClr val="000000"/>
                </a:solidFill>
                <a:effectLst/>
                <a:uLnTx/>
                <a:uFillTx/>
                <a:latin typeface="EYInterstate Light" pitchFamily="2" charset="0"/>
                <a:ea typeface="+mn-ea"/>
                <a:cs typeface="+mn-cs"/>
              </a:endParaRPr>
            </a:p>
            <a:p>
              <a:pPr marL="182472" marR="0" lvl="0" indent="-182472" algn="l" defTabSz="914400" rtl="0" eaLnBrk="1" fontAlgn="base" latinLnBrk="0" hangingPunct="1">
                <a:lnSpc>
                  <a:spcPct val="100000"/>
                </a:lnSpc>
                <a:spcBef>
                  <a:spcPct val="0"/>
                </a:spcBef>
                <a:spcAft>
                  <a:spcPts val="300"/>
                </a:spcAft>
                <a:buClr>
                  <a:srgbClr val="FFE600"/>
                </a:buClr>
                <a:buSzPct val="70000"/>
                <a:buFont typeface="Arial" pitchFamily="34" charset="0"/>
                <a:buChar char="►"/>
                <a:tabLst/>
                <a:defRPr/>
              </a:pPr>
              <a:endParaRPr kumimoji="0" lang="en-GB" sz="1000" b="0" i="0" u="none" strike="noStrike" kern="1200" cap="none" spc="0" normalizeH="0" baseline="0" noProof="0" dirty="0">
                <a:ln>
                  <a:noFill/>
                </a:ln>
                <a:solidFill>
                  <a:srgbClr val="000000"/>
                </a:solidFill>
                <a:effectLst/>
                <a:uLnTx/>
                <a:uFillTx/>
                <a:latin typeface="EYInterstate Light" pitchFamily="2" charset="0"/>
                <a:ea typeface="+mn-ea"/>
                <a:cs typeface="+mn-cs"/>
              </a:endParaRPr>
            </a:p>
          </p:txBody>
        </p:sp>
        <p:sp>
          <p:nvSpPr>
            <p:cNvPr id="8" name="Rounded Rectangle 15">
              <a:extLst>
                <a:ext uri="{FF2B5EF4-FFF2-40B4-BE49-F238E27FC236}">
                  <a16:creationId xmlns:a16="http://schemas.microsoft.com/office/drawing/2014/main" id="{21DD0FB4-7123-44E4-BA21-DE20308DEFD8}"/>
                </a:ext>
              </a:extLst>
            </p:cNvPr>
            <p:cNvSpPr/>
            <p:nvPr/>
          </p:nvSpPr>
          <p:spPr>
            <a:xfrm>
              <a:off x="8007675" y="1715994"/>
              <a:ext cx="3204000" cy="551090"/>
            </a:xfrm>
            <a:prstGeom prst="roundRect">
              <a:avLst>
                <a:gd name="adj" fmla="val 50000"/>
              </a:avLst>
            </a:prstGeom>
            <a:solidFill>
              <a:srgbClr val="2C973E"/>
            </a:solidFill>
            <a:ln w="19050" cap="flat" cmpd="sng" algn="ctr">
              <a:solidFill>
                <a:srgbClr val="2C973E"/>
              </a:solidFill>
              <a:prstDash val="solid"/>
            </a:ln>
            <a:effectLst/>
          </p:spPr>
          <p:txBody>
            <a:bodyPr wrap="square" lIns="70457" tIns="35981" rIns="70457" bIns="35981"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 typeface="Arial" charset="0"/>
                <a:buNone/>
                <a:tabLst/>
                <a:defRPr/>
              </a:pPr>
              <a:r>
                <a:rPr kumimoji="0" lang="en-US" sz="1200" b="1" i="0" u="none" strike="noStrike" kern="1200" cap="none" spc="0" normalizeH="0" baseline="0" noProof="0">
                  <a:ln>
                    <a:noFill/>
                  </a:ln>
                  <a:solidFill>
                    <a:srgbClr val="FFFFFF"/>
                  </a:solidFill>
                  <a:effectLst/>
                  <a:uLnTx/>
                  <a:uFillTx/>
                  <a:latin typeface="EYInterstate Light" pitchFamily="2" charset="0"/>
                  <a:ea typeface="+mn-ea"/>
                  <a:cs typeface="+mn-cs"/>
                </a:rPr>
                <a:t>Increase Customer Engagement through Contextual marketing for a large regional bank in Singapore</a:t>
              </a:r>
            </a:p>
          </p:txBody>
        </p:sp>
      </p:grpSp>
      <p:grpSp>
        <p:nvGrpSpPr>
          <p:cNvPr id="9" name="Group 8">
            <a:extLst>
              <a:ext uri="{FF2B5EF4-FFF2-40B4-BE49-F238E27FC236}">
                <a16:creationId xmlns:a16="http://schemas.microsoft.com/office/drawing/2014/main" id="{2C53B4C4-D31E-4386-B8E7-A24AC48624FC}"/>
              </a:ext>
            </a:extLst>
          </p:cNvPr>
          <p:cNvGrpSpPr/>
          <p:nvPr/>
        </p:nvGrpSpPr>
        <p:grpSpPr>
          <a:xfrm>
            <a:off x="4843773" y="1351893"/>
            <a:ext cx="3910326" cy="5619438"/>
            <a:chOff x="4308748" y="1715993"/>
            <a:chExt cx="3204000" cy="5622367"/>
          </a:xfrm>
        </p:grpSpPr>
        <p:sp>
          <p:nvSpPr>
            <p:cNvPr id="10" name="Rettangolo 28">
              <a:extLst>
                <a:ext uri="{FF2B5EF4-FFF2-40B4-BE49-F238E27FC236}">
                  <a16:creationId xmlns:a16="http://schemas.microsoft.com/office/drawing/2014/main" id="{54FC093E-404C-463A-B471-A161838566B1}"/>
                </a:ext>
              </a:extLst>
            </p:cNvPr>
            <p:cNvSpPr/>
            <p:nvPr/>
          </p:nvSpPr>
          <p:spPr>
            <a:xfrm>
              <a:off x="4308748" y="2384927"/>
              <a:ext cx="3204000" cy="4953433"/>
            </a:xfrm>
            <a:prstGeom prst="rect">
              <a:avLst/>
            </a:prstGeom>
            <a:solidFill>
              <a:schemeClr val="tx2"/>
            </a:solidFill>
            <a:ln w="19050">
              <a:solidFill>
                <a:srgbClr val="91278F"/>
              </a:solidFill>
              <a:miter lim="800000"/>
            </a:ln>
          </p:spPr>
          <p:txBody>
            <a:bodyPr wrap="square" lIns="71963" tIns="107944" rIns="71963" bIns="71963">
              <a:noAutofit/>
            </a:bodyPr>
            <a:lstStyle/>
            <a:p>
              <a:pPr marL="182472" marR="0" lvl="0" indent="-182472" algn="l" defTabSz="914400" rtl="0" eaLnBrk="1" fontAlgn="base" latinLnBrk="0" hangingPunct="1">
                <a:lnSpc>
                  <a:spcPct val="100000"/>
                </a:lnSpc>
                <a:spcBef>
                  <a:spcPct val="0"/>
                </a:spcBef>
                <a:spcAft>
                  <a:spcPts val="300"/>
                </a:spcAft>
                <a:buClr>
                  <a:srgbClr val="FFE600"/>
                </a:buClr>
                <a:buSzPct val="70000"/>
                <a:buFont typeface="Arial" pitchFamily="34" charset="0"/>
                <a:buChar char="►"/>
                <a:tabLst/>
                <a:defRPr/>
              </a:pPr>
              <a:r>
                <a:rPr kumimoji="0" lang="en-US" sz="1000" b="0" i="0" u="none" strike="noStrike" kern="1200" cap="none" spc="0" normalizeH="0" baseline="0" noProof="0" dirty="0">
                  <a:ln>
                    <a:noFill/>
                  </a:ln>
                  <a:solidFill>
                    <a:srgbClr val="000000"/>
                  </a:solidFill>
                  <a:effectLst/>
                  <a:uLnTx/>
                  <a:uFillTx/>
                  <a:latin typeface="EYInterstate Light" pitchFamily="2" charset="0"/>
                  <a:ea typeface="+mn-ea"/>
                  <a:cs typeface="+mn-cs"/>
                </a:rPr>
                <a:t>The bank aspired to achieve revenue growth delivered through better and deeper customer engagement. The focus of the bank is on customer experience management, real time offers, individualization, service offering, omni-channel presence and building a value network. </a:t>
              </a:r>
            </a:p>
            <a:p>
              <a:pPr marL="182472" marR="0" lvl="0" indent="-182472" algn="l" defTabSz="914400" rtl="0" eaLnBrk="1" fontAlgn="base" latinLnBrk="0" hangingPunct="1">
                <a:lnSpc>
                  <a:spcPct val="100000"/>
                </a:lnSpc>
                <a:spcBef>
                  <a:spcPct val="0"/>
                </a:spcBef>
                <a:spcAft>
                  <a:spcPts val="300"/>
                </a:spcAft>
                <a:buClr>
                  <a:srgbClr val="FFE600"/>
                </a:buClr>
                <a:buSzPct val="70000"/>
                <a:buFont typeface="Arial" pitchFamily="34" charset="0"/>
                <a:buChar char="►"/>
                <a:tabLst/>
                <a:defRPr/>
              </a:pPr>
              <a:r>
                <a:rPr kumimoji="0" lang="en-US" sz="1000" b="0" i="0" u="none" strike="noStrike" kern="1200" cap="none" spc="0" normalizeH="0" baseline="0" noProof="0" dirty="0">
                  <a:ln>
                    <a:noFill/>
                  </a:ln>
                  <a:solidFill>
                    <a:srgbClr val="000000"/>
                  </a:solidFill>
                  <a:effectLst/>
                  <a:uLnTx/>
                  <a:uFillTx/>
                  <a:latin typeface="EYInterstate Light" pitchFamily="2" charset="0"/>
                  <a:ea typeface="+mn-ea"/>
                  <a:cs typeface="+mn-cs"/>
                </a:rPr>
                <a:t>The program has put customer needs at the center to deliver effective, timely and targeted engagement, enabled by enhanced bank-wide data assets.</a:t>
              </a:r>
            </a:p>
            <a:p>
              <a:pPr marL="182472" marR="0" lvl="0" indent="-182472" algn="l" defTabSz="914400" rtl="0" eaLnBrk="1" fontAlgn="base" latinLnBrk="0" hangingPunct="1">
                <a:lnSpc>
                  <a:spcPct val="100000"/>
                </a:lnSpc>
                <a:spcBef>
                  <a:spcPct val="0"/>
                </a:spcBef>
                <a:spcAft>
                  <a:spcPts val="300"/>
                </a:spcAft>
                <a:buClr>
                  <a:srgbClr val="FFE600"/>
                </a:buClr>
                <a:buSzPct val="70000"/>
                <a:buFont typeface="Arial" pitchFamily="34" charset="0"/>
                <a:buChar char="►"/>
                <a:tabLst/>
                <a:defRPr/>
              </a:pPr>
              <a:r>
                <a:rPr kumimoji="0" lang="en-US" sz="1000" b="0" i="0" u="none" strike="noStrike" kern="1200" cap="none" spc="0" normalizeH="0" baseline="0" noProof="0" dirty="0">
                  <a:ln>
                    <a:noFill/>
                  </a:ln>
                  <a:solidFill>
                    <a:srgbClr val="000000"/>
                  </a:solidFill>
                  <a:effectLst/>
                  <a:uLnTx/>
                  <a:uFillTx/>
                  <a:latin typeface="EYInterstate Light" pitchFamily="2" charset="0"/>
                  <a:ea typeface="+mn-ea"/>
                  <a:cs typeface="+mn-cs"/>
                </a:rPr>
                <a:t>Across the Product journey, identified, developed and scored ~300 customer triggers across the customer lifecycle  based on value to the Bank and Customer, accessibility of data and capability to execute across preferred channels.</a:t>
              </a:r>
            </a:p>
            <a:p>
              <a:pPr marL="182472" marR="0" lvl="0" indent="-182472" algn="l" defTabSz="914400" rtl="0" eaLnBrk="1" fontAlgn="base" latinLnBrk="0" hangingPunct="1">
                <a:lnSpc>
                  <a:spcPct val="100000"/>
                </a:lnSpc>
                <a:spcBef>
                  <a:spcPct val="0"/>
                </a:spcBef>
                <a:spcAft>
                  <a:spcPts val="300"/>
                </a:spcAft>
                <a:buClr>
                  <a:srgbClr val="FFE600"/>
                </a:buClr>
                <a:buSzPct val="70000"/>
                <a:buFont typeface="Arial" pitchFamily="34" charset="0"/>
                <a:buChar char="►"/>
                <a:tabLst/>
                <a:defRPr/>
              </a:pPr>
              <a:r>
                <a:rPr kumimoji="0" lang="en-US" sz="1000" b="0" i="0" u="none" strike="noStrike" kern="1200" cap="none" spc="0" normalizeH="0" baseline="0" noProof="0" dirty="0">
                  <a:ln>
                    <a:noFill/>
                  </a:ln>
                  <a:solidFill>
                    <a:srgbClr val="000000"/>
                  </a:solidFill>
                  <a:effectLst/>
                  <a:uLnTx/>
                  <a:uFillTx/>
                  <a:latin typeface="EYInterstate Light" pitchFamily="2" charset="0"/>
                  <a:ea typeface="+mn-ea"/>
                  <a:cs typeface="+mn-cs"/>
                </a:rPr>
                <a:t>Trigger prioritization is driven by ranking value versus ability to execute and identifying the channels we should use to communicate with the customer.</a:t>
              </a:r>
            </a:p>
            <a:p>
              <a:pPr marL="182472" marR="0" lvl="0" indent="-182472" algn="l" defTabSz="914400" rtl="0" eaLnBrk="1" fontAlgn="base" latinLnBrk="0" hangingPunct="1">
                <a:lnSpc>
                  <a:spcPct val="100000"/>
                </a:lnSpc>
                <a:spcBef>
                  <a:spcPct val="0"/>
                </a:spcBef>
                <a:spcAft>
                  <a:spcPts val="300"/>
                </a:spcAft>
                <a:buClr>
                  <a:srgbClr val="FFE600"/>
                </a:buClr>
                <a:buSzPct val="70000"/>
                <a:buFont typeface="Arial" pitchFamily="34" charset="0"/>
                <a:buChar char="►"/>
                <a:tabLst/>
                <a:defRPr/>
              </a:pPr>
              <a:r>
                <a:rPr kumimoji="0" lang="en-US" sz="1000" b="0" i="0" u="none" strike="noStrike" kern="1200" cap="none" spc="0" normalizeH="0" baseline="0" noProof="0" dirty="0">
                  <a:ln>
                    <a:noFill/>
                  </a:ln>
                  <a:solidFill>
                    <a:srgbClr val="000000"/>
                  </a:solidFill>
                  <a:effectLst/>
                  <a:uLnTx/>
                  <a:uFillTx/>
                  <a:latin typeface="EYInterstate Light" pitchFamily="2" charset="0"/>
                  <a:ea typeface="+mn-ea"/>
                  <a:cs typeface="+mn-cs"/>
                </a:rPr>
                <a:t>Combined available data into one location, through an agile data lab structured around customers and their interactions with the Group, refreshed daily.</a:t>
              </a:r>
            </a:p>
            <a:p>
              <a:pPr marL="182472" marR="0" lvl="0" indent="-182472" algn="l" defTabSz="914400" rtl="0" eaLnBrk="1" fontAlgn="base" latinLnBrk="0" hangingPunct="1">
                <a:lnSpc>
                  <a:spcPct val="100000"/>
                </a:lnSpc>
                <a:spcBef>
                  <a:spcPct val="0"/>
                </a:spcBef>
                <a:spcAft>
                  <a:spcPts val="300"/>
                </a:spcAft>
                <a:buClr>
                  <a:srgbClr val="FFE600"/>
                </a:buClr>
                <a:buSzPct val="70000"/>
                <a:buFont typeface="Arial" pitchFamily="34" charset="0"/>
                <a:buChar char="►"/>
                <a:tabLst/>
                <a:defRPr/>
              </a:pPr>
              <a:r>
                <a:rPr kumimoji="0" lang="en-US" sz="1000" b="0" i="0" u="none" strike="noStrike" kern="1200" cap="none" spc="0" normalizeH="0" baseline="0" noProof="0" dirty="0">
                  <a:ln>
                    <a:noFill/>
                  </a:ln>
                  <a:solidFill>
                    <a:srgbClr val="000000"/>
                  </a:solidFill>
                  <a:effectLst/>
                  <a:uLnTx/>
                  <a:uFillTx/>
                  <a:latin typeface="EYInterstate Light" pitchFamily="2" charset="0"/>
                  <a:ea typeface="+mn-ea"/>
                  <a:cs typeface="+mn-cs"/>
                </a:rPr>
                <a:t>Delivered closed loop reporting and self-service dashboards for both analysis, sizing and campaign performance.</a:t>
              </a:r>
            </a:p>
            <a:p>
              <a:pPr marL="182472" marR="0" lvl="0" indent="-182472" algn="l" defTabSz="914400" rtl="0" eaLnBrk="1" fontAlgn="base" latinLnBrk="0" hangingPunct="1">
                <a:lnSpc>
                  <a:spcPct val="100000"/>
                </a:lnSpc>
                <a:spcBef>
                  <a:spcPct val="0"/>
                </a:spcBef>
                <a:spcAft>
                  <a:spcPts val="300"/>
                </a:spcAft>
                <a:buClr>
                  <a:srgbClr val="FFE600"/>
                </a:buClr>
                <a:buSzPct val="70000"/>
                <a:buFont typeface="Arial" pitchFamily="34" charset="0"/>
                <a:buChar char="►"/>
                <a:tabLst/>
                <a:defRPr/>
              </a:pPr>
              <a:r>
                <a:rPr kumimoji="0" lang="en-US" sz="1000" b="0" i="0" u="none" strike="noStrike" kern="1200" cap="none" spc="0" normalizeH="0" baseline="0" noProof="0" dirty="0">
                  <a:ln>
                    <a:noFill/>
                  </a:ln>
                  <a:solidFill>
                    <a:srgbClr val="000000"/>
                  </a:solidFill>
                  <a:effectLst/>
                  <a:uLnTx/>
                  <a:uFillTx/>
                  <a:latin typeface="EYInterstate Light" pitchFamily="2" charset="0"/>
                  <a:ea typeface="+mn-ea"/>
                  <a:cs typeface="+mn-cs"/>
                </a:rPr>
                <a:t>Significant benefits have been realized over the program, delivering revenue, cost and customer experience improvement with 43 Channel activities deployed in Phase 1 and 252 in Phase 2.</a:t>
              </a:r>
            </a:p>
            <a:p>
              <a:pPr marL="182472" marR="0" lvl="0" indent="-182472" algn="l" defTabSz="914400" rtl="0" eaLnBrk="1" fontAlgn="base" latinLnBrk="0" hangingPunct="1">
                <a:lnSpc>
                  <a:spcPct val="100000"/>
                </a:lnSpc>
                <a:spcBef>
                  <a:spcPct val="0"/>
                </a:spcBef>
                <a:spcAft>
                  <a:spcPts val="300"/>
                </a:spcAft>
                <a:buClr>
                  <a:srgbClr val="FFE600"/>
                </a:buClr>
                <a:buSzPct val="70000"/>
                <a:buFont typeface="Arial" pitchFamily="34" charset="0"/>
                <a:buChar char="►"/>
                <a:tabLst/>
                <a:defRPr/>
              </a:pPr>
              <a:r>
                <a:rPr kumimoji="0" lang="en-US" sz="1000" b="0" i="0" u="none" strike="noStrike" kern="1200" cap="none" spc="0" normalizeH="0" baseline="0" noProof="0" dirty="0">
                  <a:ln>
                    <a:noFill/>
                  </a:ln>
                  <a:solidFill>
                    <a:srgbClr val="000000"/>
                  </a:solidFill>
                  <a:effectLst/>
                  <a:uLnTx/>
                  <a:uFillTx/>
                  <a:latin typeface="EYInterstate Light" pitchFamily="2" charset="0"/>
                  <a:ea typeface="+mn-ea"/>
                  <a:cs typeface="+mn-cs"/>
                </a:rPr>
                <a:t>106k leads loaded daily across channels with 4% Digital statements penetration uplift.</a:t>
              </a:r>
            </a:p>
            <a:p>
              <a:pPr marL="182472" marR="0" lvl="0" indent="-182472" algn="l" defTabSz="914400" rtl="0" eaLnBrk="1" fontAlgn="base" latinLnBrk="0" hangingPunct="1">
                <a:lnSpc>
                  <a:spcPct val="100000"/>
                </a:lnSpc>
                <a:spcBef>
                  <a:spcPct val="0"/>
                </a:spcBef>
                <a:spcAft>
                  <a:spcPts val="300"/>
                </a:spcAft>
                <a:buClr>
                  <a:srgbClr val="FFE600"/>
                </a:buClr>
                <a:buSzPct val="70000"/>
                <a:buFont typeface="Arial" pitchFamily="34" charset="0"/>
                <a:buChar char="►"/>
                <a:tabLst/>
                <a:defRPr/>
              </a:pPr>
              <a:r>
                <a:rPr kumimoji="0" lang="en-US" sz="1000" b="0" i="0" u="none" strike="noStrike" kern="1200" cap="none" spc="0" normalizeH="0" baseline="0" noProof="0" dirty="0">
                  <a:ln>
                    <a:noFill/>
                  </a:ln>
                  <a:solidFill>
                    <a:srgbClr val="000000"/>
                  </a:solidFill>
                  <a:effectLst/>
                  <a:uLnTx/>
                  <a:uFillTx/>
                  <a:latin typeface="EYInterstate Light" pitchFamily="2" charset="0"/>
                  <a:ea typeface="+mn-ea"/>
                  <a:cs typeface="+mn-cs"/>
                </a:rPr>
                <a:t>$6M Incremental revenue in 3 products - Home Loans, Personal Loans &amp; EDB.</a:t>
              </a:r>
            </a:p>
            <a:p>
              <a:pPr marL="639672" marR="0" lvl="1" indent="-182472" algn="l" defTabSz="914400" rtl="0" eaLnBrk="1" fontAlgn="base" latinLnBrk="0" hangingPunct="1">
                <a:lnSpc>
                  <a:spcPct val="100000"/>
                </a:lnSpc>
                <a:spcBef>
                  <a:spcPct val="0"/>
                </a:spcBef>
                <a:spcAft>
                  <a:spcPts val="300"/>
                </a:spcAft>
                <a:buClr>
                  <a:srgbClr val="FFE600"/>
                </a:buClr>
                <a:buSzPct val="70000"/>
                <a:buFont typeface="Arial" pitchFamily="34" charset="0"/>
                <a:buChar char="►"/>
                <a:tabLst/>
                <a:defRPr/>
              </a:pPr>
              <a:endParaRPr kumimoji="0" lang="en-GB" sz="1000" b="0" i="0" u="none" strike="noStrike" kern="1200" cap="none" spc="0" normalizeH="0" baseline="0" noProof="0" dirty="0">
                <a:ln>
                  <a:noFill/>
                </a:ln>
                <a:solidFill>
                  <a:srgbClr val="000000"/>
                </a:solidFill>
                <a:effectLst/>
                <a:uLnTx/>
                <a:uFillTx/>
                <a:latin typeface="EYInterstate Light" pitchFamily="2" charset="0"/>
                <a:ea typeface="+mn-ea"/>
                <a:cs typeface="+mn-cs"/>
              </a:endParaRPr>
            </a:p>
          </p:txBody>
        </p:sp>
        <p:sp>
          <p:nvSpPr>
            <p:cNvPr id="11" name="Rounded Rectangle 17">
              <a:extLst>
                <a:ext uri="{FF2B5EF4-FFF2-40B4-BE49-F238E27FC236}">
                  <a16:creationId xmlns:a16="http://schemas.microsoft.com/office/drawing/2014/main" id="{D2D29DE8-01AF-480C-A0E5-49D748470F5F}"/>
                </a:ext>
              </a:extLst>
            </p:cNvPr>
            <p:cNvSpPr/>
            <p:nvPr/>
          </p:nvSpPr>
          <p:spPr>
            <a:xfrm>
              <a:off x="4308748" y="1715993"/>
              <a:ext cx="3204000" cy="551080"/>
            </a:xfrm>
            <a:prstGeom prst="roundRect">
              <a:avLst>
                <a:gd name="adj" fmla="val 50000"/>
              </a:avLst>
            </a:prstGeom>
            <a:solidFill>
              <a:srgbClr val="91278F"/>
            </a:solidFill>
            <a:ln w="19050" cap="flat" cmpd="sng" algn="ctr">
              <a:solidFill>
                <a:srgbClr val="91278F"/>
              </a:solidFill>
              <a:prstDash val="solid"/>
            </a:ln>
            <a:effectLst/>
          </p:spPr>
          <p:txBody>
            <a:bodyPr wrap="square" lIns="70457" tIns="35981" rIns="70457" bIns="35981"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 typeface="Arial" charset="0"/>
                <a:buNone/>
                <a:tabLst/>
                <a:defRPr/>
              </a:pPr>
              <a:r>
                <a:rPr kumimoji="0" lang="en-US" sz="1200" b="1" i="0" u="none" strike="noStrike" kern="1200" cap="none" spc="0" normalizeH="0" baseline="0" noProof="0">
                  <a:ln>
                    <a:noFill/>
                  </a:ln>
                  <a:solidFill>
                    <a:srgbClr val="FFFFFF"/>
                  </a:solidFill>
                  <a:effectLst/>
                  <a:uLnTx/>
                  <a:uFillTx/>
                  <a:latin typeface="EYInterstate Light" pitchFamily="2" charset="0"/>
                  <a:ea typeface="+mn-ea"/>
                  <a:cs typeface="+mn-cs"/>
                </a:rPr>
                <a:t>Identify growth opportunities driving customer engagement for a regional bank in Australia</a:t>
              </a:r>
            </a:p>
          </p:txBody>
        </p:sp>
      </p:grpSp>
    </p:spTree>
    <p:extLst>
      <p:ext uri="{BB962C8B-B14F-4D97-AF65-F5344CB8AC3E}">
        <p14:creationId xmlns:p14="http://schemas.microsoft.com/office/powerpoint/2010/main" val="331692342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7A9C3EF-EC79-EF41-AEE2-C98A0561165D}"/>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9154" name="think-cell Slide" r:id="rId6" imgW="7772400" imgH="10058400" progId="TCLayout.ActiveDocument.1">
                  <p:embed/>
                </p:oleObj>
              </mc:Choice>
              <mc:Fallback>
                <p:oleObj name="think-cell Slide" r:id="rId6" imgW="7772400" imgH="10058400" progId="TCLayout.ActiveDocument.1">
                  <p:embed/>
                  <p:pic>
                    <p:nvPicPr>
                      <p:cNvPr id="4" name="Object 3" hidden="1">
                        <a:extLst>
                          <a:ext uri="{FF2B5EF4-FFF2-40B4-BE49-F238E27FC236}">
                            <a16:creationId xmlns:a16="http://schemas.microsoft.com/office/drawing/2014/main" id="{A7A9C3EF-EC79-EF41-AEE2-C98A0561165D}"/>
                          </a:ext>
                        </a:extLst>
                      </p:cNvPr>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7389429-FF38-8644-86AD-26B3FFE70C1E}"/>
              </a:ext>
            </a:extLst>
          </p:cNvPr>
          <p:cNvSpPr/>
          <p:nvPr>
            <p:custDataLst>
              <p:tags r:id="rId3"/>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marR="0" lvl="0" indent="0" algn="ctr" defTabSz="914400" rtl="0" eaLnBrk="1" fontAlgn="base" latinLnBrk="0" hangingPunct="1">
              <a:lnSpc>
                <a:spcPct val="100000"/>
              </a:lnSpc>
              <a:spcBef>
                <a:spcPct val="0"/>
              </a:spcBef>
              <a:spcAft>
                <a:spcPct val="50000"/>
              </a:spcAft>
              <a:buClr>
                <a:srgbClr val="FFE600"/>
              </a:buClr>
              <a:buSzPct val="80000"/>
              <a:buFont typeface="Arial" charset="0"/>
              <a:buNone/>
              <a:tabLst/>
              <a:defRPr/>
            </a:pPr>
            <a:endParaRPr kumimoji="0" lang="en-GB" sz="2400" b="1" i="0" u="none" strike="noStrike" kern="1200" cap="none" spc="0" normalizeH="0" baseline="0" noProof="0">
              <a:ln>
                <a:noFill/>
              </a:ln>
              <a:solidFill>
                <a:srgbClr val="646464"/>
              </a:solidFill>
              <a:effectLst/>
              <a:uLnTx/>
              <a:uFillTx/>
              <a:latin typeface="EYInterstate" panose="02000503020000020004" pitchFamily="2" charset="0"/>
              <a:ea typeface="+mn-ea"/>
              <a:cs typeface="+mn-cs"/>
              <a:sym typeface="EYInterstate" panose="02000503020000020004" pitchFamily="2" charset="0"/>
            </a:endParaRPr>
          </a:p>
        </p:txBody>
      </p:sp>
      <p:sp>
        <p:nvSpPr>
          <p:cNvPr id="2" name="Title 1">
            <a:extLst>
              <a:ext uri="{FF2B5EF4-FFF2-40B4-BE49-F238E27FC236}">
                <a16:creationId xmlns:a16="http://schemas.microsoft.com/office/drawing/2014/main" id="{C4C23136-0F1A-2043-A138-823BF069E3FE}"/>
              </a:ext>
            </a:extLst>
          </p:cNvPr>
          <p:cNvSpPr>
            <a:spLocks noGrp="1"/>
          </p:cNvSpPr>
          <p:nvPr>
            <p:ph type="title"/>
          </p:nvPr>
        </p:nvSpPr>
        <p:spPr/>
        <p:txBody>
          <a:bodyPr/>
          <a:lstStyle/>
          <a:p>
            <a:r>
              <a:rPr lang="en-GB">
                <a:solidFill>
                  <a:srgbClr val="FFFFFF"/>
                </a:solidFill>
              </a:rPr>
              <a:t>Table of Contents</a:t>
            </a:r>
            <a:endParaRPr lang="en-GB"/>
          </a:p>
        </p:txBody>
      </p:sp>
      <p:sp>
        <p:nvSpPr>
          <p:cNvPr id="5" name="Rectangle 4">
            <a:extLst>
              <a:ext uri="{FF2B5EF4-FFF2-40B4-BE49-F238E27FC236}">
                <a16:creationId xmlns:a16="http://schemas.microsoft.com/office/drawing/2014/main" id="{1A6C3D31-1A5E-F641-AEFF-8DE3943F771A}"/>
              </a:ext>
            </a:extLst>
          </p:cNvPr>
          <p:cNvSpPr/>
          <p:nvPr/>
        </p:nvSpPr>
        <p:spPr>
          <a:xfrm>
            <a:off x="943904" y="1906135"/>
            <a:ext cx="9791829" cy="4616648"/>
          </a:xfrm>
          <a:prstGeom prst="rect">
            <a:avLst/>
          </a:prstGeom>
        </p:spPr>
        <p:txBody>
          <a:bodyPr wrap="square" lIns="90000" anchor="t" anchorCtr="0">
            <a:spAutoFit/>
          </a:bodyPr>
          <a:lstStyle/>
          <a:p>
            <a:pPr marL="742950" marR="0" lvl="3" indent="-742950" algn="l" defTabSz="1042342" rtl="0" eaLnBrk="1" fontAlgn="base" latinLnBrk="0" hangingPunct="1">
              <a:lnSpc>
                <a:spcPct val="100000"/>
              </a:lnSpc>
              <a:spcBef>
                <a:spcPct val="0"/>
              </a:spcBef>
              <a:spcAft>
                <a:spcPts val="1200"/>
              </a:spcAft>
              <a:buClr>
                <a:srgbClr val="FFE600"/>
              </a:buClr>
              <a:buSzPct val="100000"/>
              <a:buFont typeface="+mj-lt"/>
              <a:buAutoNum type="arabicPeriod"/>
              <a:tabLst/>
              <a:defRPr/>
            </a:pPr>
            <a:r>
              <a:rPr kumimoji="0" lang="en-US" sz="2800" b="1" i="0" u="none" strike="noStrike" kern="0" cap="none" spc="0" normalizeH="0" baseline="0" noProof="0">
                <a:ln>
                  <a:noFill/>
                </a:ln>
                <a:solidFill>
                  <a:srgbClr val="646464"/>
                </a:solidFill>
                <a:effectLst/>
                <a:uLnTx/>
                <a:uFillTx/>
                <a:latin typeface="EYInterstate" panose="02000503020000020004" pitchFamily="2" charset="0"/>
                <a:ea typeface="+mn-ea"/>
                <a:cs typeface="+mn-cs"/>
              </a:rPr>
              <a:t>Our Understanding of your needs</a:t>
            </a:r>
          </a:p>
          <a:p>
            <a:pPr marL="742950" marR="0" lvl="3" indent="-742950" algn="l" defTabSz="1042342" rtl="0" eaLnBrk="1" fontAlgn="base" latinLnBrk="0" hangingPunct="1">
              <a:lnSpc>
                <a:spcPct val="100000"/>
              </a:lnSpc>
              <a:spcBef>
                <a:spcPct val="0"/>
              </a:spcBef>
              <a:spcAft>
                <a:spcPts val="1200"/>
              </a:spcAft>
              <a:buClr>
                <a:srgbClr val="FFE600"/>
              </a:buClr>
              <a:buSzPct val="100000"/>
              <a:buFont typeface="+mj-lt"/>
              <a:buAutoNum type="arabicPeriod"/>
              <a:tabLst/>
              <a:defRPr/>
            </a:pPr>
            <a:r>
              <a:rPr kumimoji="0" lang="en-US" sz="2800" b="1" i="0" u="none" strike="noStrike" kern="0" cap="none" spc="0" normalizeH="0" baseline="0" noProof="0">
                <a:ln>
                  <a:noFill/>
                </a:ln>
                <a:solidFill>
                  <a:srgbClr val="646464"/>
                </a:solidFill>
                <a:effectLst/>
                <a:uLnTx/>
                <a:uFillTx/>
                <a:latin typeface="EYInterstate" panose="02000503020000020004" pitchFamily="2" charset="0"/>
                <a:ea typeface="+mn-ea"/>
                <a:cs typeface="+mn-cs"/>
              </a:rPr>
              <a:t>Our Capabilities  </a:t>
            </a:r>
          </a:p>
          <a:p>
            <a:pPr marL="742950" marR="0" lvl="3" indent="-742950" algn="l" defTabSz="1042342" rtl="0" eaLnBrk="1" fontAlgn="base" latinLnBrk="0" hangingPunct="1">
              <a:lnSpc>
                <a:spcPct val="100000"/>
              </a:lnSpc>
              <a:spcBef>
                <a:spcPct val="0"/>
              </a:spcBef>
              <a:spcAft>
                <a:spcPts val="1200"/>
              </a:spcAft>
              <a:buClr>
                <a:srgbClr val="FFE600"/>
              </a:buClr>
              <a:buSzPct val="100000"/>
              <a:buFont typeface="+mj-lt"/>
              <a:buAutoNum type="arabicPeriod"/>
              <a:tabLst/>
              <a:defRPr/>
            </a:pPr>
            <a:r>
              <a:rPr kumimoji="0" lang="en-US" sz="2800" b="1" i="0" u="none" strike="noStrike" kern="0" cap="none" spc="0" normalizeH="0" baseline="0" noProof="0">
                <a:ln>
                  <a:noFill/>
                </a:ln>
                <a:solidFill>
                  <a:srgbClr val="646464"/>
                </a:solidFill>
                <a:effectLst/>
                <a:uLnTx/>
                <a:uFillTx/>
                <a:latin typeface="EYInterstate" panose="02000503020000020004" pitchFamily="2" charset="0"/>
                <a:ea typeface="+mn-ea"/>
                <a:cs typeface="+mn-cs"/>
              </a:rPr>
              <a:t>Our Approach</a:t>
            </a:r>
          </a:p>
          <a:p>
            <a:pPr marL="742950" lvl="3" indent="-742950" defTabSz="1042342">
              <a:spcAft>
                <a:spcPts val="1200"/>
              </a:spcAft>
              <a:buClr>
                <a:srgbClr val="FFE600"/>
              </a:buClr>
              <a:buSzPct val="100000"/>
              <a:buFont typeface="+mj-lt"/>
              <a:buAutoNum type="arabicPeriod"/>
              <a:defRPr/>
            </a:pPr>
            <a:r>
              <a:rPr lang="en-US" sz="2800" b="1" kern="0">
                <a:solidFill>
                  <a:srgbClr val="646464"/>
                </a:solidFill>
                <a:latin typeface="EYInterstate" panose="02000503020000020004" pitchFamily="2" charset="0"/>
              </a:rPr>
              <a:t>Our Delivery</a:t>
            </a:r>
          </a:p>
          <a:p>
            <a:pPr marL="742950" lvl="3" indent="-742950" defTabSz="1042342">
              <a:spcAft>
                <a:spcPts val="1200"/>
              </a:spcAft>
              <a:buClr>
                <a:srgbClr val="FFE600"/>
              </a:buClr>
              <a:buSzPct val="100000"/>
              <a:buFont typeface="+mj-lt"/>
              <a:buAutoNum type="arabicPeriod"/>
              <a:defRPr/>
            </a:pPr>
            <a:r>
              <a:rPr lang="en-US" sz="2800" b="1" kern="0">
                <a:solidFill>
                  <a:srgbClr val="646464"/>
                </a:solidFill>
                <a:latin typeface="EYInterstate" panose="02000503020000020004" pitchFamily="2" charset="0"/>
              </a:rPr>
              <a:t>Team Structure</a:t>
            </a:r>
          </a:p>
          <a:p>
            <a:pPr marL="742950" lvl="3" indent="-742950" defTabSz="1042342">
              <a:spcAft>
                <a:spcPts val="1200"/>
              </a:spcAft>
              <a:buClr>
                <a:srgbClr val="FFE600"/>
              </a:buClr>
              <a:buSzPct val="100000"/>
              <a:buFont typeface="+mj-lt"/>
              <a:buAutoNum type="arabicPeriod"/>
              <a:defRPr/>
            </a:pPr>
            <a:r>
              <a:rPr lang="en-US" sz="2800" b="1" kern="0">
                <a:solidFill>
                  <a:srgbClr val="646464"/>
                </a:solidFill>
                <a:latin typeface="EYInterstate" panose="02000503020000020004" pitchFamily="2" charset="0"/>
              </a:rPr>
              <a:t>Our Credentials</a:t>
            </a:r>
          </a:p>
          <a:p>
            <a:pPr marL="742950" lvl="3" indent="-742950" defTabSz="1042342">
              <a:spcAft>
                <a:spcPts val="1200"/>
              </a:spcAft>
              <a:buClr>
                <a:srgbClr val="FFE600"/>
              </a:buClr>
              <a:buSzPct val="100000"/>
              <a:buFont typeface="+mj-lt"/>
              <a:buAutoNum type="arabicPeriod"/>
              <a:defRPr/>
            </a:pPr>
            <a:r>
              <a:rPr lang="en-US" sz="2800" b="1" kern="0">
                <a:solidFill>
                  <a:srgbClr val="FFE600"/>
                </a:solidFill>
                <a:latin typeface="EYInterstate" panose="02000503020000020004" pitchFamily="2" charset="0"/>
              </a:rPr>
              <a:t>Our Proposed Fees</a:t>
            </a:r>
          </a:p>
          <a:p>
            <a:pPr marL="742950" lvl="3" indent="-742950" defTabSz="1042342">
              <a:spcAft>
                <a:spcPts val="1200"/>
              </a:spcAft>
              <a:buClr>
                <a:srgbClr val="FFE600"/>
              </a:buClr>
              <a:buSzPct val="100000"/>
              <a:buFont typeface="+mj-lt"/>
              <a:buAutoNum type="arabicPeriod"/>
              <a:defRPr/>
            </a:pPr>
            <a:r>
              <a:rPr lang="en-US" sz="2800" b="1" kern="0">
                <a:solidFill>
                  <a:srgbClr val="646464"/>
                </a:solidFill>
                <a:latin typeface="EYInterstate" panose="02000503020000020004" pitchFamily="2" charset="0"/>
              </a:rPr>
              <a:t>Appendix</a:t>
            </a:r>
          </a:p>
        </p:txBody>
      </p:sp>
      <p:grpSp>
        <p:nvGrpSpPr>
          <p:cNvPr id="10" name="Group 9">
            <a:extLst>
              <a:ext uri="{FF2B5EF4-FFF2-40B4-BE49-F238E27FC236}">
                <a16:creationId xmlns:a16="http://schemas.microsoft.com/office/drawing/2014/main" id="{A01F99EE-3BB0-4982-8CDA-0DB47603B60E}"/>
              </a:ext>
            </a:extLst>
          </p:cNvPr>
          <p:cNvGrpSpPr/>
          <p:nvPr/>
        </p:nvGrpSpPr>
        <p:grpSpPr>
          <a:xfrm>
            <a:off x="9697183" y="5407180"/>
            <a:ext cx="684000" cy="232949"/>
            <a:chOff x="9563141" y="2547476"/>
            <a:chExt cx="684000" cy="232949"/>
          </a:xfrm>
        </p:grpSpPr>
        <p:sp>
          <p:nvSpPr>
            <p:cNvPr id="11" name="Arrow: Chevron 3">
              <a:extLst>
                <a:ext uri="{FF2B5EF4-FFF2-40B4-BE49-F238E27FC236}">
                  <a16:creationId xmlns:a16="http://schemas.microsoft.com/office/drawing/2014/main" id="{D2BF9A0E-2389-4940-8496-513FE463B8AC}"/>
                </a:ext>
              </a:extLst>
            </p:cNvPr>
            <p:cNvSpPr/>
            <p:nvPr/>
          </p:nvSpPr>
          <p:spPr>
            <a:xfrm rot="10800000">
              <a:off x="9563141" y="2547476"/>
              <a:ext cx="276149" cy="232949"/>
            </a:xfrm>
            <a:prstGeom prst="chevron">
              <a:avLst/>
            </a:prstGeom>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50000"/>
                </a:spcAft>
                <a:buClr>
                  <a:srgbClr val="FFE600"/>
                </a:buClr>
                <a:buSzPct val="80000"/>
                <a:buFont typeface="Arial" charset="0"/>
                <a:buNone/>
                <a:tabLst/>
                <a:defRPr/>
              </a:pPr>
              <a:endParaRPr kumimoji="0" lang="en-US" sz="1400" b="1" i="0" u="none" strike="noStrike" kern="1200" cap="none" spc="0" normalizeH="0" baseline="0" noProof="0">
                <a:ln w="22225">
                  <a:solidFill>
                    <a:srgbClr val="FFE600"/>
                  </a:solidFill>
                  <a:prstDash val="solid"/>
                </a:ln>
                <a:solidFill>
                  <a:srgbClr val="FFE600">
                    <a:lumMod val="40000"/>
                    <a:lumOff val="60000"/>
                  </a:srgbClr>
                </a:solidFill>
                <a:effectLst/>
                <a:uLnTx/>
                <a:uFillTx/>
                <a:latin typeface="EYInterstate" panose="02000503020000020004" pitchFamily="2" charset="0"/>
                <a:ea typeface="+mn-ea"/>
                <a:cs typeface="+mn-cs"/>
              </a:endParaRPr>
            </a:p>
          </p:txBody>
        </p:sp>
        <p:sp>
          <p:nvSpPr>
            <p:cNvPr id="12" name="Arrow: Chevron 4">
              <a:extLst>
                <a:ext uri="{FF2B5EF4-FFF2-40B4-BE49-F238E27FC236}">
                  <a16:creationId xmlns:a16="http://schemas.microsoft.com/office/drawing/2014/main" id="{7E91B9B4-9770-48CB-9D95-B059104AA987}"/>
                </a:ext>
              </a:extLst>
            </p:cNvPr>
            <p:cNvSpPr/>
            <p:nvPr/>
          </p:nvSpPr>
          <p:spPr>
            <a:xfrm rot="10800000">
              <a:off x="9767067" y="2547476"/>
              <a:ext cx="276149" cy="232949"/>
            </a:xfrm>
            <a:prstGeom prst="chevron">
              <a:avLst/>
            </a:prstGeom>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50000"/>
                </a:spcAft>
                <a:buClr>
                  <a:srgbClr val="FFE600"/>
                </a:buClr>
                <a:buSzPct val="80000"/>
                <a:buFont typeface="Arial" charset="0"/>
                <a:buNone/>
                <a:tabLst/>
                <a:defRPr/>
              </a:pPr>
              <a:endParaRPr kumimoji="0" lang="en-US" sz="1400" b="1" i="0" u="none" strike="noStrike" kern="1200" cap="none" spc="0" normalizeH="0" baseline="0" noProof="0">
                <a:ln w="22225">
                  <a:solidFill>
                    <a:srgbClr val="FFE600"/>
                  </a:solidFill>
                  <a:prstDash val="solid"/>
                </a:ln>
                <a:solidFill>
                  <a:srgbClr val="FFE600">
                    <a:lumMod val="40000"/>
                    <a:lumOff val="60000"/>
                  </a:srgbClr>
                </a:solidFill>
                <a:effectLst/>
                <a:uLnTx/>
                <a:uFillTx/>
                <a:latin typeface="EYInterstate" panose="02000503020000020004" pitchFamily="2" charset="0"/>
                <a:ea typeface="+mn-ea"/>
                <a:cs typeface="+mn-cs"/>
              </a:endParaRPr>
            </a:p>
          </p:txBody>
        </p:sp>
        <p:sp>
          <p:nvSpPr>
            <p:cNvPr id="13" name="Arrow: Chevron 5">
              <a:extLst>
                <a:ext uri="{FF2B5EF4-FFF2-40B4-BE49-F238E27FC236}">
                  <a16:creationId xmlns:a16="http://schemas.microsoft.com/office/drawing/2014/main" id="{D7419B56-EA19-4F40-A31D-9C103AFC8EAC}"/>
                </a:ext>
              </a:extLst>
            </p:cNvPr>
            <p:cNvSpPr/>
            <p:nvPr/>
          </p:nvSpPr>
          <p:spPr>
            <a:xfrm rot="10800000">
              <a:off x="9970992" y="2547476"/>
              <a:ext cx="276149" cy="232949"/>
            </a:xfrm>
            <a:prstGeom prst="chevron">
              <a:avLst/>
            </a:prstGeom>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50000"/>
                </a:spcAft>
                <a:buClr>
                  <a:srgbClr val="FFE600"/>
                </a:buClr>
                <a:buSzPct val="80000"/>
                <a:buFont typeface="Arial" charset="0"/>
                <a:buNone/>
                <a:tabLst/>
                <a:defRPr/>
              </a:pPr>
              <a:endParaRPr kumimoji="0" lang="en-US" sz="1400" b="1" i="0" u="none" strike="noStrike" kern="1200" cap="none" spc="0" normalizeH="0" baseline="0" noProof="0">
                <a:ln w="22225">
                  <a:solidFill>
                    <a:srgbClr val="FFE600"/>
                  </a:solidFill>
                  <a:prstDash val="solid"/>
                </a:ln>
                <a:solidFill>
                  <a:srgbClr val="FFE600">
                    <a:lumMod val="40000"/>
                    <a:lumOff val="60000"/>
                  </a:srgbClr>
                </a:solidFill>
                <a:effectLst/>
                <a:uLnTx/>
                <a:uFillTx/>
                <a:latin typeface="EYInterstate" panose="02000503020000020004" pitchFamily="2" charset="0"/>
                <a:ea typeface="+mn-ea"/>
                <a:cs typeface="+mn-cs"/>
              </a:endParaRPr>
            </a:p>
          </p:txBody>
        </p:sp>
      </p:grpSp>
    </p:spTree>
    <p:extLst>
      <p:ext uri="{BB962C8B-B14F-4D97-AF65-F5344CB8AC3E}">
        <p14:creationId xmlns:p14="http://schemas.microsoft.com/office/powerpoint/2010/main" val="304252642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56A8AA-C54F-411A-A984-2A8BEC7E6D05}"/>
              </a:ext>
            </a:extLst>
          </p:cNvPr>
          <p:cNvSpPr>
            <a:spLocks noGrp="1"/>
          </p:cNvSpPr>
          <p:nvPr>
            <p:ph type="title"/>
          </p:nvPr>
        </p:nvSpPr>
        <p:spPr/>
        <p:txBody>
          <a:bodyPr/>
          <a:lstStyle/>
          <a:p>
            <a:r>
              <a:rPr lang="en-US"/>
              <a:t>Pricing &amp; Charges</a:t>
            </a:r>
          </a:p>
        </p:txBody>
      </p:sp>
      <p:sp>
        <p:nvSpPr>
          <p:cNvPr id="9" name="テキスト プレースホルダー 8">
            <a:extLst>
              <a:ext uri="{FF2B5EF4-FFF2-40B4-BE49-F238E27FC236}">
                <a16:creationId xmlns:a16="http://schemas.microsoft.com/office/drawing/2014/main" id="{179897B6-3BA1-473F-8E4D-3525B1B8807A}"/>
              </a:ext>
            </a:extLst>
          </p:cNvPr>
          <p:cNvSpPr txBox="1">
            <a:spLocks/>
          </p:cNvSpPr>
          <p:nvPr/>
        </p:nvSpPr>
        <p:spPr>
          <a:xfrm>
            <a:off x="943200" y="1393349"/>
            <a:ext cx="10990182" cy="589297"/>
          </a:xfrm>
          <a:prstGeom prst="rect">
            <a:avLst/>
          </a:prstGeom>
        </p:spPr>
        <p:txBody>
          <a:bodyPr lIns="0" tIns="0" rIns="0" bIns="0"/>
          <a:lstStyle>
            <a:lvl1pPr marL="0" indent="0" algn="just" defTabSz="1043056" rtl="0" eaLnBrk="1" latinLnBrk="0" hangingPunct="1">
              <a:lnSpc>
                <a:spcPct val="114000"/>
              </a:lnSpc>
              <a:spcBef>
                <a:spcPts val="0"/>
              </a:spcBef>
              <a:spcAft>
                <a:spcPts val="600"/>
              </a:spcAft>
              <a:buClr>
                <a:schemeClr val="accent2"/>
              </a:buClr>
              <a:buSzPct val="70000"/>
              <a:buFontTx/>
              <a:buNone/>
              <a:defRPr kumimoji="1" sz="1400" kern="1200" baseline="0">
                <a:solidFill>
                  <a:schemeClr val="tx2"/>
                </a:solidFill>
                <a:latin typeface="EYInterstate" panose="02000503020000020004" pitchFamily="2" charset="0"/>
                <a:ea typeface="ＭＳ Ｐゴシック" panose="020B0600070205080204" pitchFamily="50" charset="-128"/>
                <a:cs typeface="+mn-cs"/>
              </a:defRPr>
            </a:lvl1pPr>
            <a:lvl2pPr marL="405633" indent="0" algn="l" defTabSz="1043056" rtl="0" eaLnBrk="1" latinLnBrk="0" hangingPunct="1">
              <a:lnSpc>
                <a:spcPct val="114000"/>
              </a:lnSpc>
              <a:spcBef>
                <a:spcPts val="0"/>
              </a:spcBef>
              <a:spcAft>
                <a:spcPts val="600"/>
              </a:spcAft>
              <a:buClr>
                <a:schemeClr val="accent2"/>
              </a:buClr>
              <a:buSzPct val="70000"/>
              <a:buFontTx/>
              <a:buNone/>
              <a:defRPr kumimoji="1" sz="1400" kern="1200" baseline="0">
                <a:solidFill>
                  <a:schemeClr val="tx2"/>
                </a:solidFill>
                <a:latin typeface="EYInterstate" panose="02000503020000020004" pitchFamily="2" charset="0"/>
                <a:ea typeface="ＭＳ Ｐゴシック" panose="020B0600070205080204" pitchFamily="50" charset="-128"/>
                <a:cs typeface="+mn-cs"/>
              </a:defRPr>
            </a:lvl2pPr>
            <a:lvl3pPr marL="825752" indent="0" algn="l" defTabSz="1043056" rtl="0" eaLnBrk="1" latinLnBrk="0" hangingPunct="1">
              <a:lnSpc>
                <a:spcPct val="114000"/>
              </a:lnSpc>
              <a:spcBef>
                <a:spcPts val="0"/>
              </a:spcBef>
              <a:spcAft>
                <a:spcPts val="600"/>
              </a:spcAft>
              <a:buClr>
                <a:schemeClr val="accent2"/>
              </a:buClr>
              <a:buSzPct val="70000"/>
              <a:buFontTx/>
              <a:buNone/>
              <a:defRPr kumimoji="1" sz="1400" kern="1200" baseline="0">
                <a:solidFill>
                  <a:schemeClr val="tx2"/>
                </a:solidFill>
                <a:latin typeface="EYInterstate" panose="02000503020000020004" pitchFamily="2" charset="0"/>
                <a:ea typeface="ＭＳ Ｐゴシック" panose="020B0600070205080204" pitchFamily="50" charset="-128"/>
                <a:cs typeface="+mn-cs"/>
              </a:defRPr>
            </a:lvl3pPr>
            <a:lvl4pPr marL="1229575" indent="0" algn="l" defTabSz="1043056" rtl="0" eaLnBrk="1" latinLnBrk="0" hangingPunct="1">
              <a:lnSpc>
                <a:spcPct val="114000"/>
              </a:lnSpc>
              <a:spcBef>
                <a:spcPts val="0"/>
              </a:spcBef>
              <a:spcAft>
                <a:spcPts val="600"/>
              </a:spcAft>
              <a:buClr>
                <a:schemeClr val="accent2"/>
              </a:buClr>
              <a:buSzPct val="70000"/>
              <a:buFontTx/>
              <a:buNone/>
              <a:defRPr kumimoji="1" sz="1400" kern="1200" baseline="0">
                <a:solidFill>
                  <a:schemeClr val="tx2"/>
                </a:solidFill>
                <a:latin typeface="EYInterstate" panose="02000503020000020004" pitchFamily="2" charset="0"/>
                <a:ea typeface="ＭＳ Ｐゴシック" panose="020B0600070205080204" pitchFamily="50" charset="-128"/>
                <a:cs typeface="+mn-cs"/>
              </a:defRPr>
            </a:lvl4pPr>
            <a:lvl5pPr marL="1635207" indent="0" algn="l" defTabSz="1043056" rtl="0" eaLnBrk="1" latinLnBrk="0" hangingPunct="1">
              <a:lnSpc>
                <a:spcPct val="114000"/>
              </a:lnSpc>
              <a:spcBef>
                <a:spcPts val="0"/>
              </a:spcBef>
              <a:spcAft>
                <a:spcPts val="600"/>
              </a:spcAft>
              <a:buClr>
                <a:schemeClr val="accent2"/>
              </a:buClr>
              <a:buSzPct val="70000"/>
              <a:buFontTx/>
              <a:buNone/>
              <a:defRPr kumimoji="1" sz="1400" kern="1200" baseline="0">
                <a:solidFill>
                  <a:schemeClr val="tx2"/>
                </a:solidFill>
                <a:latin typeface="EYInterstate" panose="02000503020000020004" pitchFamily="2" charset="0"/>
                <a:ea typeface="ＭＳ Ｐゴシック" panose="020B0600070205080204" pitchFamily="50" charset="-128"/>
                <a:cs typeface="+mn-cs"/>
              </a:defRPr>
            </a:lvl5pPr>
            <a:lvl6pPr marL="2868404" indent="-260764" algn="l" defTabSz="1043056" rtl="0" eaLnBrk="1" latinLnBrk="0" hangingPunct="1">
              <a:spcBef>
                <a:spcPct val="20000"/>
              </a:spcBef>
              <a:buFont typeface="Arial" pitchFamily="34" charset="0"/>
              <a:buChar char="•"/>
              <a:defRPr kumimoji="1" sz="2300" kern="1200">
                <a:solidFill>
                  <a:schemeClr val="tx1"/>
                </a:solidFill>
                <a:latin typeface="+mn-lt"/>
                <a:ea typeface="+mn-ea"/>
                <a:cs typeface="+mn-cs"/>
              </a:defRPr>
            </a:lvl6pPr>
            <a:lvl7pPr marL="3389932" indent="-260764" algn="l" defTabSz="1043056" rtl="0" eaLnBrk="1" latinLnBrk="0" hangingPunct="1">
              <a:spcBef>
                <a:spcPct val="20000"/>
              </a:spcBef>
              <a:buFont typeface="Arial" pitchFamily="34" charset="0"/>
              <a:buChar char="•"/>
              <a:defRPr kumimoji="1" sz="2300" kern="1200">
                <a:solidFill>
                  <a:schemeClr val="tx1"/>
                </a:solidFill>
                <a:latin typeface="+mn-lt"/>
                <a:ea typeface="+mn-ea"/>
                <a:cs typeface="+mn-cs"/>
              </a:defRPr>
            </a:lvl7pPr>
            <a:lvl8pPr marL="3911460" indent="-260764" algn="l" defTabSz="1043056" rtl="0" eaLnBrk="1" latinLnBrk="0" hangingPunct="1">
              <a:spcBef>
                <a:spcPct val="20000"/>
              </a:spcBef>
              <a:buFont typeface="Arial" pitchFamily="34" charset="0"/>
              <a:buChar char="•"/>
              <a:defRPr kumimoji="1" sz="2300" kern="1200">
                <a:solidFill>
                  <a:schemeClr val="tx1"/>
                </a:solidFill>
                <a:latin typeface="+mn-lt"/>
                <a:ea typeface="+mn-ea"/>
                <a:cs typeface="+mn-cs"/>
              </a:defRPr>
            </a:lvl8pPr>
            <a:lvl9pPr marL="4432988" indent="-260764" algn="l" defTabSz="1043056" rtl="0" eaLnBrk="1" latinLnBrk="0" hangingPunct="1">
              <a:spcBef>
                <a:spcPct val="20000"/>
              </a:spcBef>
              <a:buFont typeface="Arial" pitchFamily="34" charset="0"/>
              <a:buChar char="•"/>
              <a:defRPr kumimoji="1" sz="2300" kern="1200">
                <a:solidFill>
                  <a:schemeClr val="tx1"/>
                </a:solidFill>
                <a:latin typeface="+mn-lt"/>
                <a:ea typeface="+mn-ea"/>
                <a:cs typeface="+mn-cs"/>
              </a:defRPr>
            </a:lvl9pPr>
          </a:lstStyle>
          <a:p>
            <a:pPr lvl="0" algn="l" fontAlgn="auto">
              <a:buClr>
                <a:srgbClr val="FFE600"/>
              </a:buClr>
              <a:defRPr/>
            </a:pPr>
            <a:r>
              <a:rPr lang="en-US" altLang="ja-JP">
                <a:solidFill>
                  <a:srgbClr val="808080"/>
                </a:solidFill>
              </a:rPr>
              <a:t>Based on the defined scope information you have provided, our knowledge of propensity modelling, our desire to invest in a longer term partnership with you and the considerable experience we have, we feel confident in offering our fee as per below:</a:t>
            </a:r>
            <a:endParaRPr kumimoji="1" lang="en-US" altLang="ja-JP" b="0" i="0" u="none" strike="noStrike" kern="1200" cap="none" spc="0" normalizeH="0" baseline="0" noProof="0">
              <a:ln>
                <a:noFill/>
              </a:ln>
              <a:solidFill>
                <a:srgbClr val="808080"/>
              </a:solidFill>
              <a:effectLst/>
              <a:uLnTx/>
              <a:uFillTx/>
              <a:latin typeface="EYInterstate" panose="02000503020000020004" pitchFamily="2" charset="0"/>
              <a:ea typeface="ＭＳ Ｐゴシック" panose="020B0600070205080204" pitchFamily="50" charset="-128"/>
              <a:cs typeface="+mn-cs"/>
            </a:endParaRPr>
          </a:p>
        </p:txBody>
      </p:sp>
      <p:graphicFrame>
        <p:nvGraphicFramePr>
          <p:cNvPr id="8" name="Table 7">
            <a:extLst>
              <a:ext uri="{FF2B5EF4-FFF2-40B4-BE49-F238E27FC236}">
                <a16:creationId xmlns:a16="http://schemas.microsoft.com/office/drawing/2014/main" id="{74D3977E-1465-4850-81DA-36BB90B16619}"/>
              </a:ext>
            </a:extLst>
          </p:cNvPr>
          <p:cNvGraphicFramePr>
            <a:graphicFrameLocks noGrp="1"/>
          </p:cNvGraphicFramePr>
          <p:nvPr>
            <p:extLst>
              <p:ext uri="{D42A27DB-BD31-4B8C-83A1-F6EECF244321}">
                <p14:modId xmlns:p14="http://schemas.microsoft.com/office/powerpoint/2010/main" val="515600770"/>
              </p:ext>
            </p:extLst>
          </p:nvPr>
        </p:nvGraphicFramePr>
        <p:xfrm>
          <a:off x="943200" y="2322224"/>
          <a:ext cx="6019460" cy="1623455"/>
        </p:xfrm>
        <a:graphic>
          <a:graphicData uri="http://schemas.openxmlformats.org/drawingml/2006/table">
            <a:tbl>
              <a:tblPr firstRow="1" bandRow="1"/>
              <a:tblGrid>
                <a:gridCol w="3365697">
                  <a:extLst>
                    <a:ext uri="{9D8B030D-6E8A-4147-A177-3AD203B41FA5}">
                      <a16:colId xmlns:a16="http://schemas.microsoft.com/office/drawing/2014/main" val="1173128345"/>
                    </a:ext>
                  </a:extLst>
                </a:gridCol>
                <a:gridCol w="1474958">
                  <a:extLst>
                    <a:ext uri="{9D8B030D-6E8A-4147-A177-3AD203B41FA5}">
                      <a16:colId xmlns:a16="http://schemas.microsoft.com/office/drawing/2014/main" val="1402496684"/>
                    </a:ext>
                  </a:extLst>
                </a:gridCol>
                <a:gridCol w="1178805">
                  <a:extLst>
                    <a:ext uri="{9D8B030D-6E8A-4147-A177-3AD203B41FA5}">
                      <a16:colId xmlns:a16="http://schemas.microsoft.com/office/drawing/2014/main" val="175565273"/>
                    </a:ext>
                  </a:extLst>
                </a:gridCol>
              </a:tblGrid>
              <a:tr h="476715">
                <a:tc>
                  <a:txBody>
                    <a:bodyPr/>
                    <a:lstStyle>
                      <a:lvl1pPr marL="0" algn="l" defTabSz="914400" rtl="0" eaLnBrk="1" latinLnBrk="0" hangingPunct="1">
                        <a:defRPr sz="1800" b="1" kern="1200">
                          <a:solidFill>
                            <a:schemeClr val="lt1"/>
                          </a:solidFill>
                          <a:latin typeface="Arial"/>
                          <a:cs typeface="CordiaUPC"/>
                        </a:defRPr>
                      </a:lvl1pPr>
                      <a:lvl2pPr marL="457200" algn="l" defTabSz="914400" rtl="0" eaLnBrk="1" latinLnBrk="0" hangingPunct="1">
                        <a:defRPr sz="1800" b="1" kern="1200">
                          <a:solidFill>
                            <a:schemeClr val="lt1"/>
                          </a:solidFill>
                          <a:latin typeface="Arial"/>
                          <a:cs typeface="CordiaUPC"/>
                        </a:defRPr>
                      </a:lvl2pPr>
                      <a:lvl3pPr marL="914400" algn="l" defTabSz="914400" rtl="0" eaLnBrk="1" latinLnBrk="0" hangingPunct="1">
                        <a:defRPr sz="1800" b="1" kern="1200">
                          <a:solidFill>
                            <a:schemeClr val="lt1"/>
                          </a:solidFill>
                          <a:latin typeface="Arial"/>
                          <a:cs typeface="CordiaUPC"/>
                        </a:defRPr>
                      </a:lvl3pPr>
                      <a:lvl4pPr marL="1371600" algn="l" defTabSz="914400" rtl="0" eaLnBrk="1" latinLnBrk="0" hangingPunct="1">
                        <a:defRPr sz="1800" b="1" kern="1200">
                          <a:solidFill>
                            <a:schemeClr val="lt1"/>
                          </a:solidFill>
                          <a:latin typeface="Arial"/>
                          <a:cs typeface="CordiaUPC"/>
                        </a:defRPr>
                      </a:lvl4pPr>
                      <a:lvl5pPr marL="1828800" algn="l" defTabSz="914400" rtl="0" eaLnBrk="1" latinLnBrk="0" hangingPunct="1">
                        <a:defRPr sz="1800" b="1" kern="1200">
                          <a:solidFill>
                            <a:schemeClr val="lt1"/>
                          </a:solidFill>
                          <a:latin typeface="Arial"/>
                          <a:cs typeface="CordiaUPC"/>
                        </a:defRPr>
                      </a:lvl5pPr>
                      <a:lvl6pPr marL="2286000" algn="l" defTabSz="914400" rtl="0" eaLnBrk="1" latinLnBrk="0" hangingPunct="1">
                        <a:defRPr sz="1800" b="1" kern="1200">
                          <a:solidFill>
                            <a:schemeClr val="lt1"/>
                          </a:solidFill>
                          <a:latin typeface="Arial"/>
                          <a:cs typeface="CordiaUPC"/>
                        </a:defRPr>
                      </a:lvl6pPr>
                      <a:lvl7pPr marL="2743200" algn="l" defTabSz="914400" rtl="0" eaLnBrk="1" latinLnBrk="0" hangingPunct="1">
                        <a:defRPr sz="1800" b="1" kern="1200">
                          <a:solidFill>
                            <a:schemeClr val="lt1"/>
                          </a:solidFill>
                          <a:latin typeface="Arial"/>
                          <a:cs typeface="CordiaUPC"/>
                        </a:defRPr>
                      </a:lvl7pPr>
                      <a:lvl8pPr marL="3200400" algn="l" defTabSz="914400" rtl="0" eaLnBrk="1" latinLnBrk="0" hangingPunct="1">
                        <a:defRPr sz="1800" b="1" kern="1200">
                          <a:solidFill>
                            <a:schemeClr val="lt1"/>
                          </a:solidFill>
                          <a:latin typeface="Arial"/>
                          <a:cs typeface="CordiaUPC"/>
                        </a:defRPr>
                      </a:lvl8pPr>
                      <a:lvl9pPr marL="3657600" algn="l" defTabSz="914400" rtl="0" eaLnBrk="1" latinLnBrk="0" hangingPunct="1">
                        <a:defRPr sz="1800" b="1" kern="1200">
                          <a:solidFill>
                            <a:schemeClr val="lt1"/>
                          </a:solidFill>
                          <a:latin typeface="Arial"/>
                          <a:cs typeface="CordiaUPC"/>
                        </a:defRPr>
                      </a:lvl9pPr>
                    </a:lstStyle>
                    <a:p>
                      <a:pPr algn="ctr"/>
                      <a:r>
                        <a:rPr lang="en-US" sz="1200">
                          <a:solidFill>
                            <a:schemeClr val="tx2"/>
                          </a:solidFill>
                          <a:latin typeface="+mj-lt"/>
                        </a:rPr>
                        <a:t>Milestones</a:t>
                      </a:r>
                    </a:p>
                  </a:txBody>
                  <a:tcPr marL="100770" marR="100770" marT="50385" marB="50385"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chemeClr val="accent5"/>
                    </a:solidFill>
                  </a:tcPr>
                </a:tc>
                <a:tc>
                  <a:txBody>
                    <a:bodyPr/>
                    <a:lstStyle/>
                    <a:p>
                      <a:pPr algn="ctr"/>
                      <a:r>
                        <a:rPr lang="en-US" sz="1200" b="1">
                          <a:solidFill>
                            <a:schemeClr val="tx2"/>
                          </a:solidFill>
                          <a:latin typeface="+mj-lt"/>
                        </a:rPr>
                        <a:t>% Fee Allocation</a:t>
                      </a:r>
                    </a:p>
                  </a:txBody>
                  <a:tcPr marL="100770" marR="100770" marT="50385" marB="50385"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marL="0" algn="ctr" defTabSz="914400" rtl="0" eaLnBrk="1" latinLnBrk="0" hangingPunct="1"/>
                      <a:r>
                        <a:rPr lang="en-US" sz="1200" b="1" kern="1200">
                          <a:solidFill>
                            <a:schemeClr val="tx2"/>
                          </a:solidFill>
                          <a:latin typeface="+mj-lt"/>
                          <a:ea typeface="+mn-ea"/>
                          <a:cs typeface="CordiaUPC"/>
                        </a:rPr>
                        <a:t>Fee Amount</a:t>
                      </a:r>
                    </a:p>
                  </a:txBody>
                  <a:tcPr marL="100770" marR="100770" marT="50385" marB="50385"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3790099912"/>
                  </a:ext>
                </a:extLst>
              </a:tr>
              <a:tr h="286685">
                <a:tc>
                  <a:txBody>
                    <a:bodyPr/>
                    <a:lstStyle>
                      <a:lvl1pPr marL="0" algn="l" defTabSz="914400" rtl="0" eaLnBrk="1" latinLnBrk="0" hangingPunct="1">
                        <a:defRPr sz="1800" kern="1200">
                          <a:solidFill>
                            <a:schemeClr val="dk1"/>
                          </a:solidFill>
                          <a:latin typeface="Arial"/>
                          <a:cs typeface="CordiaUPC"/>
                        </a:defRPr>
                      </a:lvl1pPr>
                      <a:lvl2pPr marL="457200" algn="l" defTabSz="914400" rtl="0" eaLnBrk="1" latinLnBrk="0" hangingPunct="1">
                        <a:defRPr sz="1800" kern="1200">
                          <a:solidFill>
                            <a:schemeClr val="dk1"/>
                          </a:solidFill>
                          <a:latin typeface="Arial"/>
                          <a:cs typeface="CordiaUPC"/>
                        </a:defRPr>
                      </a:lvl2pPr>
                      <a:lvl3pPr marL="914400" algn="l" defTabSz="914400" rtl="0" eaLnBrk="1" latinLnBrk="0" hangingPunct="1">
                        <a:defRPr sz="1800" kern="1200">
                          <a:solidFill>
                            <a:schemeClr val="dk1"/>
                          </a:solidFill>
                          <a:latin typeface="Arial"/>
                          <a:cs typeface="CordiaUPC"/>
                        </a:defRPr>
                      </a:lvl3pPr>
                      <a:lvl4pPr marL="1371600" algn="l" defTabSz="914400" rtl="0" eaLnBrk="1" latinLnBrk="0" hangingPunct="1">
                        <a:defRPr sz="1800" kern="1200">
                          <a:solidFill>
                            <a:schemeClr val="dk1"/>
                          </a:solidFill>
                          <a:latin typeface="Arial"/>
                          <a:cs typeface="CordiaUPC"/>
                        </a:defRPr>
                      </a:lvl4pPr>
                      <a:lvl5pPr marL="1828800" algn="l" defTabSz="914400" rtl="0" eaLnBrk="1" latinLnBrk="0" hangingPunct="1">
                        <a:defRPr sz="1800" kern="1200">
                          <a:solidFill>
                            <a:schemeClr val="dk1"/>
                          </a:solidFill>
                          <a:latin typeface="Arial"/>
                          <a:cs typeface="CordiaUPC"/>
                        </a:defRPr>
                      </a:lvl5pPr>
                      <a:lvl6pPr marL="2286000" algn="l" defTabSz="914400" rtl="0" eaLnBrk="1" latinLnBrk="0" hangingPunct="1">
                        <a:defRPr sz="1800" kern="1200">
                          <a:solidFill>
                            <a:schemeClr val="dk1"/>
                          </a:solidFill>
                          <a:latin typeface="Arial"/>
                          <a:cs typeface="CordiaUPC"/>
                        </a:defRPr>
                      </a:lvl6pPr>
                      <a:lvl7pPr marL="2743200" algn="l" defTabSz="914400" rtl="0" eaLnBrk="1" latinLnBrk="0" hangingPunct="1">
                        <a:defRPr sz="1800" kern="1200">
                          <a:solidFill>
                            <a:schemeClr val="dk1"/>
                          </a:solidFill>
                          <a:latin typeface="Arial"/>
                          <a:cs typeface="CordiaUPC"/>
                        </a:defRPr>
                      </a:lvl7pPr>
                      <a:lvl8pPr marL="3200400" algn="l" defTabSz="914400" rtl="0" eaLnBrk="1" latinLnBrk="0" hangingPunct="1">
                        <a:defRPr sz="1800" kern="1200">
                          <a:solidFill>
                            <a:schemeClr val="dk1"/>
                          </a:solidFill>
                          <a:latin typeface="Arial"/>
                          <a:cs typeface="CordiaUPC"/>
                        </a:defRPr>
                      </a:lvl8pPr>
                      <a:lvl9pPr marL="3657600" algn="l" defTabSz="914400" rtl="0" eaLnBrk="1" latinLnBrk="0" hangingPunct="1">
                        <a:defRPr sz="1800" kern="1200">
                          <a:solidFill>
                            <a:schemeClr val="dk1"/>
                          </a:solidFill>
                          <a:latin typeface="Arial"/>
                          <a:cs typeface="CordiaUPC"/>
                        </a:defRPr>
                      </a:lvl9pPr>
                    </a:lstStyle>
                    <a:p>
                      <a:pPr marL="0" indent="0" algn="l" defTabSz="1266737" rtl="0" eaLnBrk="1" latinLnBrk="0" hangingPunct="1">
                        <a:buNone/>
                      </a:pPr>
                      <a:r>
                        <a:rPr lang="en-US" sz="1200" kern="1200">
                          <a:solidFill>
                            <a:schemeClr val="bg2"/>
                          </a:solidFill>
                          <a:latin typeface="+mj-lt"/>
                          <a:ea typeface="+mn-ea"/>
                          <a:cs typeface="+mn-cs"/>
                        </a:rPr>
                        <a:t>1. Contract signing</a:t>
                      </a:r>
                    </a:p>
                  </a:txBody>
                  <a:tcPr marL="100770" marR="100770" marT="50385" marB="50385" anchor="ctr">
                    <a:lnL w="12700" cmpd="sng">
                      <a:solidFill>
                        <a:sysClr val="window" lastClr="FFFFFF"/>
                      </a:solidFill>
                    </a:lnL>
                    <a:lnR w="127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chemeClr val="accent4">
                        <a:lumMod val="90000"/>
                      </a:schemeClr>
                    </a:solidFill>
                  </a:tcPr>
                </a:tc>
                <a:tc>
                  <a:txBody>
                    <a:bodyPr/>
                    <a:lstStyle/>
                    <a:p>
                      <a:pPr marL="0" algn="ctr" defTabSz="914400" rtl="0" eaLnBrk="1" fontAlgn="ctr" latinLnBrk="0" hangingPunct="1"/>
                      <a:r>
                        <a:rPr lang="en-US" sz="1200" b="0" i="0" u="none" strike="noStrike" kern="1200">
                          <a:solidFill>
                            <a:schemeClr val="bg2"/>
                          </a:solidFill>
                          <a:effectLst/>
                          <a:latin typeface="+mj-lt"/>
                          <a:ea typeface="+mn-ea"/>
                          <a:cs typeface="+mn-cs"/>
                        </a:rPr>
                        <a:t>10%</a:t>
                      </a:r>
                    </a:p>
                  </a:txBody>
                  <a:tcPr marL="10497" marR="10497" marT="10497"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4">
                        <a:lumMod val="90000"/>
                      </a:schemeClr>
                    </a:solidFill>
                  </a:tcPr>
                </a:tc>
                <a:tc>
                  <a:txBody>
                    <a:bodyPr/>
                    <a:lstStyle/>
                    <a:p>
                      <a:pPr marL="0" algn="ctr" defTabSz="914400" rtl="0" eaLnBrk="1" fontAlgn="ctr" latinLnBrk="0" hangingPunct="1"/>
                      <a:r>
                        <a:rPr lang="en-US" sz="1200" b="0" i="0" u="none" strike="noStrike" kern="1200">
                          <a:solidFill>
                            <a:schemeClr val="bg2"/>
                          </a:solidFill>
                          <a:effectLst/>
                          <a:latin typeface="+mj-lt"/>
                          <a:ea typeface="+mn-ea"/>
                          <a:cs typeface="+mn-cs"/>
                        </a:rPr>
                        <a:t>9,850</a:t>
                      </a:r>
                    </a:p>
                  </a:txBody>
                  <a:tcPr marL="10497" marR="10497" marT="10497"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4">
                        <a:lumMod val="90000"/>
                      </a:schemeClr>
                    </a:solidFill>
                  </a:tcPr>
                </a:tc>
                <a:extLst>
                  <a:ext uri="{0D108BD9-81ED-4DB2-BD59-A6C34878D82A}">
                    <a16:rowId xmlns:a16="http://schemas.microsoft.com/office/drawing/2014/main" val="3592939749"/>
                  </a:ext>
                </a:extLst>
              </a:tr>
              <a:tr h="286685">
                <a:tc>
                  <a:txBody>
                    <a:bodyPr/>
                    <a:lstStyle/>
                    <a:p>
                      <a:r>
                        <a:rPr lang="en-US" sz="1200">
                          <a:solidFill>
                            <a:schemeClr val="bg2"/>
                          </a:solidFill>
                          <a:latin typeface="+mj-lt"/>
                        </a:rPr>
                        <a:t>2. </a:t>
                      </a:r>
                      <a:r>
                        <a:rPr lang="en-US" sz="1200" kern="1200">
                          <a:solidFill>
                            <a:schemeClr val="bg2"/>
                          </a:solidFill>
                          <a:latin typeface="+mn-lt"/>
                          <a:ea typeface="+mn-ea"/>
                          <a:cs typeface="+mn-cs"/>
                        </a:rPr>
                        <a:t>Data quality assessment</a:t>
                      </a:r>
                      <a:endParaRPr lang="en-US" sz="1200">
                        <a:solidFill>
                          <a:schemeClr val="bg2"/>
                        </a:solidFill>
                        <a:latin typeface="+mj-lt"/>
                      </a:endParaRPr>
                    </a:p>
                  </a:txBody>
                  <a:tcPr marL="100770" marR="100770" marT="50385" marB="50385"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chemeClr val="accent4">
                        <a:lumMod val="90000"/>
                      </a:schemeClr>
                    </a:solidFill>
                  </a:tcPr>
                </a:tc>
                <a:tc>
                  <a:txBody>
                    <a:bodyPr/>
                    <a:lstStyle/>
                    <a:p>
                      <a:pPr marL="0" algn="ctr" defTabSz="914400" rtl="0" eaLnBrk="1" fontAlgn="ctr" latinLnBrk="0" hangingPunct="1"/>
                      <a:r>
                        <a:rPr lang="en-US" sz="1200" b="0" i="0" u="none" strike="noStrike" kern="1200">
                          <a:solidFill>
                            <a:schemeClr val="bg2"/>
                          </a:solidFill>
                          <a:effectLst/>
                          <a:latin typeface="+mj-lt"/>
                          <a:ea typeface="+mn-ea"/>
                          <a:cs typeface="+mn-cs"/>
                        </a:rPr>
                        <a:t>10%</a:t>
                      </a:r>
                    </a:p>
                  </a:txBody>
                  <a:tcPr marL="10497" marR="10497" marT="10497"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4">
                        <a:lumMod val="90000"/>
                      </a:schemeClr>
                    </a:solidFill>
                  </a:tcPr>
                </a:tc>
                <a:tc>
                  <a:txBody>
                    <a:bodyPr/>
                    <a:lstStyle/>
                    <a:p>
                      <a:pPr marL="0" algn="ctr" defTabSz="914400" rtl="0" eaLnBrk="1" fontAlgn="ctr" latinLnBrk="0" hangingPunct="1"/>
                      <a:r>
                        <a:rPr lang="en-US" sz="1200" b="0" i="0" u="none" strike="noStrike" kern="1200">
                          <a:solidFill>
                            <a:schemeClr val="bg2"/>
                          </a:solidFill>
                          <a:effectLst/>
                          <a:latin typeface="+mj-lt"/>
                          <a:ea typeface="+mn-ea"/>
                          <a:cs typeface="+mn-cs"/>
                        </a:rPr>
                        <a:t>9,850</a:t>
                      </a:r>
                    </a:p>
                  </a:txBody>
                  <a:tcPr marL="10497" marR="10497" marT="10497"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4">
                        <a:lumMod val="90000"/>
                      </a:schemeClr>
                    </a:solidFill>
                  </a:tcPr>
                </a:tc>
                <a:extLst>
                  <a:ext uri="{0D108BD9-81ED-4DB2-BD59-A6C34878D82A}">
                    <a16:rowId xmlns:a16="http://schemas.microsoft.com/office/drawing/2014/main" val="3773645281"/>
                  </a:ext>
                </a:extLst>
              </a:tr>
              <a:tr h="286685">
                <a:tc>
                  <a:txBody>
                    <a:bodyPr/>
                    <a:lstStyle/>
                    <a:p>
                      <a:r>
                        <a:rPr lang="en-US" sz="1200">
                          <a:solidFill>
                            <a:schemeClr val="bg2"/>
                          </a:solidFill>
                          <a:latin typeface="+mj-lt"/>
                        </a:rPr>
                        <a:t>3. </a:t>
                      </a:r>
                      <a:r>
                        <a:rPr lang="en-US" sz="1200" kern="1200">
                          <a:solidFill>
                            <a:schemeClr val="bg2"/>
                          </a:solidFill>
                          <a:latin typeface="+mn-lt"/>
                          <a:ea typeface="+mn-ea"/>
                          <a:cs typeface="+mn-cs"/>
                        </a:rPr>
                        <a:t>Completion and final model report</a:t>
                      </a:r>
                      <a:endParaRPr lang="en-US" sz="1200">
                        <a:solidFill>
                          <a:schemeClr val="bg2"/>
                        </a:solidFill>
                        <a:latin typeface="+mj-lt"/>
                      </a:endParaRPr>
                    </a:p>
                  </a:txBody>
                  <a:tcPr marL="100770" marR="100770" marT="50385" marB="50385"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chemeClr val="accent4">
                        <a:lumMod val="90000"/>
                      </a:schemeClr>
                    </a:solidFill>
                  </a:tcPr>
                </a:tc>
                <a:tc>
                  <a:txBody>
                    <a:bodyPr/>
                    <a:lstStyle/>
                    <a:p>
                      <a:pPr marL="0" algn="ctr" defTabSz="914400" rtl="0" eaLnBrk="1" fontAlgn="ctr" latinLnBrk="0" hangingPunct="1"/>
                      <a:r>
                        <a:rPr lang="en-US" sz="1200" b="0" i="0" u="none" strike="noStrike" kern="1200">
                          <a:solidFill>
                            <a:schemeClr val="bg2"/>
                          </a:solidFill>
                          <a:effectLst/>
                          <a:latin typeface="+mj-lt"/>
                          <a:ea typeface="+mn-ea"/>
                          <a:cs typeface="+mn-cs"/>
                        </a:rPr>
                        <a:t>80%</a:t>
                      </a:r>
                    </a:p>
                  </a:txBody>
                  <a:tcPr marL="10497" marR="10497" marT="10497"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4">
                        <a:lumMod val="90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1200" b="0" i="0" u="none" strike="noStrike" kern="1200">
                          <a:solidFill>
                            <a:schemeClr val="bg2"/>
                          </a:solidFill>
                          <a:effectLst/>
                          <a:latin typeface="+mn-lt"/>
                          <a:ea typeface="+mn-ea"/>
                          <a:cs typeface="+mn-cs"/>
                        </a:rPr>
                        <a:t>78,800</a:t>
                      </a:r>
                    </a:p>
                  </a:txBody>
                  <a:tcPr marL="10497" marR="10497" marT="10497"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4">
                        <a:lumMod val="90000"/>
                      </a:schemeClr>
                    </a:solidFill>
                  </a:tcPr>
                </a:tc>
                <a:extLst>
                  <a:ext uri="{0D108BD9-81ED-4DB2-BD59-A6C34878D82A}">
                    <a16:rowId xmlns:a16="http://schemas.microsoft.com/office/drawing/2014/main" val="1075913589"/>
                  </a:ext>
                </a:extLst>
              </a:tr>
              <a:tr h="286685">
                <a:tc>
                  <a:txBody>
                    <a:bodyPr/>
                    <a:lstStyle>
                      <a:lvl1pPr marL="0" algn="l" defTabSz="914400" rtl="0" eaLnBrk="1" latinLnBrk="0" hangingPunct="1">
                        <a:defRPr sz="1800" kern="1200">
                          <a:solidFill>
                            <a:schemeClr val="dk1"/>
                          </a:solidFill>
                          <a:latin typeface="Arial"/>
                          <a:cs typeface="CordiaUPC"/>
                        </a:defRPr>
                      </a:lvl1pPr>
                      <a:lvl2pPr marL="457200" algn="l" defTabSz="914400" rtl="0" eaLnBrk="1" latinLnBrk="0" hangingPunct="1">
                        <a:defRPr sz="1800" kern="1200">
                          <a:solidFill>
                            <a:schemeClr val="dk1"/>
                          </a:solidFill>
                          <a:latin typeface="Arial"/>
                          <a:cs typeface="CordiaUPC"/>
                        </a:defRPr>
                      </a:lvl2pPr>
                      <a:lvl3pPr marL="914400" algn="l" defTabSz="914400" rtl="0" eaLnBrk="1" latinLnBrk="0" hangingPunct="1">
                        <a:defRPr sz="1800" kern="1200">
                          <a:solidFill>
                            <a:schemeClr val="dk1"/>
                          </a:solidFill>
                          <a:latin typeface="Arial"/>
                          <a:cs typeface="CordiaUPC"/>
                        </a:defRPr>
                      </a:lvl3pPr>
                      <a:lvl4pPr marL="1371600" algn="l" defTabSz="914400" rtl="0" eaLnBrk="1" latinLnBrk="0" hangingPunct="1">
                        <a:defRPr sz="1800" kern="1200">
                          <a:solidFill>
                            <a:schemeClr val="dk1"/>
                          </a:solidFill>
                          <a:latin typeface="Arial"/>
                          <a:cs typeface="CordiaUPC"/>
                        </a:defRPr>
                      </a:lvl4pPr>
                      <a:lvl5pPr marL="1828800" algn="l" defTabSz="914400" rtl="0" eaLnBrk="1" latinLnBrk="0" hangingPunct="1">
                        <a:defRPr sz="1800" kern="1200">
                          <a:solidFill>
                            <a:schemeClr val="dk1"/>
                          </a:solidFill>
                          <a:latin typeface="Arial"/>
                          <a:cs typeface="CordiaUPC"/>
                        </a:defRPr>
                      </a:lvl5pPr>
                      <a:lvl6pPr marL="2286000" algn="l" defTabSz="914400" rtl="0" eaLnBrk="1" latinLnBrk="0" hangingPunct="1">
                        <a:defRPr sz="1800" kern="1200">
                          <a:solidFill>
                            <a:schemeClr val="dk1"/>
                          </a:solidFill>
                          <a:latin typeface="Arial"/>
                          <a:cs typeface="CordiaUPC"/>
                        </a:defRPr>
                      </a:lvl6pPr>
                      <a:lvl7pPr marL="2743200" algn="l" defTabSz="914400" rtl="0" eaLnBrk="1" latinLnBrk="0" hangingPunct="1">
                        <a:defRPr sz="1800" kern="1200">
                          <a:solidFill>
                            <a:schemeClr val="dk1"/>
                          </a:solidFill>
                          <a:latin typeface="Arial"/>
                          <a:cs typeface="CordiaUPC"/>
                        </a:defRPr>
                      </a:lvl7pPr>
                      <a:lvl8pPr marL="3200400" algn="l" defTabSz="914400" rtl="0" eaLnBrk="1" latinLnBrk="0" hangingPunct="1">
                        <a:defRPr sz="1800" kern="1200">
                          <a:solidFill>
                            <a:schemeClr val="dk1"/>
                          </a:solidFill>
                          <a:latin typeface="Arial"/>
                          <a:cs typeface="CordiaUPC"/>
                        </a:defRPr>
                      </a:lvl8pPr>
                      <a:lvl9pPr marL="3657600" algn="l" defTabSz="914400" rtl="0" eaLnBrk="1" latinLnBrk="0" hangingPunct="1">
                        <a:defRPr sz="1800" kern="1200">
                          <a:solidFill>
                            <a:schemeClr val="dk1"/>
                          </a:solidFill>
                          <a:latin typeface="Arial"/>
                          <a:cs typeface="CordiaUPC"/>
                        </a:defRPr>
                      </a:lvl9pPr>
                    </a:lstStyle>
                    <a:p>
                      <a:pPr algn="r"/>
                      <a:r>
                        <a:rPr lang="en-US" sz="1200" b="1" dirty="0">
                          <a:solidFill>
                            <a:schemeClr val="bg2"/>
                          </a:solidFill>
                          <a:latin typeface="+mj-lt"/>
                        </a:rPr>
                        <a:t>TOTAL</a:t>
                      </a:r>
                    </a:p>
                  </a:txBody>
                  <a:tcPr marL="100770" marR="100770" marT="50385" marB="50385"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2">
                        <a:lumMod val="95000"/>
                      </a:schemeClr>
                    </a:solidFill>
                  </a:tcPr>
                </a:tc>
                <a:tc>
                  <a:txBody>
                    <a:bodyPr/>
                    <a:lstStyle/>
                    <a:p>
                      <a:pPr algn="ctr" rtl="0" fontAlgn="t"/>
                      <a:endParaRPr lang="en-US" sz="1200" b="1" i="0" u="none" strike="noStrike">
                        <a:solidFill>
                          <a:schemeClr val="bg2"/>
                        </a:solidFill>
                        <a:effectLst/>
                        <a:latin typeface="+mj-lt"/>
                      </a:endParaRPr>
                    </a:p>
                  </a:txBody>
                  <a:tcPr marL="10497" marR="10497" marT="10497"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2">
                        <a:lumMod val="95000"/>
                      </a:schemeClr>
                    </a:solidFill>
                  </a:tcPr>
                </a:tc>
                <a:tc>
                  <a:txBody>
                    <a:bodyPr/>
                    <a:lstStyle/>
                    <a:p>
                      <a:pPr algn="ctr" rtl="0" fontAlgn="t"/>
                      <a:r>
                        <a:rPr lang="en-US" sz="1200" b="1" i="0" u="none" strike="noStrike" dirty="0">
                          <a:solidFill>
                            <a:schemeClr val="bg2"/>
                          </a:solidFill>
                          <a:effectLst/>
                          <a:latin typeface="+mj-lt"/>
                        </a:rPr>
                        <a:t>USD 98,500</a:t>
                      </a:r>
                    </a:p>
                  </a:txBody>
                  <a:tcPr marL="10497" marR="10497" marT="10497"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2">
                        <a:lumMod val="95000"/>
                      </a:schemeClr>
                    </a:solidFill>
                  </a:tcPr>
                </a:tc>
                <a:extLst>
                  <a:ext uri="{0D108BD9-81ED-4DB2-BD59-A6C34878D82A}">
                    <a16:rowId xmlns:a16="http://schemas.microsoft.com/office/drawing/2014/main" val="995760928"/>
                  </a:ext>
                </a:extLst>
              </a:tr>
            </a:tbl>
          </a:graphicData>
        </a:graphic>
      </p:graphicFrame>
      <p:sp>
        <p:nvSpPr>
          <p:cNvPr id="10" name="Rectangle 9">
            <a:extLst>
              <a:ext uri="{FF2B5EF4-FFF2-40B4-BE49-F238E27FC236}">
                <a16:creationId xmlns:a16="http://schemas.microsoft.com/office/drawing/2014/main" id="{3446F92E-87AC-494B-ACE8-F197DC3BC996}"/>
              </a:ext>
            </a:extLst>
          </p:cNvPr>
          <p:cNvSpPr/>
          <p:nvPr/>
        </p:nvSpPr>
        <p:spPr>
          <a:xfrm>
            <a:off x="943200" y="5081364"/>
            <a:ext cx="10812438" cy="1730795"/>
          </a:xfrm>
          <a:prstGeom prst="rect">
            <a:avLst/>
          </a:prstGeom>
        </p:spPr>
        <p:txBody>
          <a:bodyPr wrap="square">
            <a:spAutoFit/>
          </a:bodyPr>
          <a:lstStyle/>
          <a:p>
            <a:pPr defTabSz="1007669" fontAlgn="auto">
              <a:spcBef>
                <a:spcPts val="496"/>
              </a:spcBef>
              <a:spcAft>
                <a:spcPts val="0"/>
              </a:spcAft>
              <a:buClrTx/>
              <a:buSzTx/>
            </a:pPr>
            <a:r>
              <a:rPr lang="en-US" sz="1543" b="1" u="sng" dirty="0">
                <a:solidFill>
                  <a:srgbClr val="000000"/>
                </a:solidFill>
                <a:latin typeface="EYInterstate Light"/>
                <a:cs typeface="CordiaUPC"/>
              </a:rPr>
              <a:t>Professional Services Fee Assumptions</a:t>
            </a:r>
          </a:p>
          <a:p>
            <a:pPr marL="188938" indent="-188938" defTabSz="1007669" fontAlgn="auto">
              <a:spcBef>
                <a:spcPts val="496"/>
              </a:spcBef>
              <a:spcAft>
                <a:spcPts val="0"/>
              </a:spcAft>
              <a:buClrTx/>
              <a:buSzTx/>
              <a:buFont typeface="+mj-lt"/>
              <a:buAutoNum type="arabicPeriod"/>
            </a:pPr>
            <a:r>
              <a:rPr kumimoji="1" lang="en-US" sz="1100" dirty="0">
                <a:solidFill>
                  <a:srgbClr val="808080"/>
                </a:solidFill>
                <a:latin typeface="EYInterstate" panose="02000503020000020004" pitchFamily="2" charset="0"/>
                <a:ea typeface="ＭＳ Ｐゴシック" panose="020B0600070205080204" pitchFamily="50" charset="-128"/>
              </a:rPr>
              <a:t>The fees includes Professional services cost excluding any statutory taxes &amp; operational expenses.</a:t>
            </a:r>
          </a:p>
          <a:p>
            <a:pPr marL="188938" indent="-188938" defTabSz="1007669" fontAlgn="auto">
              <a:spcBef>
                <a:spcPts val="496"/>
              </a:spcBef>
              <a:spcAft>
                <a:spcPts val="0"/>
              </a:spcAft>
              <a:buClrTx/>
              <a:buSzTx/>
              <a:buFont typeface="+mj-lt"/>
              <a:buAutoNum type="arabicPeriod"/>
            </a:pPr>
            <a:r>
              <a:rPr kumimoji="1" lang="en-US" sz="1100" dirty="0">
                <a:solidFill>
                  <a:srgbClr val="808080"/>
                </a:solidFill>
                <a:latin typeface="EYInterstate" panose="02000503020000020004" pitchFamily="2" charset="0"/>
                <a:ea typeface="ＭＳ Ｐゴシック" panose="020B0600070205080204" pitchFamily="50" charset="-128"/>
              </a:rPr>
              <a:t>Our fee estimation is based on scope and timeline shared in the proposal.</a:t>
            </a:r>
          </a:p>
          <a:p>
            <a:pPr marL="188938" indent="-188938" defTabSz="1007669" fontAlgn="auto">
              <a:spcBef>
                <a:spcPts val="496"/>
              </a:spcBef>
              <a:spcAft>
                <a:spcPts val="0"/>
              </a:spcAft>
              <a:buClrTx/>
              <a:buSzTx/>
              <a:buFont typeface="+mj-lt"/>
              <a:buAutoNum type="arabicPeriod"/>
            </a:pPr>
            <a:r>
              <a:rPr kumimoji="1" lang="en-US" sz="1100" dirty="0">
                <a:solidFill>
                  <a:srgbClr val="808080"/>
                </a:solidFill>
                <a:latin typeface="EYInterstate" panose="02000503020000020004" pitchFamily="2" charset="0"/>
                <a:ea typeface="ＭＳ Ｐゴシック" panose="020B0600070205080204" pitchFamily="50" charset="-128"/>
              </a:rPr>
              <a:t>Requested changes to the effort and related fees will be immediately communicated and agreed prior to proceeding.</a:t>
            </a:r>
          </a:p>
          <a:p>
            <a:pPr marL="188938" indent="-188938" defTabSz="1007669" fontAlgn="auto">
              <a:spcBef>
                <a:spcPts val="496"/>
              </a:spcBef>
              <a:spcAft>
                <a:spcPts val="0"/>
              </a:spcAft>
              <a:buClrTx/>
              <a:buSzTx/>
              <a:buFont typeface="+mj-lt"/>
              <a:buAutoNum type="arabicPeriod"/>
            </a:pPr>
            <a:r>
              <a:rPr kumimoji="1" lang="en-US" sz="1100" dirty="0">
                <a:solidFill>
                  <a:srgbClr val="808080"/>
                </a:solidFill>
                <a:latin typeface="EYInterstate" panose="02000503020000020004" pitchFamily="2" charset="0"/>
                <a:ea typeface="ＭＳ Ｐゴシック" panose="020B0600070205080204" pitchFamily="50" charset="-128"/>
              </a:rPr>
              <a:t>Any impact to the deliverable, timeline and fees due to circumstances outside of EY’s control will be discussed and agreed by both parties.</a:t>
            </a:r>
          </a:p>
          <a:p>
            <a:pPr marL="188938" indent="-188938" defTabSz="1007669" fontAlgn="auto">
              <a:spcBef>
                <a:spcPts val="496"/>
              </a:spcBef>
              <a:spcAft>
                <a:spcPts val="0"/>
              </a:spcAft>
              <a:buClrTx/>
              <a:buSzTx/>
              <a:buFont typeface="+mj-lt"/>
              <a:buAutoNum type="arabicPeriod"/>
            </a:pPr>
            <a:r>
              <a:rPr kumimoji="1" lang="en-US" sz="1100" dirty="0">
                <a:solidFill>
                  <a:srgbClr val="808080"/>
                </a:solidFill>
                <a:latin typeface="EYInterstate" panose="02000503020000020004" pitchFamily="2" charset="0"/>
                <a:ea typeface="ＭＳ Ｐゴシック" panose="020B0600070205080204" pitchFamily="50" charset="-128"/>
              </a:rPr>
              <a:t>Invoices will be generated based on the milestones listed above and payment terms will be 30 days.</a:t>
            </a:r>
          </a:p>
          <a:p>
            <a:pPr defTabSz="1007669" fontAlgn="auto">
              <a:spcBef>
                <a:spcPts val="496"/>
              </a:spcBef>
              <a:spcAft>
                <a:spcPts val="0"/>
              </a:spcAft>
              <a:buClrTx/>
              <a:buSzTx/>
            </a:pPr>
            <a:endParaRPr lang="en-US" sz="1102" dirty="0">
              <a:solidFill>
                <a:srgbClr val="000000"/>
              </a:solidFill>
              <a:latin typeface="EYInterstate Light"/>
              <a:cs typeface="CordiaUPC"/>
            </a:endParaRPr>
          </a:p>
        </p:txBody>
      </p:sp>
    </p:spTree>
    <p:extLst>
      <p:ext uri="{BB962C8B-B14F-4D97-AF65-F5344CB8AC3E}">
        <p14:creationId xmlns:p14="http://schemas.microsoft.com/office/powerpoint/2010/main" val="192806884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7A9C3EF-EC79-EF41-AEE2-C98A0561165D}"/>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0178" name="think-cell Slide" r:id="rId6" imgW="7772400" imgH="10058400" progId="TCLayout.ActiveDocument.1">
                  <p:embed/>
                </p:oleObj>
              </mc:Choice>
              <mc:Fallback>
                <p:oleObj name="think-cell Slide" r:id="rId6" imgW="7772400" imgH="10058400" progId="TCLayout.ActiveDocument.1">
                  <p:embed/>
                  <p:pic>
                    <p:nvPicPr>
                      <p:cNvPr id="4" name="Object 3" hidden="1">
                        <a:extLst>
                          <a:ext uri="{FF2B5EF4-FFF2-40B4-BE49-F238E27FC236}">
                            <a16:creationId xmlns:a16="http://schemas.microsoft.com/office/drawing/2014/main" id="{A7A9C3EF-EC79-EF41-AEE2-C98A0561165D}"/>
                          </a:ext>
                        </a:extLst>
                      </p:cNvPr>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7389429-FF38-8644-86AD-26B3FFE70C1E}"/>
              </a:ext>
            </a:extLst>
          </p:cNvPr>
          <p:cNvSpPr/>
          <p:nvPr>
            <p:custDataLst>
              <p:tags r:id="rId3"/>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marR="0" lvl="0" indent="0" algn="ctr" defTabSz="914400" rtl="0" eaLnBrk="1" fontAlgn="base" latinLnBrk="0" hangingPunct="1">
              <a:lnSpc>
                <a:spcPct val="100000"/>
              </a:lnSpc>
              <a:spcBef>
                <a:spcPct val="0"/>
              </a:spcBef>
              <a:spcAft>
                <a:spcPct val="50000"/>
              </a:spcAft>
              <a:buClr>
                <a:srgbClr val="FFE600"/>
              </a:buClr>
              <a:buSzPct val="80000"/>
              <a:buFont typeface="Arial" charset="0"/>
              <a:buNone/>
              <a:tabLst/>
              <a:defRPr/>
            </a:pPr>
            <a:endParaRPr kumimoji="0" lang="en-GB" sz="2400" b="1" i="0" u="none" strike="noStrike" kern="1200" cap="none" spc="0" normalizeH="0" baseline="0" noProof="0">
              <a:ln>
                <a:noFill/>
              </a:ln>
              <a:solidFill>
                <a:srgbClr val="646464"/>
              </a:solidFill>
              <a:effectLst/>
              <a:uLnTx/>
              <a:uFillTx/>
              <a:latin typeface="EYInterstate" panose="02000503020000020004" pitchFamily="2" charset="0"/>
              <a:ea typeface="+mn-ea"/>
              <a:cs typeface="+mn-cs"/>
              <a:sym typeface="EYInterstate" panose="02000503020000020004" pitchFamily="2" charset="0"/>
            </a:endParaRPr>
          </a:p>
        </p:txBody>
      </p:sp>
      <p:sp>
        <p:nvSpPr>
          <p:cNvPr id="2" name="Title 1">
            <a:extLst>
              <a:ext uri="{FF2B5EF4-FFF2-40B4-BE49-F238E27FC236}">
                <a16:creationId xmlns:a16="http://schemas.microsoft.com/office/drawing/2014/main" id="{C4C23136-0F1A-2043-A138-823BF069E3FE}"/>
              </a:ext>
            </a:extLst>
          </p:cNvPr>
          <p:cNvSpPr>
            <a:spLocks noGrp="1"/>
          </p:cNvSpPr>
          <p:nvPr>
            <p:ph type="title"/>
          </p:nvPr>
        </p:nvSpPr>
        <p:spPr/>
        <p:txBody>
          <a:bodyPr/>
          <a:lstStyle/>
          <a:p>
            <a:r>
              <a:rPr lang="en-GB">
                <a:solidFill>
                  <a:srgbClr val="FFFFFF"/>
                </a:solidFill>
              </a:rPr>
              <a:t>Table of Contents</a:t>
            </a:r>
            <a:endParaRPr lang="en-GB"/>
          </a:p>
        </p:txBody>
      </p:sp>
      <p:sp>
        <p:nvSpPr>
          <p:cNvPr id="5" name="Rectangle 4">
            <a:extLst>
              <a:ext uri="{FF2B5EF4-FFF2-40B4-BE49-F238E27FC236}">
                <a16:creationId xmlns:a16="http://schemas.microsoft.com/office/drawing/2014/main" id="{1A6C3D31-1A5E-F641-AEFF-8DE3943F771A}"/>
              </a:ext>
            </a:extLst>
          </p:cNvPr>
          <p:cNvSpPr/>
          <p:nvPr/>
        </p:nvSpPr>
        <p:spPr>
          <a:xfrm>
            <a:off x="943904" y="1906135"/>
            <a:ext cx="9791829" cy="4616648"/>
          </a:xfrm>
          <a:prstGeom prst="rect">
            <a:avLst/>
          </a:prstGeom>
        </p:spPr>
        <p:txBody>
          <a:bodyPr wrap="square" lIns="90000" anchor="t" anchorCtr="0">
            <a:spAutoFit/>
          </a:bodyPr>
          <a:lstStyle/>
          <a:p>
            <a:pPr marL="742950" marR="0" lvl="3" indent="-742950" algn="l" defTabSz="1042342" rtl="0" eaLnBrk="1" fontAlgn="base" latinLnBrk="0" hangingPunct="1">
              <a:lnSpc>
                <a:spcPct val="100000"/>
              </a:lnSpc>
              <a:spcBef>
                <a:spcPct val="0"/>
              </a:spcBef>
              <a:spcAft>
                <a:spcPts val="1200"/>
              </a:spcAft>
              <a:buClr>
                <a:srgbClr val="FFE600"/>
              </a:buClr>
              <a:buSzPct val="100000"/>
              <a:buFont typeface="+mj-lt"/>
              <a:buAutoNum type="arabicPeriod"/>
              <a:tabLst/>
              <a:defRPr/>
            </a:pPr>
            <a:r>
              <a:rPr kumimoji="0" lang="en-US" sz="2800" b="1" i="0" u="none" strike="noStrike" kern="0" cap="none" spc="0" normalizeH="0" baseline="0" noProof="0">
                <a:ln>
                  <a:noFill/>
                </a:ln>
                <a:solidFill>
                  <a:srgbClr val="646464"/>
                </a:solidFill>
                <a:effectLst/>
                <a:uLnTx/>
                <a:uFillTx/>
                <a:latin typeface="EYInterstate" panose="02000503020000020004" pitchFamily="2" charset="0"/>
                <a:ea typeface="+mn-ea"/>
                <a:cs typeface="+mn-cs"/>
              </a:rPr>
              <a:t>Our Understanding of your needs</a:t>
            </a:r>
          </a:p>
          <a:p>
            <a:pPr marL="742950" marR="0" lvl="3" indent="-742950" algn="l" defTabSz="1042342" rtl="0" eaLnBrk="1" fontAlgn="base" latinLnBrk="0" hangingPunct="1">
              <a:lnSpc>
                <a:spcPct val="100000"/>
              </a:lnSpc>
              <a:spcBef>
                <a:spcPct val="0"/>
              </a:spcBef>
              <a:spcAft>
                <a:spcPts val="1200"/>
              </a:spcAft>
              <a:buClr>
                <a:srgbClr val="FFE600"/>
              </a:buClr>
              <a:buSzPct val="100000"/>
              <a:buFont typeface="+mj-lt"/>
              <a:buAutoNum type="arabicPeriod"/>
              <a:tabLst/>
              <a:defRPr/>
            </a:pPr>
            <a:r>
              <a:rPr kumimoji="0" lang="en-US" sz="2800" b="1" i="0" u="none" strike="noStrike" kern="0" cap="none" spc="0" normalizeH="0" baseline="0" noProof="0">
                <a:ln>
                  <a:noFill/>
                </a:ln>
                <a:solidFill>
                  <a:srgbClr val="646464"/>
                </a:solidFill>
                <a:effectLst/>
                <a:uLnTx/>
                <a:uFillTx/>
                <a:latin typeface="EYInterstate" panose="02000503020000020004" pitchFamily="2" charset="0"/>
                <a:ea typeface="+mn-ea"/>
                <a:cs typeface="+mn-cs"/>
              </a:rPr>
              <a:t>Our Capabilities  </a:t>
            </a:r>
          </a:p>
          <a:p>
            <a:pPr marL="742950" marR="0" lvl="3" indent="-742950" algn="l" defTabSz="1042342" rtl="0" eaLnBrk="1" fontAlgn="base" latinLnBrk="0" hangingPunct="1">
              <a:lnSpc>
                <a:spcPct val="100000"/>
              </a:lnSpc>
              <a:spcBef>
                <a:spcPct val="0"/>
              </a:spcBef>
              <a:spcAft>
                <a:spcPts val="1200"/>
              </a:spcAft>
              <a:buClr>
                <a:srgbClr val="FFE600"/>
              </a:buClr>
              <a:buSzPct val="100000"/>
              <a:buFont typeface="+mj-lt"/>
              <a:buAutoNum type="arabicPeriod"/>
              <a:tabLst/>
              <a:defRPr/>
            </a:pPr>
            <a:r>
              <a:rPr kumimoji="0" lang="en-US" sz="2800" b="1" i="0" u="none" strike="noStrike" kern="0" cap="none" spc="0" normalizeH="0" baseline="0" noProof="0">
                <a:ln>
                  <a:noFill/>
                </a:ln>
                <a:solidFill>
                  <a:srgbClr val="646464"/>
                </a:solidFill>
                <a:effectLst/>
                <a:uLnTx/>
                <a:uFillTx/>
                <a:latin typeface="EYInterstate" panose="02000503020000020004" pitchFamily="2" charset="0"/>
                <a:ea typeface="+mn-ea"/>
                <a:cs typeface="+mn-cs"/>
              </a:rPr>
              <a:t>Our Approach</a:t>
            </a:r>
          </a:p>
          <a:p>
            <a:pPr marL="742950" lvl="3" indent="-742950" defTabSz="1042342">
              <a:spcAft>
                <a:spcPts val="1200"/>
              </a:spcAft>
              <a:buClr>
                <a:srgbClr val="FFE600"/>
              </a:buClr>
              <a:buSzPct val="100000"/>
              <a:buFont typeface="+mj-lt"/>
              <a:buAutoNum type="arabicPeriod"/>
              <a:defRPr/>
            </a:pPr>
            <a:r>
              <a:rPr lang="en-US" sz="2800" b="1" kern="0">
                <a:solidFill>
                  <a:srgbClr val="646464"/>
                </a:solidFill>
                <a:latin typeface="EYInterstate" panose="02000503020000020004" pitchFamily="2" charset="0"/>
              </a:rPr>
              <a:t>Our Delivery</a:t>
            </a:r>
          </a:p>
          <a:p>
            <a:pPr marL="742950" marR="0" lvl="3" indent="-742950" algn="l" defTabSz="1042342" rtl="0" eaLnBrk="1" fontAlgn="base" latinLnBrk="0" hangingPunct="1">
              <a:lnSpc>
                <a:spcPct val="100000"/>
              </a:lnSpc>
              <a:spcBef>
                <a:spcPct val="0"/>
              </a:spcBef>
              <a:spcAft>
                <a:spcPts val="1200"/>
              </a:spcAft>
              <a:buClr>
                <a:srgbClr val="FFE600"/>
              </a:buClr>
              <a:buSzPct val="100000"/>
              <a:buFont typeface="+mj-lt"/>
              <a:buAutoNum type="arabicPeriod"/>
              <a:tabLst/>
              <a:defRPr/>
            </a:pPr>
            <a:r>
              <a:rPr kumimoji="0" lang="en-US" sz="2800" b="1" i="0" u="none" strike="noStrike" kern="0" cap="none" spc="0" normalizeH="0" baseline="0" noProof="0">
                <a:ln>
                  <a:noFill/>
                </a:ln>
                <a:solidFill>
                  <a:srgbClr val="646464"/>
                </a:solidFill>
                <a:effectLst/>
                <a:uLnTx/>
                <a:uFillTx/>
                <a:latin typeface="EYInterstate" panose="02000503020000020004" pitchFamily="2" charset="0"/>
                <a:ea typeface="+mn-ea"/>
                <a:cs typeface="+mn-cs"/>
              </a:rPr>
              <a:t>Our Credentials</a:t>
            </a:r>
          </a:p>
          <a:p>
            <a:pPr marL="742950" lvl="3" indent="-742950" defTabSz="1042342">
              <a:spcAft>
                <a:spcPts val="1200"/>
              </a:spcAft>
              <a:buClr>
                <a:srgbClr val="FFE600"/>
              </a:buClr>
              <a:buSzPct val="100000"/>
              <a:buFont typeface="+mj-lt"/>
              <a:buAutoNum type="arabicPeriod"/>
              <a:defRPr/>
            </a:pPr>
            <a:r>
              <a:rPr lang="en-US" sz="2800" b="1" kern="0">
                <a:solidFill>
                  <a:srgbClr val="646464"/>
                </a:solidFill>
                <a:latin typeface="EYInterstate" panose="02000503020000020004" pitchFamily="2" charset="0"/>
              </a:rPr>
              <a:t>Team Structure</a:t>
            </a:r>
          </a:p>
          <a:p>
            <a:pPr marL="742950" lvl="3" indent="-742950" defTabSz="1042342">
              <a:spcAft>
                <a:spcPts val="1200"/>
              </a:spcAft>
              <a:buClr>
                <a:srgbClr val="FFE600"/>
              </a:buClr>
              <a:buSzPct val="100000"/>
              <a:buFont typeface="+mj-lt"/>
              <a:buAutoNum type="arabicPeriod"/>
              <a:defRPr/>
            </a:pPr>
            <a:r>
              <a:rPr lang="en-US" sz="2800" b="1" kern="0">
                <a:solidFill>
                  <a:srgbClr val="646464"/>
                </a:solidFill>
                <a:latin typeface="EYInterstate" panose="02000503020000020004" pitchFamily="2" charset="0"/>
              </a:rPr>
              <a:t>Our Proposed Fees</a:t>
            </a:r>
          </a:p>
          <a:p>
            <a:pPr marL="742950" lvl="3" indent="-742950" defTabSz="1042342">
              <a:spcAft>
                <a:spcPts val="1200"/>
              </a:spcAft>
              <a:buClr>
                <a:srgbClr val="FFE600"/>
              </a:buClr>
              <a:buSzPct val="100000"/>
              <a:buFont typeface="+mj-lt"/>
              <a:buAutoNum type="arabicPeriod"/>
              <a:defRPr/>
            </a:pPr>
            <a:r>
              <a:rPr lang="en-US" sz="2800" b="1" kern="0">
                <a:solidFill>
                  <a:srgbClr val="FFE600"/>
                </a:solidFill>
                <a:latin typeface="EYInterstate" panose="02000503020000020004" pitchFamily="2" charset="0"/>
              </a:rPr>
              <a:t>Appendix</a:t>
            </a:r>
          </a:p>
        </p:txBody>
      </p:sp>
      <p:grpSp>
        <p:nvGrpSpPr>
          <p:cNvPr id="10" name="Group 9">
            <a:extLst>
              <a:ext uri="{FF2B5EF4-FFF2-40B4-BE49-F238E27FC236}">
                <a16:creationId xmlns:a16="http://schemas.microsoft.com/office/drawing/2014/main" id="{A01F99EE-3BB0-4982-8CDA-0DB47603B60E}"/>
              </a:ext>
            </a:extLst>
          </p:cNvPr>
          <p:cNvGrpSpPr/>
          <p:nvPr/>
        </p:nvGrpSpPr>
        <p:grpSpPr>
          <a:xfrm>
            <a:off x="9686166" y="5935990"/>
            <a:ext cx="684000" cy="232949"/>
            <a:chOff x="9563141" y="2547476"/>
            <a:chExt cx="684000" cy="232949"/>
          </a:xfrm>
        </p:grpSpPr>
        <p:sp>
          <p:nvSpPr>
            <p:cNvPr id="11" name="Arrow: Chevron 3">
              <a:extLst>
                <a:ext uri="{FF2B5EF4-FFF2-40B4-BE49-F238E27FC236}">
                  <a16:creationId xmlns:a16="http://schemas.microsoft.com/office/drawing/2014/main" id="{D2BF9A0E-2389-4940-8496-513FE463B8AC}"/>
                </a:ext>
              </a:extLst>
            </p:cNvPr>
            <p:cNvSpPr/>
            <p:nvPr/>
          </p:nvSpPr>
          <p:spPr>
            <a:xfrm rot="10800000">
              <a:off x="9563141" y="2547476"/>
              <a:ext cx="276149" cy="232949"/>
            </a:xfrm>
            <a:prstGeom prst="chevron">
              <a:avLst/>
            </a:prstGeom>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50000"/>
                </a:spcAft>
                <a:buClr>
                  <a:srgbClr val="FFE600"/>
                </a:buClr>
                <a:buSzPct val="80000"/>
                <a:buFont typeface="Arial" charset="0"/>
                <a:buNone/>
                <a:tabLst/>
                <a:defRPr/>
              </a:pPr>
              <a:endParaRPr kumimoji="0" lang="en-US" sz="1400" b="1" i="0" u="none" strike="noStrike" kern="1200" cap="none" spc="0" normalizeH="0" baseline="0" noProof="0">
                <a:ln w="22225">
                  <a:solidFill>
                    <a:srgbClr val="FFE600"/>
                  </a:solidFill>
                  <a:prstDash val="solid"/>
                </a:ln>
                <a:solidFill>
                  <a:srgbClr val="FFE600">
                    <a:lumMod val="40000"/>
                    <a:lumOff val="60000"/>
                  </a:srgbClr>
                </a:solidFill>
                <a:effectLst/>
                <a:uLnTx/>
                <a:uFillTx/>
                <a:latin typeface="EYInterstate" panose="02000503020000020004" pitchFamily="2" charset="0"/>
                <a:ea typeface="+mn-ea"/>
                <a:cs typeface="+mn-cs"/>
              </a:endParaRPr>
            </a:p>
          </p:txBody>
        </p:sp>
        <p:sp>
          <p:nvSpPr>
            <p:cNvPr id="12" name="Arrow: Chevron 4">
              <a:extLst>
                <a:ext uri="{FF2B5EF4-FFF2-40B4-BE49-F238E27FC236}">
                  <a16:creationId xmlns:a16="http://schemas.microsoft.com/office/drawing/2014/main" id="{7E91B9B4-9770-48CB-9D95-B059104AA987}"/>
                </a:ext>
              </a:extLst>
            </p:cNvPr>
            <p:cNvSpPr/>
            <p:nvPr/>
          </p:nvSpPr>
          <p:spPr>
            <a:xfrm rot="10800000">
              <a:off x="9767067" y="2547476"/>
              <a:ext cx="276149" cy="232949"/>
            </a:xfrm>
            <a:prstGeom prst="chevron">
              <a:avLst/>
            </a:prstGeom>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50000"/>
                </a:spcAft>
                <a:buClr>
                  <a:srgbClr val="FFE600"/>
                </a:buClr>
                <a:buSzPct val="80000"/>
                <a:buFont typeface="Arial" charset="0"/>
                <a:buNone/>
                <a:tabLst/>
                <a:defRPr/>
              </a:pPr>
              <a:endParaRPr kumimoji="0" lang="en-US" sz="1400" b="1" i="0" u="none" strike="noStrike" kern="1200" cap="none" spc="0" normalizeH="0" baseline="0" noProof="0">
                <a:ln w="22225">
                  <a:solidFill>
                    <a:srgbClr val="FFE600"/>
                  </a:solidFill>
                  <a:prstDash val="solid"/>
                </a:ln>
                <a:solidFill>
                  <a:srgbClr val="FFE600">
                    <a:lumMod val="40000"/>
                    <a:lumOff val="60000"/>
                  </a:srgbClr>
                </a:solidFill>
                <a:effectLst/>
                <a:uLnTx/>
                <a:uFillTx/>
                <a:latin typeface="EYInterstate" panose="02000503020000020004" pitchFamily="2" charset="0"/>
                <a:ea typeface="+mn-ea"/>
                <a:cs typeface="+mn-cs"/>
              </a:endParaRPr>
            </a:p>
          </p:txBody>
        </p:sp>
        <p:sp>
          <p:nvSpPr>
            <p:cNvPr id="13" name="Arrow: Chevron 5">
              <a:extLst>
                <a:ext uri="{FF2B5EF4-FFF2-40B4-BE49-F238E27FC236}">
                  <a16:creationId xmlns:a16="http://schemas.microsoft.com/office/drawing/2014/main" id="{D7419B56-EA19-4F40-A31D-9C103AFC8EAC}"/>
                </a:ext>
              </a:extLst>
            </p:cNvPr>
            <p:cNvSpPr/>
            <p:nvPr/>
          </p:nvSpPr>
          <p:spPr>
            <a:xfrm rot="10800000">
              <a:off x="9970992" y="2547476"/>
              <a:ext cx="276149" cy="232949"/>
            </a:xfrm>
            <a:prstGeom prst="chevron">
              <a:avLst/>
            </a:prstGeom>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50000"/>
                </a:spcAft>
                <a:buClr>
                  <a:srgbClr val="FFE600"/>
                </a:buClr>
                <a:buSzPct val="80000"/>
                <a:buFont typeface="Arial" charset="0"/>
                <a:buNone/>
                <a:tabLst/>
                <a:defRPr/>
              </a:pPr>
              <a:endParaRPr kumimoji="0" lang="en-US" sz="1400" b="1" i="0" u="none" strike="noStrike" kern="1200" cap="none" spc="0" normalizeH="0" baseline="0" noProof="0">
                <a:ln w="22225">
                  <a:solidFill>
                    <a:srgbClr val="FFE600"/>
                  </a:solidFill>
                  <a:prstDash val="solid"/>
                </a:ln>
                <a:solidFill>
                  <a:srgbClr val="FFE600">
                    <a:lumMod val="40000"/>
                    <a:lumOff val="60000"/>
                  </a:srgbClr>
                </a:solidFill>
                <a:effectLst/>
                <a:uLnTx/>
                <a:uFillTx/>
                <a:latin typeface="EYInterstate" panose="02000503020000020004" pitchFamily="2" charset="0"/>
                <a:ea typeface="+mn-ea"/>
                <a:cs typeface="+mn-cs"/>
              </a:endParaRPr>
            </a:p>
          </p:txBody>
        </p:sp>
      </p:grpSp>
    </p:spTree>
    <p:extLst>
      <p:ext uri="{BB962C8B-B14F-4D97-AF65-F5344CB8AC3E}">
        <p14:creationId xmlns:p14="http://schemas.microsoft.com/office/powerpoint/2010/main" val="329528831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a:spLocks noChangeArrowheads="1"/>
          </p:cNvSpPr>
          <p:nvPr/>
        </p:nvSpPr>
        <p:spPr bwMode="auto">
          <a:xfrm>
            <a:off x="512541" y="370679"/>
            <a:ext cx="4870533" cy="4091505"/>
          </a:xfrm>
          <a:prstGeom prst="rect">
            <a:avLst/>
          </a:prstGeom>
          <a:noFill/>
          <a:ln w="12700">
            <a:noFill/>
            <a:miter lim="800000"/>
            <a:headEnd/>
            <a:tailEnd/>
          </a:ln>
        </p:spPr>
        <p:txBody>
          <a:bodyPr wrap="square" lIns="0" tIns="0" rIns="0" bIns="0">
            <a:spAutoFit/>
          </a:bodyPr>
          <a:lstStyle/>
          <a:p>
            <a:pPr defTabSz="937527">
              <a:spcBef>
                <a:spcPts val="1159"/>
              </a:spcBef>
              <a:spcAft>
                <a:spcPct val="0"/>
              </a:spcAft>
              <a:buClrTx/>
              <a:buSzTx/>
              <a:defRPr/>
            </a:pPr>
            <a:r>
              <a:rPr lang="en-US" sz="1322" b="1" kern="100" spc="-10">
                <a:solidFill>
                  <a:srgbClr val="FFFFFF"/>
                </a:solidFill>
                <a:latin typeface="EYInterstate" panose="02000503020000020004" pitchFamily="2" charset="0"/>
              </a:rPr>
              <a:t>EY</a:t>
            </a:r>
            <a:r>
              <a:rPr lang="en-US" sz="1102" b="1" kern="100" spc="-10">
                <a:solidFill>
                  <a:srgbClr val="FFFFFF"/>
                </a:solidFill>
                <a:latin typeface="EYInterstate" panose="02000503020000020004" pitchFamily="2" charset="0"/>
              </a:rPr>
              <a:t> </a:t>
            </a:r>
            <a:r>
              <a:rPr lang="en-US" sz="1102" kern="100" spc="-10">
                <a:solidFill>
                  <a:srgbClr val="FFFFFF"/>
                </a:solidFill>
                <a:latin typeface="EYInterstate" panose="02000503020000020004" pitchFamily="2" charset="0"/>
              </a:rPr>
              <a:t>|</a:t>
            </a:r>
            <a:r>
              <a:rPr lang="en-US" sz="1102" b="1" kern="100" spc="-10">
                <a:solidFill>
                  <a:srgbClr val="FFFFFF"/>
                </a:solidFill>
                <a:latin typeface="EYInterstate" panose="02000503020000020004" pitchFamily="2" charset="0"/>
              </a:rPr>
              <a:t> </a:t>
            </a:r>
            <a:r>
              <a:rPr lang="en-US" sz="1322" kern="100" spc="-10">
                <a:solidFill>
                  <a:srgbClr val="FFFFFF"/>
                </a:solidFill>
                <a:latin typeface="EYInterstate" panose="02000503020000020004" pitchFamily="2" charset="0"/>
              </a:rPr>
              <a:t>Assurance | Tax | Transactions | Advisory</a:t>
            </a:r>
          </a:p>
          <a:p>
            <a:pPr defTabSz="937527">
              <a:spcAft>
                <a:spcPct val="0"/>
              </a:spcAft>
              <a:buClrTx/>
              <a:buSzTx/>
              <a:defRPr/>
            </a:pPr>
            <a:endParaRPr lang="en-US" sz="992" b="1" kern="100" spc="-10">
              <a:solidFill>
                <a:srgbClr val="FFFFFF"/>
              </a:solidFill>
              <a:latin typeface="EYInterstate" panose="02000503020000020004" pitchFamily="2" charset="0"/>
            </a:endParaRPr>
          </a:p>
          <a:p>
            <a:pPr defTabSz="937527">
              <a:spcAft>
                <a:spcPct val="0"/>
              </a:spcAft>
              <a:buClrTx/>
              <a:buSzTx/>
              <a:defRPr/>
            </a:pPr>
            <a:r>
              <a:rPr lang="en-US" sz="992" b="1" kern="100" spc="-10">
                <a:solidFill>
                  <a:srgbClr val="FFFFFF"/>
                </a:solidFill>
                <a:latin typeface="EYInterstate" panose="02000503020000020004" pitchFamily="2" charset="0"/>
              </a:rPr>
              <a:t>About EY</a:t>
            </a:r>
          </a:p>
          <a:p>
            <a:pPr defTabSz="937527">
              <a:spcAft>
                <a:spcPct val="0"/>
              </a:spcAft>
              <a:buClrTx/>
              <a:buSzTx/>
              <a:defRPr/>
            </a:pPr>
            <a:r>
              <a:rPr lang="en-US" sz="992" kern="100" spc="-10">
                <a:solidFill>
                  <a:srgbClr val="FFFFFF"/>
                </a:solidFill>
                <a:latin typeface="EYInterstate" panose="02000503020000020004" pitchFamily="2" charset="0"/>
              </a:rPr>
              <a:t>EY is a global leader in assurance, tax, transaction and advisory services. The insights and quality services we deliver help build trust and confidence in the capital markets and in economies the world over. We develop outstanding leaders who team to deliver on our promises to all of our stakeholders. In so doing, we play a critical role in building a better working world for our people, for our clients and for our communities.</a:t>
            </a:r>
          </a:p>
          <a:p>
            <a:pPr defTabSz="937527">
              <a:spcBef>
                <a:spcPts val="869"/>
              </a:spcBef>
              <a:spcAft>
                <a:spcPct val="0"/>
              </a:spcAft>
              <a:buClrTx/>
              <a:buSzTx/>
              <a:defRPr/>
            </a:pPr>
            <a:r>
              <a:rPr lang="en-US" sz="992" kern="100" spc="-10">
                <a:solidFill>
                  <a:srgbClr val="FFFFFF"/>
                </a:solidFill>
                <a:latin typeface="EYInterstate" panose="02000503020000020004" pitchFamily="2" charset="0"/>
              </a:rPr>
              <a:t>EY refers to the global organization, and may refer to one or more, of the member firms of Ernst &amp; Young Global Limited, each of which is a separate legal entity. Ernst &amp; Young Global Limited, a UK company limited by guarantee, does not provide services to clients. For more information about our organization, please visit ey.com.</a:t>
            </a:r>
          </a:p>
          <a:p>
            <a:pPr defTabSz="937527">
              <a:spcBef>
                <a:spcPts val="869"/>
              </a:spcBef>
              <a:spcAft>
                <a:spcPct val="0"/>
              </a:spcAft>
              <a:buClrTx/>
              <a:buSzTx/>
              <a:defRPr/>
            </a:pPr>
            <a:endParaRPr lang="en-US" sz="992" kern="100" spc="-10">
              <a:solidFill>
                <a:srgbClr val="FFFFFF"/>
              </a:solidFill>
              <a:latin typeface="EYInterstate" panose="02000503020000020004" pitchFamily="2" charset="0"/>
            </a:endParaRPr>
          </a:p>
          <a:p>
            <a:pPr defTabSz="937527">
              <a:spcAft>
                <a:spcPct val="0"/>
              </a:spcAft>
              <a:buClrTx/>
              <a:buSzTx/>
              <a:defRPr/>
            </a:pPr>
            <a:br>
              <a:rPr lang="en-US" sz="1157" baseline="30000">
                <a:solidFill>
                  <a:srgbClr val="FFFFFF"/>
                </a:solidFill>
                <a:latin typeface="EYInterstate" panose="02000503020000020004" pitchFamily="2" charset="0"/>
              </a:rPr>
            </a:br>
            <a:r>
              <a:rPr lang="en-US" sz="992" kern="100" spc="-10">
                <a:solidFill>
                  <a:srgbClr val="FFFFFF"/>
                </a:solidFill>
                <a:latin typeface="EYInterstate" panose="02000503020000020004" pitchFamily="2" charset="0"/>
              </a:rPr>
              <a:t>Contact Details:</a:t>
            </a:r>
          </a:p>
          <a:p>
            <a:pPr defTabSz="937527">
              <a:spcAft>
                <a:spcPct val="0"/>
              </a:spcAft>
              <a:buClrTx/>
              <a:buSzTx/>
              <a:defRPr/>
            </a:pPr>
            <a:endParaRPr lang="en-US" sz="992" kern="100" spc="-10">
              <a:solidFill>
                <a:srgbClr val="FFFFFF"/>
              </a:solidFill>
              <a:latin typeface="EYInterstate" panose="02000503020000020004" pitchFamily="2" charset="0"/>
            </a:endParaRPr>
          </a:p>
          <a:p>
            <a:pPr defTabSz="933202">
              <a:spcAft>
                <a:spcPct val="0"/>
              </a:spcAft>
              <a:buClrTx/>
              <a:buSzTx/>
              <a:defRPr/>
            </a:pPr>
            <a:r>
              <a:rPr lang="en-US" sz="1157" b="1" kern="100" spc="-10">
                <a:solidFill>
                  <a:srgbClr val="FFFFFF"/>
                </a:solidFill>
                <a:latin typeface="EYInterstate" panose="02000503020000020004" pitchFamily="2" charset="0"/>
              </a:rPr>
              <a:t>Mark Wightman</a:t>
            </a:r>
          </a:p>
          <a:p>
            <a:pPr defTabSz="933202">
              <a:spcAft>
                <a:spcPct val="0"/>
              </a:spcAft>
              <a:buClrTx/>
              <a:buSzTx/>
              <a:defRPr/>
            </a:pPr>
            <a:r>
              <a:rPr lang="en-US" sz="1157" kern="100" spc="-10">
                <a:solidFill>
                  <a:srgbClr val="FFFFFF"/>
                </a:solidFill>
                <a:latin typeface="EYInterstate" panose="02000503020000020004" pitchFamily="2" charset="0"/>
              </a:rPr>
              <a:t>Partner, WAM ASEAN Lead &amp; APAC Advisory Lead</a:t>
            </a:r>
          </a:p>
          <a:p>
            <a:pPr defTabSz="933202">
              <a:spcAft>
                <a:spcPct val="0"/>
              </a:spcAft>
              <a:buClrTx/>
              <a:buSzTx/>
              <a:defRPr/>
            </a:pPr>
            <a:r>
              <a:rPr lang="en-US" sz="1157" kern="100" spc="-10">
                <a:solidFill>
                  <a:srgbClr val="FFFFFF"/>
                </a:solidFill>
                <a:latin typeface="EYInterstate" panose="02000503020000020004" pitchFamily="2" charset="0"/>
              </a:rPr>
              <a:t>Telephone: +65 6309 8245</a:t>
            </a:r>
          </a:p>
          <a:p>
            <a:pPr defTabSz="933202">
              <a:spcAft>
                <a:spcPct val="0"/>
              </a:spcAft>
              <a:buClrTx/>
              <a:buSzTx/>
              <a:defRPr/>
            </a:pPr>
            <a:r>
              <a:rPr lang="en-US" sz="1157" kern="100" spc="-10">
                <a:solidFill>
                  <a:srgbClr val="FFFFFF"/>
                </a:solidFill>
                <a:latin typeface="EYInterstate" panose="02000503020000020004" pitchFamily="2" charset="0"/>
              </a:rPr>
              <a:t>E-mail: Mark.Wightman@sg.ey.com</a:t>
            </a:r>
            <a:endParaRPr lang="en-US" sz="1157" b="1" kern="100" spc="-10">
              <a:solidFill>
                <a:srgbClr val="FFFFFF"/>
              </a:solidFill>
              <a:latin typeface="EYInterstate" panose="02000503020000020004" pitchFamily="2" charset="0"/>
            </a:endParaRPr>
          </a:p>
          <a:p>
            <a:pPr defTabSz="937527">
              <a:spcBef>
                <a:spcPts val="869"/>
              </a:spcBef>
              <a:spcAft>
                <a:spcPct val="0"/>
              </a:spcAft>
              <a:buClrTx/>
              <a:buSzTx/>
              <a:defRPr/>
            </a:pPr>
            <a:r>
              <a:rPr lang="en-US" sz="992" kern="100" spc="-10">
                <a:solidFill>
                  <a:srgbClr val="FFFFFF"/>
                </a:solidFill>
                <a:latin typeface="EYInterstate" panose="02000503020000020004" pitchFamily="2" charset="0"/>
              </a:rPr>
              <a:t>© 2020 Ernst &amp; Young Advisory Pte. Ltd, Singapore</a:t>
            </a:r>
          </a:p>
          <a:p>
            <a:pPr defTabSz="937527">
              <a:spcBef>
                <a:spcPts val="869"/>
              </a:spcBef>
              <a:spcAft>
                <a:spcPct val="0"/>
              </a:spcAft>
              <a:buClrTx/>
              <a:buSzTx/>
              <a:defRPr/>
            </a:pPr>
            <a:r>
              <a:rPr lang="en-US" sz="992" kern="100" spc="-10">
                <a:solidFill>
                  <a:srgbClr val="FFFFFF"/>
                </a:solidFill>
                <a:latin typeface="EYInterstate" panose="02000503020000020004" pitchFamily="2" charset="0"/>
              </a:rPr>
              <a:t>All Rights Reserved.</a:t>
            </a:r>
          </a:p>
        </p:txBody>
      </p:sp>
      <p:grpSp>
        <p:nvGrpSpPr>
          <p:cNvPr id="5" name="Group 4">
            <a:extLst>
              <a:ext uri="{FF2B5EF4-FFF2-40B4-BE49-F238E27FC236}">
                <a16:creationId xmlns:a16="http://schemas.microsoft.com/office/drawing/2014/main" id="{3429448E-5AD2-4605-A0D3-A3B2E20A265C}"/>
              </a:ext>
            </a:extLst>
          </p:cNvPr>
          <p:cNvGrpSpPr/>
          <p:nvPr/>
        </p:nvGrpSpPr>
        <p:grpSpPr>
          <a:xfrm>
            <a:off x="12010659" y="5932769"/>
            <a:ext cx="1128694" cy="1323982"/>
            <a:chOff x="17101804" y="1049411"/>
            <a:chExt cx="1082675" cy="1270001"/>
          </a:xfrm>
        </p:grpSpPr>
        <p:sp>
          <p:nvSpPr>
            <p:cNvPr id="6" name="Freeform 5">
              <a:extLst>
                <a:ext uri="{FF2B5EF4-FFF2-40B4-BE49-F238E27FC236}">
                  <a16:creationId xmlns:a16="http://schemas.microsoft.com/office/drawing/2014/main" id="{E2F91F65-F736-4DAE-A840-855CDF8B9695}"/>
                </a:ext>
              </a:extLst>
            </p:cNvPr>
            <p:cNvSpPr>
              <a:spLocks/>
            </p:cNvSpPr>
            <p:nvPr/>
          </p:nvSpPr>
          <p:spPr bwMode="auto">
            <a:xfrm>
              <a:off x="17101804" y="1049411"/>
              <a:ext cx="866775" cy="317500"/>
            </a:xfrm>
            <a:custGeom>
              <a:avLst/>
              <a:gdLst>
                <a:gd name="T0" fmla="*/ 2731 w 2731"/>
                <a:gd name="T1" fmla="*/ 0 h 998"/>
                <a:gd name="T2" fmla="*/ 0 w 2731"/>
                <a:gd name="T3" fmla="*/ 998 h 998"/>
                <a:gd name="T4" fmla="*/ 2731 w 2731"/>
                <a:gd name="T5" fmla="*/ 515 h 998"/>
                <a:gd name="T6" fmla="*/ 2731 w 2731"/>
                <a:gd name="T7" fmla="*/ 0 h 998"/>
                <a:gd name="T8" fmla="*/ 2731 w 2731"/>
                <a:gd name="T9" fmla="*/ 0 h 998"/>
              </a:gdLst>
              <a:ahLst/>
              <a:cxnLst>
                <a:cxn ang="0">
                  <a:pos x="T0" y="T1"/>
                </a:cxn>
                <a:cxn ang="0">
                  <a:pos x="T2" y="T3"/>
                </a:cxn>
                <a:cxn ang="0">
                  <a:pos x="T4" y="T5"/>
                </a:cxn>
                <a:cxn ang="0">
                  <a:pos x="T6" y="T7"/>
                </a:cxn>
                <a:cxn ang="0">
                  <a:pos x="T8" y="T9"/>
                </a:cxn>
              </a:cxnLst>
              <a:rect l="0" t="0" r="r" b="b"/>
              <a:pathLst>
                <a:path w="2731" h="998">
                  <a:moveTo>
                    <a:pt x="2731" y="0"/>
                  </a:moveTo>
                  <a:lnTo>
                    <a:pt x="0" y="998"/>
                  </a:lnTo>
                  <a:lnTo>
                    <a:pt x="2731" y="515"/>
                  </a:lnTo>
                  <a:lnTo>
                    <a:pt x="2731" y="0"/>
                  </a:lnTo>
                  <a:lnTo>
                    <a:pt x="2731" y="0"/>
                  </a:lnTo>
                  <a:close/>
                </a:path>
              </a:pathLst>
            </a:custGeom>
            <a:solidFill>
              <a:schemeClr val="tx2"/>
            </a:solidFill>
            <a:ln>
              <a:noFill/>
            </a:ln>
          </p:spPr>
          <p:txBody>
            <a:bodyPr vert="horz" wrap="square" lIns="95327" tIns="47663" rIns="95327" bIns="47663" numCol="1" anchor="t" anchorCtr="0" compatLnSpc="1">
              <a:prstTxWarp prst="textNoShape">
                <a:avLst/>
              </a:prstTxWarp>
            </a:bodyPr>
            <a:lstStyle/>
            <a:p>
              <a:pPr defTabSz="1095508" fontAlgn="auto">
                <a:spcBef>
                  <a:spcPts val="0"/>
                </a:spcBef>
                <a:spcAft>
                  <a:spcPts val="0"/>
                </a:spcAft>
                <a:buClrTx/>
                <a:buSzTx/>
                <a:defRPr/>
              </a:pPr>
              <a:endParaRPr lang="en-US" sz="1877">
                <a:solidFill>
                  <a:srgbClr val="FFFFFF"/>
                </a:solidFill>
                <a:latin typeface="Arial"/>
              </a:endParaRPr>
            </a:p>
          </p:txBody>
        </p:sp>
        <p:sp>
          <p:nvSpPr>
            <p:cNvPr id="7" name="Freeform 6">
              <a:extLst>
                <a:ext uri="{FF2B5EF4-FFF2-40B4-BE49-F238E27FC236}">
                  <a16:creationId xmlns:a16="http://schemas.microsoft.com/office/drawing/2014/main" id="{55BA4AF6-6B2E-4285-95C6-20320E14A801}"/>
                </a:ext>
              </a:extLst>
            </p:cNvPr>
            <p:cNvSpPr>
              <a:spLocks noEditPoints="1"/>
            </p:cNvSpPr>
            <p:nvPr/>
          </p:nvSpPr>
          <p:spPr bwMode="auto">
            <a:xfrm>
              <a:off x="17101804" y="1498674"/>
              <a:ext cx="1082675" cy="820738"/>
            </a:xfrm>
            <a:custGeom>
              <a:avLst/>
              <a:gdLst>
                <a:gd name="T0" fmla="*/ 251 w 3410"/>
                <a:gd name="T1" fmla="*/ 1750 h 2587"/>
                <a:gd name="T2" fmla="*/ 283 w 3410"/>
                <a:gd name="T3" fmla="*/ 1962 h 2587"/>
                <a:gd name="T4" fmla="*/ 166 w 3410"/>
                <a:gd name="T5" fmla="*/ 1850 h 2587"/>
                <a:gd name="T6" fmla="*/ 388 w 3410"/>
                <a:gd name="T7" fmla="*/ 1948 h 2587"/>
                <a:gd name="T8" fmla="*/ 445 w 3410"/>
                <a:gd name="T9" fmla="*/ 2060 h 2587"/>
                <a:gd name="T10" fmla="*/ 1272 w 3410"/>
                <a:gd name="T11" fmla="*/ 1817 h 2587"/>
                <a:gd name="T12" fmla="*/ 1341 w 3410"/>
                <a:gd name="T13" fmla="*/ 1895 h 2587"/>
                <a:gd name="T14" fmla="*/ 769 w 3410"/>
                <a:gd name="T15" fmla="*/ 2057 h 2587"/>
                <a:gd name="T16" fmla="*/ 812 w 3410"/>
                <a:gd name="T17" fmla="*/ 1918 h 2587"/>
                <a:gd name="T18" fmla="*/ 962 w 3410"/>
                <a:gd name="T19" fmla="*/ 2057 h 2587"/>
                <a:gd name="T20" fmla="*/ 941 w 3410"/>
                <a:gd name="T21" fmla="*/ 1867 h 2587"/>
                <a:gd name="T22" fmla="*/ 2236 w 3410"/>
                <a:gd name="T23" fmla="*/ 2045 h 2587"/>
                <a:gd name="T24" fmla="*/ 2378 w 3410"/>
                <a:gd name="T25" fmla="*/ 1891 h 2587"/>
                <a:gd name="T26" fmla="*/ 2317 w 3410"/>
                <a:gd name="T27" fmla="*/ 1965 h 2587"/>
                <a:gd name="T28" fmla="*/ 1590 w 3410"/>
                <a:gd name="T29" fmla="*/ 1824 h 2587"/>
                <a:gd name="T30" fmla="*/ 1449 w 3410"/>
                <a:gd name="T31" fmla="*/ 1974 h 2587"/>
                <a:gd name="T32" fmla="*/ 1589 w 3410"/>
                <a:gd name="T33" fmla="*/ 2082 h 2587"/>
                <a:gd name="T34" fmla="*/ 1656 w 3410"/>
                <a:gd name="T35" fmla="*/ 2050 h 2587"/>
                <a:gd name="T36" fmla="*/ 1522 w 3410"/>
                <a:gd name="T37" fmla="*/ 1876 h 2587"/>
                <a:gd name="T38" fmla="*/ 1951 w 3410"/>
                <a:gd name="T39" fmla="*/ 1882 h 2587"/>
                <a:gd name="T40" fmla="*/ 1820 w 3410"/>
                <a:gd name="T41" fmla="*/ 2032 h 2587"/>
                <a:gd name="T42" fmla="*/ 1979 w 3410"/>
                <a:gd name="T43" fmla="*/ 1824 h 2587"/>
                <a:gd name="T44" fmla="*/ 1904 w 3410"/>
                <a:gd name="T45" fmla="*/ 1941 h 2587"/>
                <a:gd name="T46" fmla="*/ 2576 w 3410"/>
                <a:gd name="T47" fmla="*/ 1987 h 2587"/>
                <a:gd name="T48" fmla="*/ 2609 w 3410"/>
                <a:gd name="T49" fmla="*/ 1860 h 2587"/>
                <a:gd name="T50" fmla="*/ 2412 w 3410"/>
                <a:gd name="T51" fmla="*/ 1935 h 2587"/>
                <a:gd name="T52" fmla="*/ 2475 w 3410"/>
                <a:gd name="T53" fmla="*/ 1909 h 2587"/>
                <a:gd name="T54" fmla="*/ 3114 w 3410"/>
                <a:gd name="T55" fmla="*/ 2007 h 2587"/>
                <a:gd name="T56" fmla="*/ 3150 w 3410"/>
                <a:gd name="T57" fmla="*/ 1816 h 2587"/>
                <a:gd name="T58" fmla="*/ 3016 w 3410"/>
                <a:gd name="T59" fmla="*/ 2010 h 2587"/>
                <a:gd name="T60" fmla="*/ 3081 w 3410"/>
                <a:gd name="T61" fmla="*/ 1866 h 2587"/>
                <a:gd name="T62" fmla="*/ 2969 w 3410"/>
                <a:gd name="T63" fmla="*/ 1999 h 2587"/>
                <a:gd name="T64" fmla="*/ 2969 w 3410"/>
                <a:gd name="T65" fmla="*/ 1812 h 2587"/>
                <a:gd name="T66" fmla="*/ 2680 w 3410"/>
                <a:gd name="T67" fmla="*/ 1749 h 2587"/>
                <a:gd name="T68" fmla="*/ 3354 w 3410"/>
                <a:gd name="T69" fmla="*/ 1867 h 2587"/>
                <a:gd name="T70" fmla="*/ 3410 w 3410"/>
                <a:gd name="T71" fmla="*/ 1821 h 2587"/>
                <a:gd name="T72" fmla="*/ 2786 w 3410"/>
                <a:gd name="T73" fmla="*/ 2245 h 2587"/>
                <a:gd name="T74" fmla="*/ 2668 w 3410"/>
                <a:gd name="T75" fmla="*/ 2439 h 2587"/>
                <a:gd name="T76" fmla="*/ 2753 w 3410"/>
                <a:gd name="T77" fmla="*/ 2436 h 2587"/>
                <a:gd name="T78" fmla="*/ 2788 w 3410"/>
                <a:gd name="T79" fmla="*/ 2428 h 2587"/>
                <a:gd name="T80" fmla="*/ 664 w 3410"/>
                <a:gd name="T81" fmla="*/ 2256 h 2587"/>
                <a:gd name="T82" fmla="*/ 0 w 3410"/>
                <a:gd name="T83" fmla="*/ 2242 h 2587"/>
                <a:gd name="T84" fmla="*/ 377 w 3410"/>
                <a:gd name="T85" fmla="*/ 2264 h 2587"/>
                <a:gd name="T86" fmla="*/ 461 w 3410"/>
                <a:gd name="T87" fmla="*/ 2492 h 2587"/>
                <a:gd name="T88" fmla="*/ 494 w 3410"/>
                <a:gd name="T89" fmla="*/ 2245 h 2587"/>
                <a:gd name="T90" fmla="*/ 469 w 3410"/>
                <a:gd name="T91" fmla="*/ 2298 h 2587"/>
                <a:gd name="T92" fmla="*/ 2433 w 3410"/>
                <a:gd name="T93" fmla="*/ 2311 h 2587"/>
                <a:gd name="T94" fmla="*/ 2018 w 3410"/>
                <a:gd name="T95" fmla="*/ 2487 h 2587"/>
                <a:gd name="T96" fmla="*/ 2006 w 3410"/>
                <a:gd name="T97" fmla="*/ 2332 h 2587"/>
                <a:gd name="T98" fmla="*/ 2124 w 3410"/>
                <a:gd name="T99" fmla="*/ 2448 h 2587"/>
                <a:gd name="T100" fmla="*/ 2323 w 3410"/>
                <a:gd name="T101" fmla="*/ 2350 h 2587"/>
                <a:gd name="T102" fmla="*/ 2162 w 3410"/>
                <a:gd name="T103" fmla="*/ 2365 h 2587"/>
                <a:gd name="T104" fmla="*/ 2211 w 3410"/>
                <a:gd name="T105" fmla="*/ 2436 h 2587"/>
                <a:gd name="T106" fmla="*/ 1255 w 3410"/>
                <a:gd name="T107" fmla="*/ 2238 h 2587"/>
                <a:gd name="T108" fmla="*/ 1286 w 3410"/>
                <a:gd name="T109" fmla="*/ 2300 h 2587"/>
                <a:gd name="T110" fmla="*/ 1470 w 3410"/>
                <a:gd name="T111" fmla="*/ 2240 h 2587"/>
                <a:gd name="T112" fmla="*/ 1478 w 3410"/>
                <a:gd name="T113" fmla="*/ 2491 h 2587"/>
                <a:gd name="T114" fmla="*/ 1495 w 3410"/>
                <a:gd name="T115" fmla="*/ 2587 h 2587"/>
                <a:gd name="T116" fmla="*/ 1532 w 3410"/>
                <a:gd name="T117" fmla="*/ 2432 h 2587"/>
                <a:gd name="T118" fmla="*/ 1548 w 3410"/>
                <a:gd name="T119" fmla="*/ 2308 h 2587"/>
                <a:gd name="T120" fmla="*/ 439 w 3410"/>
                <a:gd name="T121" fmla="*/ 547 h 25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410" h="2587">
                  <a:moveTo>
                    <a:pt x="284" y="1950"/>
                  </a:moveTo>
                  <a:lnTo>
                    <a:pt x="284" y="1950"/>
                  </a:lnTo>
                  <a:lnTo>
                    <a:pt x="284" y="1941"/>
                  </a:lnTo>
                  <a:lnTo>
                    <a:pt x="283" y="1934"/>
                  </a:lnTo>
                  <a:lnTo>
                    <a:pt x="279" y="1920"/>
                  </a:lnTo>
                  <a:lnTo>
                    <a:pt x="273" y="1907"/>
                  </a:lnTo>
                  <a:lnTo>
                    <a:pt x="266" y="1898"/>
                  </a:lnTo>
                  <a:lnTo>
                    <a:pt x="257" y="1890"/>
                  </a:lnTo>
                  <a:lnTo>
                    <a:pt x="249" y="1884"/>
                  </a:lnTo>
                  <a:lnTo>
                    <a:pt x="241" y="1879"/>
                  </a:lnTo>
                  <a:lnTo>
                    <a:pt x="234" y="1876"/>
                  </a:lnTo>
                  <a:lnTo>
                    <a:pt x="234" y="1876"/>
                  </a:lnTo>
                  <a:lnTo>
                    <a:pt x="243" y="1869"/>
                  </a:lnTo>
                  <a:lnTo>
                    <a:pt x="250" y="1863"/>
                  </a:lnTo>
                  <a:lnTo>
                    <a:pt x="256" y="1856"/>
                  </a:lnTo>
                  <a:lnTo>
                    <a:pt x="262" y="1848"/>
                  </a:lnTo>
                  <a:lnTo>
                    <a:pt x="267" y="1839"/>
                  </a:lnTo>
                  <a:lnTo>
                    <a:pt x="269" y="1829"/>
                  </a:lnTo>
                  <a:lnTo>
                    <a:pt x="272" y="1819"/>
                  </a:lnTo>
                  <a:lnTo>
                    <a:pt x="272" y="1808"/>
                  </a:lnTo>
                  <a:lnTo>
                    <a:pt x="272" y="1808"/>
                  </a:lnTo>
                  <a:lnTo>
                    <a:pt x="272" y="1799"/>
                  </a:lnTo>
                  <a:lnTo>
                    <a:pt x="271" y="1789"/>
                  </a:lnTo>
                  <a:lnTo>
                    <a:pt x="268" y="1780"/>
                  </a:lnTo>
                  <a:lnTo>
                    <a:pt x="266" y="1772"/>
                  </a:lnTo>
                  <a:lnTo>
                    <a:pt x="262" y="1763"/>
                  </a:lnTo>
                  <a:lnTo>
                    <a:pt x="257" y="1756"/>
                  </a:lnTo>
                  <a:lnTo>
                    <a:pt x="251" y="1750"/>
                  </a:lnTo>
                  <a:lnTo>
                    <a:pt x="245" y="1744"/>
                  </a:lnTo>
                  <a:lnTo>
                    <a:pt x="238" y="1739"/>
                  </a:lnTo>
                  <a:lnTo>
                    <a:pt x="230" y="1734"/>
                  </a:lnTo>
                  <a:lnTo>
                    <a:pt x="222" y="1730"/>
                  </a:lnTo>
                  <a:lnTo>
                    <a:pt x="212" y="1727"/>
                  </a:lnTo>
                  <a:lnTo>
                    <a:pt x="202" y="1724"/>
                  </a:lnTo>
                  <a:lnTo>
                    <a:pt x="191" y="1722"/>
                  </a:lnTo>
                  <a:lnTo>
                    <a:pt x="180" y="1722"/>
                  </a:lnTo>
                  <a:lnTo>
                    <a:pt x="168" y="1721"/>
                  </a:lnTo>
                  <a:lnTo>
                    <a:pt x="24" y="1721"/>
                  </a:lnTo>
                  <a:lnTo>
                    <a:pt x="24" y="2057"/>
                  </a:lnTo>
                  <a:lnTo>
                    <a:pt x="167" y="2057"/>
                  </a:lnTo>
                  <a:lnTo>
                    <a:pt x="167" y="2057"/>
                  </a:lnTo>
                  <a:lnTo>
                    <a:pt x="180" y="2057"/>
                  </a:lnTo>
                  <a:lnTo>
                    <a:pt x="193" y="2056"/>
                  </a:lnTo>
                  <a:lnTo>
                    <a:pt x="205" y="2054"/>
                  </a:lnTo>
                  <a:lnTo>
                    <a:pt x="216" y="2050"/>
                  </a:lnTo>
                  <a:lnTo>
                    <a:pt x="227" y="2046"/>
                  </a:lnTo>
                  <a:lnTo>
                    <a:pt x="236" y="2042"/>
                  </a:lnTo>
                  <a:lnTo>
                    <a:pt x="245" y="2035"/>
                  </a:lnTo>
                  <a:lnTo>
                    <a:pt x="252" y="2029"/>
                  </a:lnTo>
                  <a:lnTo>
                    <a:pt x="260" y="2022"/>
                  </a:lnTo>
                  <a:lnTo>
                    <a:pt x="266" y="2013"/>
                  </a:lnTo>
                  <a:lnTo>
                    <a:pt x="272" y="2005"/>
                  </a:lnTo>
                  <a:lnTo>
                    <a:pt x="275" y="1995"/>
                  </a:lnTo>
                  <a:lnTo>
                    <a:pt x="279" y="1985"/>
                  </a:lnTo>
                  <a:lnTo>
                    <a:pt x="282" y="1974"/>
                  </a:lnTo>
                  <a:lnTo>
                    <a:pt x="283" y="1962"/>
                  </a:lnTo>
                  <a:lnTo>
                    <a:pt x="284" y="1950"/>
                  </a:lnTo>
                  <a:lnTo>
                    <a:pt x="284" y="1950"/>
                  </a:lnTo>
                  <a:lnTo>
                    <a:pt x="284" y="1950"/>
                  </a:lnTo>
                  <a:close/>
                  <a:moveTo>
                    <a:pt x="167" y="2001"/>
                  </a:moveTo>
                  <a:lnTo>
                    <a:pt x="87" y="2001"/>
                  </a:lnTo>
                  <a:lnTo>
                    <a:pt x="87" y="1905"/>
                  </a:lnTo>
                  <a:lnTo>
                    <a:pt x="167" y="1905"/>
                  </a:lnTo>
                  <a:lnTo>
                    <a:pt x="167" y="1905"/>
                  </a:lnTo>
                  <a:lnTo>
                    <a:pt x="179" y="1906"/>
                  </a:lnTo>
                  <a:lnTo>
                    <a:pt x="189" y="1907"/>
                  </a:lnTo>
                  <a:lnTo>
                    <a:pt x="197" y="1911"/>
                  </a:lnTo>
                  <a:lnTo>
                    <a:pt x="205" y="1917"/>
                  </a:lnTo>
                  <a:lnTo>
                    <a:pt x="211" y="1923"/>
                  </a:lnTo>
                  <a:lnTo>
                    <a:pt x="214" y="1932"/>
                  </a:lnTo>
                  <a:lnTo>
                    <a:pt x="217" y="1941"/>
                  </a:lnTo>
                  <a:lnTo>
                    <a:pt x="218" y="1952"/>
                  </a:lnTo>
                  <a:lnTo>
                    <a:pt x="218" y="1952"/>
                  </a:lnTo>
                  <a:lnTo>
                    <a:pt x="217" y="1963"/>
                  </a:lnTo>
                  <a:lnTo>
                    <a:pt x="214" y="1973"/>
                  </a:lnTo>
                  <a:lnTo>
                    <a:pt x="210" y="1982"/>
                  </a:lnTo>
                  <a:lnTo>
                    <a:pt x="205" y="1988"/>
                  </a:lnTo>
                  <a:lnTo>
                    <a:pt x="197" y="1994"/>
                  </a:lnTo>
                  <a:lnTo>
                    <a:pt x="189" y="1998"/>
                  </a:lnTo>
                  <a:lnTo>
                    <a:pt x="178" y="2000"/>
                  </a:lnTo>
                  <a:lnTo>
                    <a:pt x="167" y="2001"/>
                  </a:lnTo>
                  <a:lnTo>
                    <a:pt x="167" y="2001"/>
                  </a:lnTo>
                  <a:lnTo>
                    <a:pt x="167" y="2001"/>
                  </a:lnTo>
                  <a:close/>
                  <a:moveTo>
                    <a:pt x="166" y="1850"/>
                  </a:moveTo>
                  <a:lnTo>
                    <a:pt x="87" y="1850"/>
                  </a:lnTo>
                  <a:lnTo>
                    <a:pt x="87" y="1778"/>
                  </a:lnTo>
                  <a:lnTo>
                    <a:pt x="163" y="1778"/>
                  </a:lnTo>
                  <a:lnTo>
                    <a:pt x="163" y="1778"/>
                  </a:lnTo>
                  <a:lnTo>
                    <a:pt x="173" y="1779"/>
                  </a:lnTo>
                  <a:lnTo>
                    <a:pt x="183" y="1780"/>
                  </a:lnTo>
                  <a:lnTo>
                    <a:pt x="190" y="1783"/>
                  </a:lnTo>
                  <a:lnTo>
                    <a:pt x="196" y="1787"/>
                  </a:lnTo>
                  <a:lnTo>
                    <a:pt x="201" y="1793"/>
                  </a:lnTo>
                  <a:lnTo>
                    <a:pt x="205" y="1799"/>
                  </a:lnTo>
                  <a:lnTo>
                    <a:pt x="206" y="1806"/>
                  </a:lnTo>
                  <a:lnTo>
                    <a:pt x="207" y="1815"/>
                  </a:lnTo>
                  <a:lnTo>
                    <a:pt x="207" y="1815"/>
                  </a:lnTo>
                  <a:lnTo>
                    <a:pt x="207" y="1821"/>
                  </a:lnTo>
                  <a:lnTo>
                    <a:pt x="206" y="1827"/>
                  </a:lnTo>
                  <a:lnTo>
                    <a:pt x="204" y="1833"/>
                  </a:lnTo>
                  <a:lnTo>
                    <a:pt x="200" y="1838"/>
                  </a:lnTo>
                  <a:lnTo>
                    <a:pt x="194" y="1843"/>
                  </a:lnTo>
                  <a:lnTo>
                    <a:pt x="186" y="1846"/>
                  </a:lnTo>
                  <a:lnTo>
                    <a:pt x="178" y="1849"/>
                  </a:lnTo>
                  <a:lnTo>
                    <a:pt x="166" y="1850"/>
                  </a:lnTo>
                  <a:lnTo>
                    <a:pt x="166" y="1850"/>
                  </a:lnTo>
                  <a:lnTo>
                    <a:pt x="166" y="1850"/>
                  </a:lnTo>
                  <a:close/>
                  <a:moveTo>
                    <a:pt x="327" y="1951"/>
                  </a:moveTo>
                  <a:lnTo>
                    <a:pt x="327" y="1812"/>
                  </a:lnTo>
                  <a:lnTo>
                    <a:pt x="388" y="1812"/>
                  </a:lnTo>
                  <a:lnTo>
                    <a:pt x="388" y="1948"/>
                  </a:lnTo>
                  <a:lnTo>
                    <a:pt x="388" y="1948"/>
                  </a:lnTo>
                  <a:lnTo>
                    <a:pt x="388" y="1961"/>
                  </a:lnTo>
                  <a:lnTo>
                    <a:pt x="390" y="1974"/>
                  </a:lnTo>
                  <a:lnTo>
                    <a:pt x="394" y="1984"/>
                  </a:lnTo>
                  <a:lnTo>
                    <a:pt x="399" y="1993"/>
                  </a:lnTo>
                  <a:lnTo>
                    <a:pt x="405" y="1999"/>
                  </a:lnTo>
                  <a:lnTo>
                    <a:pt x="412" y="2004"/>
                  </a:lnTo>
                  <a:lnTo>
                    <a:pt x="422" y="2006"/>
                  </a:lnTo>
                  <a:lnTo>
                    <a:pt x="433" y="2007"/>
                  </a:lnTo>
                  <a:lnTo>
                    <a:pt x="433" y="2007"/>
                  </a:lnTo>
                  <a:lnTo>
                    <a:pt x="444" y="2006"/>
                  </a:lnTo>
                  <a:lnTo>
                    <a:pt x="452" y="2004"/>
                  </a:lnTo>
                  <a:lnTo>
                    <a:pt x="461" y="1999"/>
                  </a:lnTo>
                  <a:lnTo>
                    <a:pt x="467" y="1993"/>
                  </a:lnTo>
                  <a:lnTo>
                    <a:pt x="472" y="1984"/>
                  </a:lnTo>
                  <a:lnTo>
                    <a:pt x="475" y="1973"/>
                  </a:lnTo>
                  <a:lnTo>
                    <a:pt x="478" y="1961"/>
                  </a:lnTo>
                  <a:lnTo>
                    <a:pt x="478" y="1948"/>
                  </a:lnTo>
                  <a:lnTo>
                    <a:pt x="478" y="1812"/>
                  </a:lnTo>
                  <a:lnTo>
                    <a:pt x="539" y="1812"/>
                  </a:lnTo>
                  <a:lnTo>
                    <a:pt x="539" y="2057"/>
                  </a:lnTo>
                  <a:lnTo>
                    <a:pt x="478" y="2057"/>
                  </a:lnTo>
                  <a:lnTo>
                    <a:pt x="478" y="2038"/>
                  </a:lnTo>
                  <a:lnTo>
                    <a:pt x="478" y="2038"/>
                  </a:lnTo>
                  <a:lnTo>
                    <a:pt x="473" y="2044"/>
                  </a:lnTo>
                  <a:lnTo>
                    <a:pt x="466" y="2049"/>
                  </a:lnTo>
                  <a:lnTo>
                    <a:pt x="459" y="2054"/>
                  </a:lnTo>
                  <a:lnTo>
                    <a:pt x="452" y="2056"/>
                  </a:lnTo>
                  <a:lnTo>
                    <a:pt x="445" y="2060"/>
                  </a:lnTo>
                  <a:lnTo>
                    <a:pt x="436" y="2061"/>
                  </a:lnTo>
                  <a:lnTo>
                    <a:pt x="428" y="2062"/>
                  </a:lnTo>
                  <a:lnTo>
                    <a:pt x="419" y="2064"/>
                  </a:lnTo>
                  <a:lnTo>
                    <a:pt x="419" y="2064"/>
                  </a:lnTo>
                  <a:lnTo>
                    <a:pt x="405" y="2062"/>
                  </a:lnTo>
                  <a:lnTo>
                    <a:pt x="392" y="2060"/>
                  </a:lnTo>
                  <a:lnTo>
                    <a:pt x="381" y="2056"/>
                  </a:lnTo>
                  <a:lnTo>
                    <a:pt x="370" y="2051"/>
                  </a:lnTo>
                  <a:lnTo>
                    <a:pt x="362" y="2045"/>
                  </a:lnTo>
                  <a:lnTo>
                    <a:pt x="355" y="2039"/>
                  </a:lnTo>
                  <a:lnTo>
                    <a:pt x="349" y="2031"/>
                  </a:lnTo>
                  <a:lnTo>
                    <a:pt x="342" y="2022"/>
                  </a:lnTo>
                  <a:lnTo>
                    <a:pt x="339" y="2013"/>
                  </a:lnTo>
                  <a:lnTo>
                    <a:pt x="335" y="2005"/>
                  </a:lnTo>
                  <a:lnTo>
                    <a:pt x="330" y="1985"/>
                  </a:lnTo>
                  <a:lnTo>
                    <a:pt x="328" y="1967"/>
                  </a:lnTo>
                  <a:lnTo>
                    <a:pt x="327" y="1951"/>
                  </a:lnTo>
                  <a:lnTo>
                    <a:pt x="327" y="1951"/>
                  </a:lnTo>
                  <a:lnTo>
                    <a:pt x="327" y="1951"/>
                  </a:lnTo>
                  <a:close/>
                  <a:moveTo>
                    <a:pt x="1253" y="2057"/>
                  </a:moveTo>
                  <a:lnTo>
                    <a:pt x="1192" y="2057"/>
                  </a:lnTo>
                  <a:lnTo>
                    <a:pt x="1192" y="1812"/>
                  </a:lnTo>
                  <a:lnTo>
                    <a:pt x="1253" y="1812"/>
                  </a:lnTo>
                  <a:lnTo>
                    <a:pt x="1253" y="1833"/>
                  </a:lnTo>
                  <a:lnTo>
                    <a:pt x="1253" y="1833"/>
                  </a:lnTo>
                  <a:lnTo>
                    <a:pt x="1259" y="1827"/>
                  </a:lnTo>
                  <a:lnTo>
                    <a:pt x="1265" y="1821"/>
                  </a:lnTo>
                  <a:lnTo>
                    <a:pt x="1272" y="1817"/>
                  </a:lnTo>
                  <a:lnTo>
                    <a:pt x="1280" y="1813"/>
                  </a:lnTo>
                  <a:lnTo>
                    <a:pt x="1288" y="1810"/>
                  </a:lnTo>
                  <a:lnTo>
                    <a:pt x="1296" y="1808"/>
                  </a:lnTo>
                  <a:lnTo>
                    <a:pt x="1305" y="1807"/>
                  </a:lnTo>
                  <a:lnTo>
                    <a:pt x="1314" y="1806"/>
                  </a:lnTo>
                  <a:lnTo>
                    <a:pt x="1314" y="1806"/>
                  </a:lnTo>
                  <a:lnTo>
                    <a:pt x="1325" y="1807"/>
                  </a:lnTo>
                  <a:lnTo>
                    <a:pt x="1335" y="1808"/>
                  </a:lnTo>
                  <a:lnTo>
                    <a:pt x="1344" y="1811"/>
                  </a:lnTo>
                  <a:lnTo>
                    <a:pt x="1353" y="1813"/>
                  </a:lnTo>
                  <a:lnTo>
                    <a:pt x="1361" y="1817"/>
                  </a:lnTo>
                  <a:lnTo>
                    <a:pt x="1369" y="1823"/>
                  </a:lnTo>
                  <a:lnTo>
                    <a:pt x="1375" y="1828"/>
                  </a:lnTo>
                  <a:lnTo>
                    <a:pt x="1381" y="1835"/>
                  </a:lnTo>
                  <a:lnTo>
                    <a:pt x="1387" y="1843"/>
                  </a:lnTo>
                  <a:lnTo>
                    <a:pt x="1391" y="1851"/>
                  </a:lnTo>
                  <a:lnTo>
                    <a:pt x="1395" y="1860"/>
                  </a:lnTo>
                  <a:lnTo>
                    <a:pt x="1398" y="1869"/>
                  </a:lnTo>
                  <a:lnTo>
                    <a:pt x="1400" y="1880"/>
                  </a:lnTo>
                  <a:lnTo>
                    <a:pt x="1403" y="1893"/>
                  </a:lnTo>
                  <a:lnTo>
                    <a:pt x="1404" y="1905"/>
                  </a:lnTo>
                  <a:lnTo>
                    <a:pt x="1404" y="1918"/>
                  </a:lnTo>
                  <a:lnTo>
                    <a:pt x="1404" y="2057"/>
                  </a:lnTo>
                  <a:lnTo>
                    <a:pt x="1343" y="2057"/>
                  </a:lnTo>
                  <a:lnTo>
                    <a:pt x="1343" y="1922"/>
                  </a:lnTo>
                  <a:lnTo>
                    <a:pt x="1343" y="1922"/>
                  </a:lnTo>
                  <a:lnTo>
                    <a:pt x="1343" y="1907"/>
                  </a:lnTo>
                  <a:lnTo>
                    <a:pt x="1341" y="1895"/>
                  </a:lnTo>
                  <a:lnTo>
                    <a:pt x="1337" y="1885"/>
                  </a:lnTo>
                  <a:lnTo>
                    <a:pt x="1332" y="1877"/>
                  </a:lnTo>
                  <a:lnTo>
                    <a:pt x="1326" y="1871"/>
                  </a:lnTo>
                  <a:lnTo>
                    <a:pt x="1319" y="1866"/>
                  </a:lnTo>
                  <a:lnTo>
                    <a:pt x="1310" y="1863"/>
                  </a:lnTo>
                  <a:lnTo>
                    <a:pt x="1299" y="1862"/>
                  </a:lnTo>
                  <a:lnTo>
                    <a:pt x="1299" y="1862"/>
                  </a:lnTo>
                  <a:lnTo>
                    <a:pt x="1288" y="1863"/>
                  </a:lnTo>
                  <a:lnTo>
                    <a:pt x="1278" y="1866"/>
                  </a:lnTo>
                  <a:lnTo>
                    <a:pt x="1271" y="1871"/>
                  </a:lnTo>
                  <a:lnTo>
                    <a:pt x="1265" y="1877"/>
                  </a:lnTo>
                  <a:lnTo>
                    <a:pt x="1259" y="1885"/>
                  </a:lnTo>
                  <a:lnTo>
                    <a:pt x="1255" y="1896"/>
                  </a:lnTo>
                  <a:lnTo>
                    <a:pt x="1253" y="1909"/>
                  </a:lnTo>
                  <a:lnTo>
                    <a:pt x="1253" y="1922"/>
                  </a:lnTo>
                  <a:lnTo>
                    <a:pt x="1253" y="2057"/>
                  </a:lnTo>
                  <a:lnTo>
                    <a:pt x="1253" y="2057"/>
                  </a:lnTo>
                  <a:close/>
                  <a:moveTo>
                    <a:pt x="654" y="1927"/>
                  </a:moveTo>
                  <a:lnTo>
                    <a:pt x="654" y="2057"/>
                  </a:lnTo>
                  <a:lnTo>
                    <a:pt x="594" y="2057"/>
                  </a:lnTo>
                  <a:lnTo>
                    <a:pt x="594" y="1812"/>
                  </a:lnTo>
                  <a:lnTo>
                    <a:pt x="654" y="1812"/>
                  </a:lnTo>
                  <a:lnTo>
                    <a:pt x="654" y="1927"/>
                  </a:lnTo>
                  <a:lnTo>
                    <a:pt x="654" y="1927"/>
                  </a:lnTo>
                  <a:close/>
                  <a:moveTo>
                    <a:pt x="708" y="1740"/>
                  </a:moveTo>
                  <a:lnTo>
                    <a:pt x="769" y="1710"/>
                  </a:lnTo>
                  <a:lnTo>
                    <a:pt x="769" y="1932"/>
                  </a:lnTo>
                  <a:lnTo>
                    <a:pt x="769" y="2057"/>
                  </a:lnTo>
                  <a:lnTo>
                    <a:pt x="708" y="2057"/>
                  </a:lnTo>
                  <a:lnTo>
                    <a:pt x="708" y="1740"/>
                  </a:lnTo>
                  <a:lnTo>
                    <a:pt x="708" y="1740"/>
                  </a:lnTo>
                  <a:close/>
                  <a:moveTo>
                    <a:pt x="962" y="1829"/>
                  </a:moveTo>
                  <a:lnTo>
                    <a:pt x="962" y="1829"/>
                  </a:lnTo>
                  <a:lnTo>
                    <a:pt x="957" y="1823"/>
                  </a:lnTo>
                  <a:lnTo>
                    <a:pt x="951" y="1819"/>
                  </a:lnTo>
                  <a:lnTo>
                    <a:pt x="943" y="1815"/>
                  </a:lnTo>
                  <a:lnTo>
                    <a:pt x="937" y="1812"/>
                  </a:lnTo>
                  <a:lnTo>
                    <a:pt x="930" y="1810"/>
                  </a:lnTo>
                  <a:lnTo>
                    <a:pt x="923" y="1807"/>
                  </a:lnTo>
                  <a:lnTo>
                    <a:pt x="908" y="1806"/>
                  </a:lnTo>
                  <a:lnTo>
                    <a:pt x="908" y="1806"/>
                  </a:lnTo>
                  <a:lnTo>
                    <a:pt x="897" y="1807"/>
                  </a:lnTo>
                  <a:lnTo>
                    <a:pt x="886" y="1808"/>
                  </a:lnTo>
                  <a:lnTo>
                    <a:pt x="876" y="1811"/>
                  </a:lnTo>
                  <a:lnTo>
                    <a:pt x="868" y="1815"/>
                  </a:lnTo>
                  <a:lnTo>
                    <a:pt x="859" y="1819"/>
                  </a:lnTo>
                  <a:lnTo>
                    <a:pt x="851" y="1826"/>
                  </a:lnTo>
                  <a:lnTo>
                    <a:pt x="843" y="1833"/>
                  </a:lnTo>
                  <a:lnTo>
                    <a:pt x="837" y="1840"/>
                  </a:lnTo>
                  <a:lnTo>
                    <a:pt x="831" y="1849"/>
                  </a:lnTo>
                  <a:lnTo>
                    <a:pt x="826" y="1859"/>
                  </a:lnTo>
                  <a:lnTo>
                    <a:pt x="821" y="1868"/>
                  </a:lnTo>
                  <a:lnTo>
                    <a:pt x="818" y="1879"/>
                  </a:lnTo>
                  <a:lnTo>
                    <a:pt x="815" y="1891"/>
                  </a:lnTo>
                  <a:lnTo>
                    <a:pt x="813" y="1905"/>
                  </a:lnTo>
                  <a:lnTo>
                    <a:pt x="812" y="1918"/>
                  </a:lnTo>
                  <a:lnTo>
                    <a:pt x="812" y="1932"/>
                  </a:lnTo>
                  <a:lnTo>
                    <a:pt x="812" y="1932"/>
                  </a:lnTo>
                  <a:lnTo>
                    <a:pt x="812" y="1948"/>
                  </a:lnTo>
                  <a:lnTo>
                    <a:pt x="813" y="1961"/>
                  </a:lnTo>
                  <a:lnTo>
                    <a:pt x="815" y="1974"/>
                  </a:lnTo>
                  <a:lnTo>
                    <a:pt x="818" y="1987"/>
                  </a:lnTo>
                  <a:lnTo>
                    <a:pt x="821" y="1999"/>
                  </a:lnTo>
                  <a:lnTo>
                    <a:pt x="825" y="2010"/>
                  </a:lnTo>
                  <a:lnTo>
                    <a:pt x="830" y="2020"/>
                  </a:lnTo>
                  <a:lnTo>
                    <a:pt x="836" y="2028"/>
                  </a:lnTo>
                  <a:lnTo>
                    <a:pt x="843" y="2037"/>
                  </a:lnTo>
                  <a:lnTo>
                    <a:pt x="849" y="2043"/>
                  </a:lnTo>
                  <a:lnTo>
                    <a:pt x="858" y="2049"/>
                  </a:lnTo>
                  <a:lnTo>
                    <a:pt x="867" y="2054"/>
                  </a:lnTo>
                  <a:lnTo>
                    <a:pt x="875" y="2057"/>
                  </a:lnTo>
                  <a:lnTo>
                    <a:pt x="885" y="2061"/>
                  </a:lnTo>
                  <a:lnTo>
                    <a:pt x="896" y="2062"/>
                  </a:lnTo>
                  <a:lnTo>
                    <a:pt x="907" y="2064"/>
                  </a:lnTo>
                  <a:lnTo>
                    <a:pt x="907" y="2064"/>
                  </a:lnTo>
                  <a:lnTo>
                    <a:pt x="914" y="2062"/>
                  </a:lnTo>
                  <a:lnTo>
                    <a:pt x="921" y="2061"/>
                  </a:lnTo>
                  <a:lnTo>
                    <a:pt x="929" y="2060"/>
                  </a:lnTo>
                  <a:lnTo>
                    <a:pt x="936" y="2057"/>
                  </a:lnTo>
                  <a:lnTo>
                    <a:pt x="942" y="2054"/>
                  </a:lnTo>
                  <a:lnTo>
                    <a:pt x="949" y="2050"/>
                  </a:lnTo>
                  <a:lnTo>
                    <a:pt x="955" y="2045"/>
                  </a:lnTo>
                  <a:lnTo>
                    <a:pt x="962" y="2039"/>
                  </a:lnTo>
                  <a:lnTo>
                    <a:pt x="962" y="2057"/>
                  </a:lnTo>
                  <a:lnTo>
                    <a:pt x="1023" y="2057"/>
                  </a:lnTo>
                  <a:lnTo>
                    <a:pt x="1023" y="1710"/>
                  </a:lnTo>
                  <a:lnTo>
                    <a:pt x="962" y="1740"/>
                  </a:lnTo>
                  <a:lnTo>
                    <a:pt x="962" y="1829"/>
                  </a:lnTo>
                  <a:lnTo>
                    <a:pt x="962" y="1829"/>
                  </a:lnTo>
                  <a:close/>
                  <a:moveTo>
                    <a:pt x="919" y="2007"/>
                  </a:moveTo>
                  <a:lnTo>
                    <a:pt x="919" y="2007"/>
                  </a:lnTo>
                  <a:lnTo>
                    <a:pt x="912" y="2006"/>
                  </a:lnTo>
                  <a:lnTo>
                    <a:pt x="903" y="2004"/>
                  </a:lnTo>
                  <a:lnTo>
                    <a:pt x="896" y="2000"/>
                  </a:lnTo>
                  <a:lnTo>
                    <a:pt x="888" y="1993"/>
                  </a:lnTo>
                  <a:lnTo>
                    <a:pt x="882" y="1983"/>
                  </a:lnTo>
                  <a:lnTo>
                    <a:pt x="877" y="1970"/>
                  </a:lnTo>
                  <a:lnTo>
                    <a:pt x="874" y="1952"/>
                  </a:lnTo>
                  <a:lnTo>
                    <a:pt x="873" y="1931"/>
                  </a:lnTo>
                  <a:lnTo>
                    <a:pt x="873" y="1931"/>
                  </a:lnTo>
                  <a:lnTo>
                    <a:pt x="874" y="1911"/>
                  </a:lnTo>
                  <a:lnTo>
                    <a:pt x="877" y="1896"/>
                  </a:lnTo>
                  <a:lnTo>
                    <a:pt x="882" y="1884"/>
                  </a:lnTo>
                  <a:lnTo>
                    <a:pt x="888" y="1876"/>
                  </a:lnTo>
                  <a:lnTo>
                    <a:pt x="895" y="1868"/>
                  </a:lnTo>
                  <a:lnTo>
                    <a:pt x="903" y="1865"/>
                  </a:lnTo>
                  <a:lnTo>
                    <a:pt x="910" y="1862"/>
                  </a:lnTo>
                  <a:lnTo>
                    <a:pt x="919" y="1862"/>
                  </a:lnTo>
                  <a:lnTo>
                    <a:pt x="919" y="1862"/>
                  </a:lnTo>
                  <a:lnTo>
                    <a:pt x="926" y="1862"/>
                  </a:lnTo>
                  <a:lnTo>
                    <a:pt x="934" y="1865"/>
                  </a:lnTo>
                  <a:lnTo>
                    <a:pt x="941" y="1867"/>
                  </a:lnTo>
                  <a:lnTo>
                    <a:pt x="946" y="1871"/>
                  </a:lnTo>
                  <a:lnTo>
                    <a:pt x="951" y="1874"/>
                  </a:lnTo>
                  <a:lnTo>
                    <a:pt x="955" y="1878"/>
                  </a:lnTo>
                  <a:lnTo>
                    <a:pt x="962" y="1887"/>
                  </a:lnTo>
                  <a:lnTo>
                    <a:pt x="962" y="1983"/>
                  </a:lnTo>
                  <a:lnTo>
                    <a:pt x="962" y="1983"/>
                  </a:lnTo>
                  <a:lnTo>
                    <a:pt x="954" y="1992"/>
                  </a:lnTo>
                  <a:lnTo>
                    <a:pt x="946" y="1999"/>
                  </a:lnTo>
                  <a:lnTo>
                    <a:pt x="941" y="2002"/>
                  </a:lnTo>
                  <a:lnTo>
                    <a:pt x="934" y="2005"/>
                  </a:lnTo>
                  <a:lnTo>
                    <a:pt x="927" y="2006"/>
                  </a:lnTo>
                  <a:lnTo>
                    <a:pt x="919" y="2007"/>
                  </a:lnTo>
                  <a:lnTo>
                    <a:pt x="919" y="2007"/>
                  </a:lnTo>
                  <a:lnTo>
                    <a:pt x="919" y="2007"/>
                  </a:lnTo>
                  <a:close/>
                  <a:moveTo>
                    <a:pt x="2285" y="1806"/>
                  </a:moveTo>
                  <a:lnTo>
                    <a:pt x="2285" y="1806"/>
                  </a:lnTo>
                  <a:lnTo>
                    <a:pt x="2279" y="1807"/>
                  </a:lnTo>
                  <a:lnTo>
                    <a:pt x="2272" y="1808"/>
                  </a:lnTo>
                  <a:lnTo>
                    <a:pt x="2257" y="1812"/>
                  </a:lnTo>
                  <a:lnTo>
                    <a:pt x="2244" y="1819"/>
                  </a:lnTo>
                  <a:lnTo>
                    <a:pt x="2231" y="1829"/>
                  </a:lnTo>
                  <a:lnTo>
                    <a:pt x="2231" y="1716"/>
                  </a:lnTo>
                  <a:lnTo>
                    <a:pt x="2171" y="1746"/>
                  </a:lnTo>
                  <a:lnTo>
                    <a:pt x="2171" y="2057"/>
                  </a:lnTo>
                  <a:lnTo>
                    <a:pt x="2231" y="2057"/>
                  </a:lnTo>
                  <a:lnTo>
                    <a:pt x="2231" y="2039"/>
                  </a:lnTo>
                  <a:lnTo>
                    <a:pt x="2231" y="2039"/>
                  </a:lnTo>
                  <a:lnTo>
                    <a:pt x="2236" y="2045"/>
                  </a:lnTo>
                  <a:lnTo>
                    <a:pt x="2244" y="2050"/>
                  </a:lnTo>
                  <a:lnTo>
                    <a:pt x="2250" y="2054"/>
                  </a:lnTo>
                  <a:lnTo>
                    <a:pt x="2257" y="2057"/>
                  </a:lnTo>
                  <a:lnTo>
                    <a:pt x="2263" y="2060"/>
                  </a:lnTo>
                  <a:lnTo>
                    <a:pt x="2272" y="2061"/>
                  </a:lnTo>
                  <a:lnTo>
                    <a:pt x="2279" y="2062"/>
                  </a:lnTo>
                  <a:lnTo>
                    <a:pt x="2286" y="2064"/>
                  </a:lnTo>
                  <a:lnTo>
                    <a:pt x="2286" y="2064"/>
                  </a:lnTo>
                  <a:lnTo>
                    <a:pt x="2297" y="2062"/>
                  </a:lnTo>
                  <a:lnTo>
                    <a:pt x="2308" y="2061"/>
                  </a:lnTo>
                  <a:lnTo>
                    <a:pt x="2318" y="2059"/>
                  </a:lnTo>
                  <a:lnTo>
                    <a:pt x="2328" y="2054"/>
                  </a:lnTo>
                  <a:lnTo>
                    <a:pt x="2336" y="2049"/>
                  </a:lnTo>
                  <a:lnTo>
                    <a:pt x="2344" y="2044"/>
                  </a:lnTo>
                  <a:lnTo>
                    <a:pt x="2351" y="2037"/>
                  </a:lnTo>
                  <a:lnTo>
                    <a:pt x="2357" y="2029"/>
                  </a:lnTo>
                  <a:lnTo>
                    <a:pt x="2363" y="2020"/>
                  </a:lnTo>
                  <a:lnTo>
                    <a:pt x="2368" y="2010"/>
                  </a:lnTo>
                  <a:lnTo>
                    <a:pt x="2372" y="1999"/>
                  </a:lnTo>
                  <a:lnTo>
                    <a:pt x="2375" y="1988"/>
                  </a:lnTo>
                  <a:lnTo>
                    <a:pt x="2379" y="1976"/>
                  </a:lnTo>
                  <a:lnTo>
                    <a:pt x="2380" y="1962"/>
                  </a:lnTo>
                  <a:lnTo>
                    <a:pt x="2381" y="1948"/>
                  </a:lnTo>
                  <a:lnTo>
                    <a:pt x="2383" y="1932"/>
                  </a:lnTo>
                  <a:lnTo>
                    <a:pt x="2383" y="1932"/>
                  </a:lnTo>
                  <a:lnTo>
                    <a:pt x="2381" y="1918"/>
                  </a:lnTo>
                  <a:lnTo>
                    <a:pt x="2380" y="1905"/>
                  </a:lnTo>
                  <a:lnTo>
                    <a:pt x="2378" y="1891"/>
                  </a:lnTo>
                  <a:lnTo>
                    <a:pt x="2375" y="1879"/>
                  </a:lnTo>
                  <a:lnTo>
                    <a:pt x="2372" y="1868"/>
                  </a:lnTo>
                  <a:lnTo>
                    <a:pt x="2367" y="1859"/>
                  </a:lnTo>
                  <a:lnTo>
                    <a:pt x="2362" y="1849"/>
                  </a:lnTo>
                  <a:lnTo>
                    <a:pt x="2356" y="1840"/>
                  </a:lnTo>
                  <a:lnTo>
                    <a:pt x="2350" y="1833"/>
                  </a:lnTo>
                  <a:lnTo>
                    <a:pt x="2342" y="1826"/>
                  </a:lnTo>
                  <a:lnTo>
                    <a:pt x="2334" y="1819"/>
                  </a:lnTo>
                  <a:lnTo>
                    <a:pt x="2325" y="1815"/>
                  </a:lnTo>
                  <a:lnTo>
                    <a:pt x="2317" y="1811"/>
                  </a:lnTo>
                  <a:lnTo>
                    <a:pt x="2307" y="1808"/>
                  </a:lnTo>
                  <a:lnTo>
                    <a:pt x="2296" y="1807"/>
                  </a:lnTo>
                  <a:lnTo>
                    <a:pt x="2285" y="1806"/>
                  </a:lnTo>
                  <a:lnTo>
                    <a:pt x="2285" y="1806"/>
                  </a:lnTo>
                  <a:lnTo>
                    <a:pt x="2285" y="1806"/>
                  </a:lnTo>
                  <a:close/>
                  <a:moveTo>
                    <a:pt x="2274" y="1862"/>
                  </a:moveTo>
                  <a:lnTo>
                    <a:pt x="2274" y="1862"/>
                  </a:lnTo>
                  <a:lnTo>
                    <a:pt x="2283" y="1863"/>
                  </a:lnTo>
                  <a:lnTo>
                    <a:pt x="2291" y="1866"/>
                  </a:lnTo>
                  <a:lnTo>
                    <a:pt x="2299" y="1871"/>
                  </a:lnTo>
                  <a:lnTo>
                    <a:pt x="2306" y="1878"/>
                  </a:lnTo>
                  <a:lnTo>
                    <a:pt x="2312" y="1887"/>
                  </a:lnTo>
                  <a:lnTo>
                    <a:pt x="2316" y="1899"/>
                  </a:lnTo>
                  <a:lnTo>
                    <a:pt x="2319" y="1913"/>
                  </a:lnTo>
                  <a:lnTo>
                    <a:pt x="2320" y="1931"/>
                  </a:lnTo>
                  <a:lnTo>
                    <a:pt x="2320" y="1931"/>
                  </a:lnTo>
                  <a:lnTo>
                    <a:pt x="2319" y="1949"/>
                  </a:lnTo>
                  <a:lnTo>
                    <a:pt x="2317" y="1965"/>
                  </a:lnTo>
                  <a:lnTo>
                    <a:pt x="2314" y="1977"/>
                  </a:lnTo>
                  <a:lnTo>
                    <a:pt x="2309" y="1988"/>
                  </a:lnTo>
                  <a:lnTo>
                    <a:pt x="2302" y="1996"/>
                  </a:lnTo>
                  <a:lnTo>
                    <a:pt x="2295" y="2002"/>
                  </a:lnTo>
                  <a:lnTo>
                    <a:pt x="2286" y="2006"/>
                  </a:lnTo>
                  <a:lnTo>
                    <a:pt x="2275" y="2007"/>
                  </a:lnTo>
                  <a:lnTo>
                    <a:pt x="2275" y="2007"/>
                  </a:lnTo>
                  <a:lnTo>
                    <a:pt x="2267" y="2006"/>
                  </a:lnTo>
                  <a:lnTo>
                    <a:pt x="2260" y="2005"/>
                  </a:lnTo>
                  <a:lnTo>
                    <a:pt x="2253" y="2001"/>
                  </a:lnTo>
                  <a:lnTo>
                    <a:pt x="2247" y="1999"/>
                  </a:lnTo>
                  <a:lnTo>
                    <a:pt x="2238" y="1990"/>
                  </a:lnTo>
                  <a:lnTo>
                    <a:pt x="2231" y="1984"/>
                  </a:lnTo>
                  <a:lnTo>
                    <a:pt x="2231" y="1887"/>
                  </a:lnTo>
                  <a:lnTo>
                    <a:pt x="2231" y="1887"/>
                  </a:lnTo>
                  <a:lnTo>
                    <a:pt x="2235" y="1882"/>
                  </a:lnTo>
                  <a:lnTo>
                    <a:pt x="2240" y="1877"/>
                  </a:lnTo>
                  <a:lnTo>
                    <a:pt x="2245" y="1872"/>
                  </a:lnTo>
                  <a:lnTo>
                    <a:pt x="2250" y="1868"/>
                  </a:lnTo>
                  <a:lnTo>
                    <a:pt x="2256" y="1866"/>
                  </a:lnTo>
                  <a:lnTo>
                    <a:pt x="2262" y="1863"/>
                  </a:lnTo>
                  <a:lnTo>
                    <a:pt x="2268" y="1862"/>
                  </a:lnTo>
                  <a:lnTo>
                    <a:pt x="2274" y="1862"/>
                  </a:lnTo>
                  <a:lnTo>
                    <a:pt x="2274" y="1862"/>
                  </a:lnTo>
                  <a:lnTo>
                    <a:pt x="2274" y="1862"/>
                  </a:lnTo>
                  <a:close/>
                  <a:moveTo>
                    <a:pt x="1595" y="1829"/>
                  </a:moveTo>
                  <a:lnTo>
                    <a:pt x="1595" y="1829"/>
                  </a:lnTo>
                  <a:lnTo>
                    <a:pt x="1590" y="1824"/>
                  </a:lnTo>
                  <a:lnTo>
                    <a:pt x="1584" y="1819"/>
                  </a:lnTo>
                  <a:lnTo>
                    <a:pt x="1577" y="1816"/>
                  </a:lnTo>
                  <a:lnTo>
                    <a:pt x="1571" y="1812"/>
                  </a:lnTo>
                  <a:lnTo>
                    <a:pt x="1564" y="1810"/>
                  </a:lnTo>
                  <a:lnTo>
                    <a:pt x="1556" y="1807"/>
                  </a:lnTo>
                  <a:lnTo>
                    <a:pt x="1549" y="1807"/>
                  </a:lnTo>
                  <a:lnTo>
                    <a:pt x="1542" y="1806"/>
                  </a:lnTo>
                  <a:lnTo>
                    <a:pt x="1542" y="1806"/>
                  </a:lnTo>
                  <a:lnTo>
                    <a:pt x="1531" y="1807"/>
                  </a:lnTo>
                  <a:lnTo>
                    <a:pt x="1520" y="1808"/>
                  </a:lnTo>
                  <a:lnTo>
                    <a:pt x="1510" y="1811"/>
                  </a:lnTo>
                  <a:lnTo>
                    <a:pt x="1501" y="1815"/>
                  </a:lnTo>
                  <a:lnTo>
                    <a:pt x="1493" y="1819"/>
                  </a:lnTo>
                  <a:lnTo>
                    <a:pt x="1484" y="1826"/>
                  </a:lnTo>
                  <a:lnTo>
                    <a:pt x="1477" y="1833"/>
                  </a:lnTo>
                  <a:lnTo>
                    <a:pt x="1471" y="1840"/>
                  </a:lnTo>
                  <a:lnTo>
                    <a:pt x="1465" y="1849"/>
                  </a:lnTo>
                  <a:lnTo>
                    <a:pt x="1460" y="1859"/>
                  </a:lnTo>
                  <a:lnTo>
                    <a:pt x="1455" y="1868"/>
                  </a:lnTo>
                  <a:lnTo>
                    <a:pt x="1452" y="1879"/>
                  </a:lnTo>
                  <a:lnTo>
                    <a:pt x="1449" y="1891"/>
                  </a:lnTo>
                  <a:lnTo>
                    <a:pt x="1447" y="1905"/>
                  </a:lnTo>
                  <a:lnTo>
                    <a:pt x="1445" y="1918"/>
                  </a:lnTo>
                  <a:lnTo>
                    <a:pt x="1445" y="1932"/>
                  </a:lnTo>
                  <a:lnTo>
                    <a:pt x="1445" y="1932"/>
                  </a:lnTo>
                  <a:lnTo>
                    <a:pt x="1445" y="1948"/>
                  </a:lnTo>
                  <a:lnTo>
                    <a:pt x="1447" y="1961"/>
                  </a:lnTo>
                  <a:lnTo>
                    <a:pt x="1449" y="1974"/>
                  </a:lnTo>
                  <a:lnTo>
                    <a:pt x="1452" y="1987"/>
                  </a:lnTo>
                  <a:lnTo>
                    <a:pt x="1455" y="1999"/>
                  </a:lnTo>
                  <a:lnTo>
                    <a:pt x="1459" y="2010"/>
                  </a:lnTo>
                  <a:lnTo>
                    <a:pt x="1465" y="2020"/>
                  </a:lnTo>
                  <a:lnTo>
                    <a:pt x="1470" y="2028"/>
                  </a:lnTo>
                  <a:lnTo>
                    <a:pt x="1477" y="2037"/>
                  </a:lnTo>
                  <a:lnTo>
                    <a:pt x="1483" y="2043"/>
                  </a:lnTo>
                  <a:lnTo>
                    <a:pt x="1492" y="2049"/>
                  </a:lnTo>
                  <a:lnTo>
                    <a:pt x="1500" y="2054"/>
                  </a:lnTo>
                  <a:lnTo>
                    <a:pt x="1509" y="2057"/>
                  </a:lnTo>
                  <a:lnTo>
                    <a:pt x="1519" y="2061"/>
                  </a:lnTo>
                  <a:lnTo>
                    <a:pt x="1530" y="2062"/>
                  </a:lnTo>
                  <a:lnTo>
                    <a:pt x="1540" y="2062"/>
                  </a:lnTo>
                  <a:lnTo>
                    <a:pt x="1540" y="2062"/>
                  </a:lnTo>
                  <a:lnTo>
                    <a:pt x="1548" y="2062"/>
                  </a:lnTo>
                  <a:lnTo>
                    <a:pt x="1555" y="2061"/>
                  </a:lnTo>
                  <a:lnTo>
                    <a:pt x="1562" y="2060"/>
                  </a:lnTo>
                  <a:lnTo>
                    <a:pt x="1570" y="2057"/>
                  </a:lnTo>
                  <a:lnTo>
                    <a:pt x="1577" y="2054"/>
                  </a:lnTo>
                  <a:lnTo>
                    <a:pt x="1583" y="2049"/>
                  </a:lnTo>
                  <a:lnTo>
                    <a:pt x="1589" y="2045"/>
                  </a:lnTo>
                  <a:lnTo>
                    <a:pt x="1595" y="2039"/>
                  </a:lnTo>
                  <a:lnTo>
                    <a:pt x="1595" y="2045"/>
                  </a:lnTo>
                  <a:lnTo>
                    <a:pt x="1595" y="2045"/>
                  </a:lnTo>
                  <a:lnTo>
                    <a:pt x="1595" y="2055"/>
                  </a:lnTo>
                  <a:lnTo>
                    <a:pt x="1594" y="2066"/>
                  </a:lnTo>
                  <a:lnTo>
                    <a:pt x="1592" y="2077"/>
                  </a:lnTo>
                  <a:lnTo>
                    <a:pt x="1589" y="2082"/>
                  </a:lnTo>
                  <a:lnTo>
                    <a:pt x="1586" y="2087"/>
                  </a:lnTo>
                  <a:lnTo>
                    <a:pt x="1582" y="2092"/>
                  </a:lnTo>
                  <a:lnTo>
                    <a:pt x="1577" y="2096"/>
                  </a:lnTo>
                  <a:lnTo>
                    <a:pt x="1570" y="2100"/>
                  </a:lnTo>
                  <a:lnTo>
                    <a:pt x="1562" y="2103"/>
                  </a:lnTo>
                  <a:lnTo>
                    <a:pt x="1554" y="2106"/>
                  </a:lnTo>
                  <a:lnTo>
                    <a:pt x="1543" y="2107"/>
                  </a:lnTo>
                  <a:lnTo>
                    <a:pt x="1531" y="2110"/>
                  </a:lnTo>
                  <a:lnTo>
                    <a:pt x="1517" y="2110"/>
                  </a:lnTo>
                  <a:lnTo>
                    <a:pt x="1515" y="2110"/>
                  </a:lnTo>
                  <a:lnTo>
                    <a:pt x="1536" y="2157"/>
                  </a:lnTo>
                  <a:lnTo>
                    <a:pt x="1537" y="2157"/>
                  </a:lnTo>
                  <a:lnTo>
                    <a:pt x="1537" y="2157"/>
                  </a:lnTo>
                  <a:lnTo>
                    <a:pt x="1551" y="2157"/>
                  </a:lnTo>
                  <a:lnTo>
                    <a:pt x="1565" y="2155"/>
                  </a:lnTo>
                  <a:lnTo>
                    <a:pt x="1578" y="2153"/>
                  </a:lnTo>
                  <a:lnTo>
                    <a:pt x="1589" y="2149"/>
                  </a:lnTo>
                  <a:lnTo>
                    <a:pt x="1600" y="2145"/>
                  </a:lnTo>
                  <a:lnTo>
                    <a:pt x="1610" y="2140"/>
                  </a:lnTo>
                  <a:lnTo>
                    <a:pt x="1618" y="2133"/>
                  </a:lnTo>
                  <a:lnTo>
                    <a:pt x="1627" y="2127"/>
                  </a:lnTo>
                  <a:lnTo>
                    <a:pt x="1634" y="2118"/>
                  </a:lnTo>
                  <a:lnTo>
                    <a:pt x="1639" y="2109"/>
                  </a:lnTo>
                  <a:lnTo>
                    <a:pt x="1645" y="2099"/>
                  </a:lnTo>
                  <a:lnTo>
                    <a:pt x="1649" y="2088"/>
                  </a:lnTo>
                  <a:lnTo>
                    <a:pt x="1653" y="2076"/>
                  </a:lnTo>
                  <a:lnTo>
                    <a:pt x="1655" y="2064"/>
                  </a:lnTo>
                  <a:lnTo>
                    <a:pt x="1656" y="2050"/>
                  </a:lnTo>
                  <a:lnTo>
                    <a:pt x="1656" y="2034"/>
                  </a:lnTo>
                  <a:lnTo>
                    <a:pt x="1656" y="1812"/>
                  </a:lnTo>
                  <a:lnTo>
                    <a:pt x="1595" y="1812"/>
                  </a:lnTo>
                  <a:lnTo>
                    <a:pt x="1595" y="1829"/>
                  </a:lnTo>
                  <a:lnTo>
                    <a:pt x="1595" y="1829"/>
                  </a:lnTo>
                  <a:close/>
                  <a:moveTo>
                    <a:pt x="1595" y="1887"/>
                  </a:moveTo>
                  <a:lnTo>
                    <a:pt x="1595" y="1983"/>
                  </a:lnTo>
                  <a:lnTo>
                    <a:pt x="1595" y="1983"/>
                  </a:lnTo>
                  <a:lnTo>
                    <a:pt x="1588" y="1992"/>
                  </a:lnTo>
                  <a:lnTo>
                    <a:pt x="1578" y="2000"/>
                  </a:lnTo>
                  <a:lnTo>
                    <a:pt x="1573" y="2002"/>
                  </a:lnTo>
                  <a:lnTo>
                    <a:pt x="1567" y="2005"/>
                  </a:lnTo>
                  <a:lnTo>
                    <a:pt x="1560" y="2006"/>
                  </a:lnTo>
                  <a:lnTo>
                    <a:pt x="1553" y="2007"/>
                  </a:lnTo>
                  <a:lnTo>
                    <a:pt x="1553" y="2007"/>
                  </a:lnTo>
                  <a:lnTo>
                    <a:pt x="1544" y="2006"/>
                  </a:lnTo>
                  <a:lnTo>
                    <a:pt x="1537" y="2004"/>
                  </a:lnTo>
                  <a:lnTo>
                    <a:pt x="1528" y="1999"/>
                  </a:lnTo>
                  <a:lnTo>
                    <a:pt x="1522" y="1993"/>
                  </a:lnTo>
                  <a:lnTo>
                    <a:pt x="1516" y="1983"/>
                  </a:lnTo>
                  <a:lnTo>
                    <a:pt x="1511" y="1970"/>
                  </a:lnTo>
                  <a:lnTo>
                    <a:pt x="1508" y="1952"/>
                  </a:lnTo>
                  <a:lnTo>
                    <a:pt x="1506" y="1931"/>
                  </a:lnTo>
                  <a:lnTo>
                    <a:pt x="1506" y="1931"/>
                  </a:lnTo>
                  <a:lnTo>
                    <a:pt x="1508" y="1911"/>
                  </a:lnTo>
                  <a:lnTo>
                    <a:pt x="1511" y="1896"/>
                  </a:lnTo>
                  <a:lnTo>
                    <a:pt x="1516" y="1884"/>
                  </a:lnTo>
                  <a:lnTo>
                    <a:pt x="1522" y="1876"/>
                  </a:lnTo>
                  <a:lnTo>
                    <a:pt x="1528" y="1868"/>
                  </a:lnTo>
                  <a:lnTo>
                    <a:pt x="1537" y="1865"/>
                  </a:lnTo>
                  <a:lnTo>
                    <a:pt x="1544" y="1862"/>
                  </a:lnTo>
                  <a:lnTo>
                    <a:pt x="1553" y="1862"/>
                  </a:lnTo>
                  <a:lnTo>
                    <a:pt x="1553" y="1862"/>
                  </a:lnTo>
                  <a:lnTo>
                    <a:pt x="1560" y="1862"/>
                  </a:lnTo>
                  <a:lnTo>
                    <a:pt x="1567" y="1865"/>
                  </a:lnTo>
                  <a:lnTo>
                    <a:pt x="1575" y="1867"/>
                  </a:lnTo>
                  <a:lnTo>
                    <a:pt x="1579" y="1869"/>
                  </a:lnTo>
                  <a:lnTo>
                    <a:pt x="1584" y="1874"/>
                  </a:lnTo>
                  <a:lnTo>
                    <a:pt x="1589" y="1878"/>
                  </a:lnTo>
                  <a:lnTo>
                    <a:pt x="1595" y="1887"/>
                  </a:lnTo>
                  <a:lnTo>
                    <a:pt x="1595" y="1887"/>
                  </a:lnTo>
                  <a:lnTo>
                    <a:pt x="1595" y="1887"/>
                  </a:lnTo>
                  <a:close/>
                  <a:moveTo>
                    <a:pt x="1845" y="1872"/>
                  </a:moveTo>
                  <a:lnTo>
                    <a:pt x="1845" y="1872"/>
                  </a:lnTo>
                  <a:lnTo>
                    <a:pt x="1860" y="1865"/>
                  </a:lnTo>
                  <a:lnTo>
                    <a:pt x="1874" y="1860"/>
                  </a:lnTo>
                  <a:lnTo>
                    <a:pt x="1890" y="1856"/>
                  </a:lnTo>
                  <a:lnTo>
                    <a:pt x="1907" y="1855"/>
                  </a:lnTo>
                  <a:lnTo>
                    <a:pt x="1907" y="1855"/>
                  </a:lnTo>
                  <a:lnTo>
                    <a:pt x="1918" y="1856"/>
                  </a:lnTo>
                  <a:lnTo>
                    <a:pt x="1927" y="1857"/>
                  </a:lnTo>
                  <a:lnTo>
                    <a:pt x="1934" y="1860"/>
                  </a:lnTo>
                  <a:lnTo>
                    <a:pt x="1940" y="1865"/>
                  </a:lnTo>
                  <a:lnTo>
                    <a:pt x="1945" y="1869"/>
                  </a:lnTo>
                  <a:lnTo>
                    <a:pt x="1949" y="1876"/>
                  </a:lnTo>
                  <a:lnTo>
                    <a:pt x="1951" y="1882"/>
                  </a:lnTo>
                  <a:lnTo>
                    <a:pt x="1951" y="1890"/>
                  </a:lnTo>
                  <a:lnTo>
                    <a:pt x="1951" y="1907"/>
                  </a:lnTo>
                  <a:lnTo>
                    <a:pt x="1951" y="1907"/>
                  </a:lnTo>
                  <a:lnTo>
                    <a:pt x="1940" y="1902"/>
                  </a:lnTo>
                  <a:lnTo>
                    <a:pt x="1927" y="1899"/>
                  </a:lnTo>
                  <a:lnTo>
                    <a:pt x="1913" y="1896"/>
                  </a:lnTo>
                  <a:lnTo>
                    <a:pt x="1899" y="1895"/>
                  </a:lnTo>
                  <a:lnTo>
                    <a:pt x="1899" y="1895"/>
                  </a:lnTo>
                  <a:lnTo>
                    <a:pt x="1882" y="1896"/>
                  </a:lnTo>
                  <a:lnTo>
                    <a:pt x="1865" y="1900"/>
                  </a:lnTo>
                  <a:lnTo>
                    <a:pt x="1849" y="1905"/>
                  </a:lnTo>
                  <a:lnTo>
                    <a:pt x="1840" y="1909"/>
                  </a:lnTo>
                  <a:lnTo>
                    <a:pt x="1833" y="1913"/>
                  </a:lnTo>
                  <a:lnTo>
                    <a:pt x="1827" y="1918"/>
                  </a:lnTo>
                  <a:lnTo>
                    <a:pt x="1821" y="1924"/>
                  </a:lnTo>
                  <a:lnTo>
                    <a:pt x="1815" y="1931"/>
                  </a:lnTo>
                  <a:lnTo>
                    <a:pt x="1810" y="1938"/>
                  </a:lnTo>
                  <a:lnTo>
                    <a:pt x="1806" y="1946"/>
                  </a:lnTo>
                  <a:lnTo>
                    <a:pt x="1804" y="1956"/>
                  </a:lnTo>
                  <a:lnTo>
                    <a:pt x="1802" y="1966"/>
                  </a:lnTo>
                  <a:lnTo>
                    <a:pt x="1801" y="1976"/>
                  </a:lnTo>
                  <a:lnTo>
                    <a:pt x="1801" y="1976"/>
                  </a:lnTo>
                  <a:lnTo>
                    <a:pt x="1802" y="1988"/>
                  </a:lnTo>
                  <a:lnTo>
                    <a:pt x="1804" y="1999"/>
                  </a:lnTo>
                  <a:lnTo>
                    <a:pt x="1806" y="2007"/>
                  </a:lnTo>
                  <a:lnTo>
                    <a:pt x="1810" y="2017"/>
                  </a:lnTo>
                  <a:lnTo>
                    <a:pt x="1813" y="2024"/>
                  </a:lnTo>
                  <a:lnTo>
                    <a:pt x="1820" y="2032"/>
                  </a:lnTo>
                  <a:lnTo>
                    <a:pt x="1824" y="2038"/>
                  </a:lnTo>
                  <a:lnTo>
                    <a:pt x="1832" y="2044"/>
                  </a:lnTo>
                  <a:lnTo>
                    <a:pt x="1838" y="2049"/>
                  </a:lnTo>
                  <a:lnTo>
                    <a:pt x="1845" y="2053"/>
                  </a:lnTo>
                  <a:lnTo>
                    <a:pt x="1861" y="2059"/>
                  </a:lnTo>
                  <a:lnTo>
                    <a:pt x="1877" y="2062"/>
                  </a:lnTo>
                  <a:lnTo>
                    <a:pt x="1893" y="2064"/>
                  </a:lnTo>
                  <a:lnTo>
                    <a:pt x="1893" y="2064"/>
                  </a:lnTo>
                  <a:lnTo>
                    <a:pt x="1906" y="2061"/>
                  </a:lnTo>
                  <a:lnTo>
                    <a:pt x="1915" y="2060"/>
                  </a:lnTo>
                  <a:lnTo>
                    <a:pt x="1922" y="2057"/>
                  </a:lnTo>
                  <a:lnTo>
                    <a:pt x="1930" y="2054"/>
                  </a:lnTo>
                  <a:lnTo>
                    <a:pt x="1938" y="2049"/>
                  </a:lnTo>
                  <a:lnTo>
                    <a:pt x="1945" y="2044"/>
                  </a:lnTo>
                  <a:lnTo>
                    <a:pt x="1951" y="2038"/>
                  </a:lnTo>
                  <a:lnTo>
                    <a:pt x="1951" y="2057"/>
                  </a:lnTo>
                  <a:lnTo>
                    <a:pt x="2012" y="2057"/>
                  </a:lnTo>
                  <a:lnTo>
                    <a:pt x="2012" y="1891"/>
                  </a:lnTo>
                  <a:lnTo>
                    <a:pt x="2012" y="1891"/>
                  </a:lnTo>
                  <a:lnTo>
                    <a:pt x="2012" y="1882"/>
                  </a:lnTo>
                  <a:lnTo>
                    <a:pt x="2011" y="1873"/>
                  </a:lnTo>
                  <a:lnTo>
                    <a:pt x="2008" y="1865"/>
                  </a:lnTo>
                  <a:lnTo>
                    <a:pt x="2006" y="1856"/>
                  </a:lnTo>
                  <a:lnTo>
                    <a:pt x="2001" y="1849"/>
                  </a:lnTo>
                  <a:lnTo>
                    <a:pt x="1997" y="1841"/>
                  </a:lnTo>
                  <a:lnTo>
                    <a:pt x="1991" y="1835"/>
                  </a:lnTo>
                  <a:lnTo>
                    <a:pt x="1985" y="1829"/>
                  </a:lnTo>
                  <a:lnTo>
                    <a:pt x="1979" y="1824"/>
                  </a:lnTo>
                  <a:lnTo>
                    <a:pt x="1972" y="1819"/>
                  </a:lnTo>
                  <a:lnTo>
                    <a:pt x="1963" y="1816"/>
                  </a:lnTo>
                  <a:lnTo>
                    <a:pt x="1955" y="1812"/>
                  </a:lnTo>
                  <a:lnTo>
                    <a:pt x="1945" y="1810"/>
                  </a:lnTo>
                  <a:lnTo>
                    <a:pt x="1935" y="1808"/>
                  </a:lnTo>
                  <a:lnTo>
                    <a:pt x="1924" y="1807"/>
                  </a:lnTo>
                  <a:lnTo>
                    <a:pt x="1913" y="1806"/>
                  </a:lnTo>
                  <a:lnTo>
                    <a:pt x="1913" y="1806"/>
                  </a:lnTo>
                  <a:lnTo>
                    <a:pt x="1900" y="1807"/>
                  </a:lnTo>
                  <a:lnTo>
                    <a:pt x="1889" y="1807"/>
                  </a:lnTo>
                  <a:lnTo>
                    <a:pt x="1877" y="1810"/>
                  </a:lnTo>
                  <a:lnTo>
                    <a:pt x="1865" y="1812"/>
                  </a:lnTo>
                  <a:lnTo>
                    <a:pt x="1854" y="1816"/>
                  </a:lnTo>
                  <a:lnTo>
                    <a:pt x="1843" y="1819"/>
                  </a:lnTo>
                  <a:lnTo>
                    <a:pt x="1832" y="1824"/>
                  </a:lnTo>
                  <a:lnTo>
                    <a:pt x="1821" y="1830"/>
                  </a:lnTo>
                  <a:lnTo>
                    <a:pt x="1845" y="1872"/>
                  </a:lnTo>
                  <a:lnTo>
                    <a:pt x="1845" y="1872"/>
                  </a:lnTo>
                  <a:close/>
                  <a:moveTo>
                    <a:pt x="1862" y="1976"/>
                  </a:moveTo>
                  <a:lnTo>
                    <a:pt x="1862" y="1976"/>
                  </a:lnTo>
                  <a:lnTo>
                    <a:pt x="1862" y="1968"/>
                  </a:lnTo>
                  <a:lnTo>
                    <a:pt x="1865" y="1961"/>
                  </a:lnTo>
                  <a:lnTo>
                    <a:pt x="1868" y="1955"/>
                  </a:lnTo>
                  <a:lnTo>
                    <a:pt x="1873" y="1950"/>
                  </a:lnTo>
                  <a:lnTo>
                    <a:pt x="1879" y="1946"/>
                  </a:lnTo>
                  <a:lnTo>
                    <a:pt x="1887" y="1944"/>
                  </a:lnTo>
                  <a:lnTo>
                    <a:pt x="1895" y="1941"/>
                  </a:lnTo>
                  <a:lnTo>
                    <a:pt x="1904" y="1941"/>
                  </a:lnTo>
                  <a:lnTo>
                    <a:pt x="1904" y="1941"/>
                  </a:lnTo>
                  <a:lnTo>
                    <a:pt x="1917" y="1941"/>
                  </a:lnTo>
                  <a:lnTo>
                    <a:pt x="1929" y="1944"/>
                  </a:lnTo>
                  <a:lnTo>
                    <a:pt x="1940" y="1948"/>
                  </a:lnTo>
                  <a:lnTo>
                    <a:pt x="1951" y="1954"/>
                  </a:lnTo>
                  <a:lnTo>
                    <a:pt x="1951" y="1987"/>
                  </a:lnTo>
                  <a:lnTo>
                    <a:pt x="1951" y="1987"/>
                  </a:lnTo>
                  <a:lnTo>
                    <a:pt x="1949" y="1992"/>
                  </a:lnTo>
                  <a:lnTo>
                    <a:pt x="1944" y="1996"/>
                  </a:lnTo>
                  <a:lnTo>
                    <a:pt x="1939" y="2001"/>
                  </a:lnTo>
                  <a:lnTo>
                    <a:pt x="1933" y="2005"/>
                  </a:lnTo>
                  <a:lnTo>
                    <a:pt x="1927" y="2009"/>
                  </a:lnTo>
                  <a:lnTo>
                    <a:pt x="1919" y="2011"/>
                  </a:lnTo>
                  <a:lnTo>
                    <a:pt x="1912" y="2012"/>
                  </a:lnTo>
                  <a:lnTo>
                    <a:pt x="1904" y="2013"/>
                  </a:lnTo>
                  <a:lnTo>
                    <a:pt x="1904" y="2013"/>
                  </a:lnTo>
                  <a:lnTo>
                    <a:pt x="1895" y="2012"/>
                  </a:lnTo>
                  <a:lnTo>
                    <a:pt x="1887" y="2010"/>
                  </a:lnTo>
                  <a:lnTo>
                    <a:pt x="1879" y="2007"/>
                  </a:lnTo>
                  <a:lnTo>
                    <a:pt x="1873" y="2002"/>
                  </a:lnTo>
                  <a:lnTo>
                    <a:pt x="1868" y="1998"/>
                  </a:lnTo>
                  <a:lnTo>
                    <a:pt x="1865" y="1992"/>
                  </a:lnTo>
                  <a:lnTo>
                    <a:pt x="1863" y="1984"/>
                  </a:lnTo>
                  <a:lnTo>
                    <a:pt x="1862" y="1976"/>
                  </a:lnTo>
                  <a:lnTo>
                    <a:pt x="1862" y="1976"/>
                  </a:lnTo>
                  <a:lnTo>
                    <a:pt x="1862" y="1976"/>
                  </a:lnTo>
                  <a:close/>
                  <a:moveTo>
                    <a:pt x="2576" y="1987"/>
                  </a:moveTo>
                  <a:lnTo>
                    <a:pt x="2576" y="1987"/>
                  </a:lnTo>
                  <a:lnTo>
                    <a:pt x="2568" y="1994"/>
                  </a:lnTo>
                  <a:lnTo>
                    <a:pt x="2557" y="2000"/>
                  </a:lnTo>
                  <a:lnTo>
                    <a:pt x="2551" y="2002"/>
                  </a:lnTo>
                  <a:lnTo>
                    <a:pt x="2543" y="2005"/>
                  </a:lnTo>
                  <a:lnTo>
                    <a:pt x="2536" y="2006"/>
                  </a:lnTo>
                  <a:lnTo>
                    <a:pt x="2529" y="2007"/>
                  </a:lnTo>
                  <a:lnTo>
                    <a:pt x="2529" y="2007"/>
                  </a:lnTo>
                  <a:lnTo>
                    <a:pt x="2523" y="2006"/>
                  </a:lnTo>
                  <a:lnTo>
                    <a:pt x="2515" y="2006"/>
                  </a:lnTo>
                  <a:lnTo>
                    <a:pt x="2507" y="2004"/>
                  </a:lnTo>
                  <a:lnTo>
                    <a:pt x="2497" y="1999"/>
                  </a:lnTo>
                  <a:lnTo>
                    <a:pt x="2489" y="1993"/>
                  </a:lnTo>
                  <a:lnTo>
                    <a:pt x="2485" y="1988"/>
                  </a:lnTo>
                  <a:lnTo>
                    <a:pt x="2481" y="1983"/>
                  </a:lnTo>
                  <a:lnTo>
                    <a:pt x="2479" y="1977"/>
                  </a:lnTo>
                  <a:lnTo>
                    <a:pt x="2476" y="1970"/>
                  </a:lnTo>
                  <a:lnTo>
                    <a:pt x="2475" y="1962"/>
                  </a:lnTo>
                  <a:lnTo>
                    <a:pt x="2474" y="1954"/>
                  </a:lnTo>
                  <a:lnTo>
                    <a:pt x="2624" y="1954"/>
                  </a:lnTo>
                  <a:lnTo>
                    <a:pt x="2624" y="1954"/>
                  </a:lnTo>
                  <a:lnTo>
                    <a:pt x="2625" y="1935"/>
                  </a:lnTo>
                  <a:lnTo>
                    <a:pt x="2625" y="1935"/>
                  </a:lnTo>
                  <a:lnTo>
                    <a:pt x="2625" y="1921"/>
                  </a:lnTo>
                  <a:lnTo>
                    <a:pt x="2623" y="1907"/>
                  </a:lnTo>
                  <a:lnTo>
                    <a:pt x="2621" y="1894"/>
                  </a:lnTo>
                  <a:lnTo>
                    <a:pt x="2618" y="1882"/>
                  </a:lnTo>
                  <a:lnTo>
                    <a:pt x="2614" y="1871"/>
                  </a:lnTo>
                  <a:lnTo>
                    <a:pt x="2609" y="1860"/>
                  </a:lnTo>
                  <a:lnTo>
                    <a:pt x="2603" y="1850"/>
                  </a:lnTo>
                  <a:lnTo>
                    <a:pt x="2597" y="1841"/>
                  </a:lnTo>
                  <a:lnTo>
                    <a:pt x="2590" y="1833"/>
                  </a:lnTo>
                  <a:lnTo>
                    <a:pt x="2582" y="1827"/>
                  </a:lnTo>
                  <a:lnTo>
                    <a:pt x="2574" y="1821"/>
                  </a:lnTo>
                  <a:lnTo>
                    <a:pt x="2564" y="1816"/>
                  </a:lnTo>
                  <a:lnTo>
                    <a:pt x="2554" y="1812"/>
                  </a:lnTo>
                  <a:lnTo>
                    <a:pt x="2545" y="1808"/>
                  </a:lnTo>
                  <a:lnTo>
                    <a:pt x="2534" y="1807"/>
                  </a:lnTo>
                  <a:lnTo>
                    <a:pt x="2522" y="1806"/>
                  </a:lnTo>
                  <a:lnTo>
                    <a:pt x="2522" y="1806"/>
                  </a:lnTo>
                  <a:lnTo>
                    <a:pt x="2511" y="1807"/>
                  </a:lnTo>
                  <a:lnTo>
                    <a:pt x="2500" y="1808"/>
                  </a:lnTo>
                  <a:lnTo>
                    <a:pt x="2489" y="1812"/>
                  </a:lnTo>
                  <a:lnTo>
                    <a:pt x="2478" y="1816"/>
                  </a:lnTo>
                  <a:lnTo>
                    <a:pt x="2468" y="1821"/>
                  </a:lnTo>
                  <a:lnTo>
                    <a:pt x="2459" y="1828"/>
                  </a:lnTo>
                  <a:lnTo>
                    <a:pt x="2451" y="1834"/>
                  </a:lnTo>
                  <a:lnTo>
                    <a:pt x="2444" y="1843"/>
                  </a:lnTo>
                  <a:lnTo>
                    <a:pt x="2436" y="1851"/>
                  </a:lnTo>
                  <a:lnTo>
                    <a:pt x="2430" y="1861"/>
                  </a:lnTo>
                  <a:lnTo>
                    <a:pt x="2425" y="1872"/>
                  </a:lnTo>
                  <a:lnTo>
                    <a:pt x="2420" y="1883"/>
                  </a:lnTo>
                  <a:lnTo>
                    <a:pt x="2417" y="1895"/>
                  </a:lnTo>
                  <a:lnTo>
                    <a:pt x="2414" y="1909"/>
                  </a:lnTo>
                  <a:lnTo>
                    <a:pt x="2413" y="1921"/>
                  </a:lnTo>
                  <a:lnTo>
                    <a:pt x="2412" y="1935"/>
                  </a:lnTo>
                  <a:lnTo>
                    <a:pt x="2412" y="1935"/>
                  </a:lnTo>
                  <a:lnTo>
                    <a:pt x="2413" y="1949"/>
                  </a:lnTo>
                  <a:lnTo>
                    <a:pt x="2414" y="1962"/>
                  </a:lnTo>
                  <a:lnTo>
                    <a:pt x="2417" y="1976"/>
                  </a:lnTo>
                  <a:lnTo>
                    <a:pt x="2420" y="1988"/>
                  </a:lnTo>
                  <a:lnTo>
                    <a:pt x="2425" y="1999"/>
                  </a:lnTo>
                  <a:lnTo>
                    <a:pt x="2430" y="2010"/>
                  </a:lnTo>
                  <a:lnTo>
                    <a:pt x="2436" y="2020"/>
                  </a:lnTo>
                  <a:lnTo>
                    <a:pt x="2444" y="2028"/>
                  </a:lnTo>
                  <a:lnTo>
                    <a:pt x="2452" y="2035"/>
                  </a:lnTo>
                  <a:lnTo>
                    <a:pt x="2461" y="2043"/>
                  </a:lnTo>
                  <a:lnTo>
                    <a:pt x="2470" y="2049"/>
                  </a:lnTo>
                  <a:lnTo>
                    <a:pt x="2480" y="2054"/>
                  </a:lnTo>
                  <a:lnTo>
                    <a:pt x="2491" y="2057"/>
                  </a:lnTo>
                  <a:lnTo>
                    <a:pt x="2503" y="2061"/>
                  </a:lnTo>
                  <a:lnTo>
                    <a:pt x="2515" y="2062"/>
                  </a:lnTo>
                  <a:lnTo>
                    <a:pt x="2529" y="2064"/>
                  </a:lnTo>
                  <a:lnTo>
                    <a:pt x="2529" y="2064"/>
                  </a:lnTo>
                  <a:lnTo>
                    <a:pt x="2541" y="2062"/>
                  </a:lnTo>
                  <a:lnTo>
                    <a:pt x="2552" y="2061"/>
                  </a:lnTo>
                  <a:lnTo>
                    <a:pt x="2564" y="2057"/>
                  </a:lnTo>
                  <a:lnTo>
                    <a:pt x="2575" y="2054"/>
                  </a:lnTo>
                  <a:lnTo>
                    <a:pt x="2586" y="2048"/>
                  </a:lnTo>
                  <a:lnTo>
                    <a:pt x="2596" y="2042"/>
                  </a:lnTo>
                  <a:lnTo>
                    <a:pt x="2606" y="2033"/>
                  </a:lnTo>
                  <a:lnTo>
                    <a:pt x="2615" y="2024"/>
                  </a:lnTo>
                  <a:lnTo>
                    <a:pt x="2576" y="1987"/>
                  </a:lnTo>
                  <a:lnTo>
                    <a:pt x="2576" y="1987"/>
                  </a:lnTo>
                  <a:close/>
                  <a:moveTo>
                    <a:pt x="2475" y="1909"/>
                  </a:moveTo>
                  <a:lnTo>
                    <a:pt x="2475" y="1909"/>
                  </a:lnTo>
                  <a:lnTo>
                    <a:pt x="2476" y="1898"/>
                  </a:lnTo>
                  <a:lnTo>
                    <a:pt x="2479" y="1888"/>
                  </a:lnTo>
                  <a:lnTo>
                    <a:pt x="2483" y="1879"/>
                  </a:lnTo>
                  <a:lnTo>
                    <a:pt x="2489" y="1872"/>
                  </a:lnTo>
                  <a:lnTo>
                    <a:pt x="2495" y="1866"/>
                  </a:lnTo>
                  <a:lnTo>
                    <a:pt x="2502" y="1862"/>
                  </a:lnTo>
                  <a:lnTo>
                    <a:pt x="2511" y="1859"/>
                  </a:lnTo>
                  <a:lnTo>
                    <a:pt x="2520" y="1859"/>
                  </a:lnTo>
                  <a:lnTo>
                    <a:pt x="2520" y="1859"/>
                  </a:lnTo>
                  <a:lnTo>
                    <a:pt x="2531" y="1860"/>
                  </a:lnTo>
                  <a:lnTo>
                    <a:pt x="2541" y="1862"/>
                  </a:lnTo>
                  <a:lnTo>
                    <a:pt x="2548" y="1867"/>
                  </a:lnTo>
                  <a:lnTo>
                    <a:pt x="2554" y="1874"/>
                  </a:lnTo>
                  <a:lnTo>
                    <a:pt x="2559" y="1882"/>
                  </a:lnTo>
                  <a:lnTo>
                    <a:pt x="2563" y="1890"/>
                  </a:lnTo>
                  <a:lnTo>
                    <a:pt x="2565" y="1900"/>
                  </a:lnTo>
                  <a:lnTo>
                    <a:pt x="2567" y="1909"/>
                  </a:lnTo>
                  <a:lnTo>
                    <a:pt x="2475" y="1909"/>
                  </a:lnTo>
                  <a:lnTo>
                    <a:pt x="2475" y="1909"/>
                  </a:lnTo>
                  <a:close/>
                  <a:moveTo>
                    <a:pt x="3163" y="1987"/>
                  </a:moveTo>
                  <a:lnTo>
                    <a:pt x="3163" y="1987"/>
                  </a:lnTo>
                  <a:lnTo>
                    <a:pt x="3153" y="1994"/>
                  </a:lnTo>
                  <a:lnTo>
                    <a:pt x="3143" y="2000"/>
                  </a:lnTo>
                  <a:lnTo>
                    <a:pt x="3136" y="2002"/>
                  </a:lnTo>
                  <a:lnTo>
                    <a:pt x="3130" y="2005"/>
                  </a:lnTo>
                  <a:lnTo>
                    <a:pt x="3122" y="2006"/>
                  </a:lnTo>
                  <a:lnTo>
                    <a:pt x="3114" y="2007"/>
                  </a:lnTo>
                  <a:lnTo>
                    <a:pt x="3114" y="2007"/>
                  </a:lnTo>
                  <a:lnTo>
                    <a:pt x="3108" y="2006"/>
                  </a:lnTo>
                  <a:lnTo>
                    <a:pt x="3100" y="2006"/>
                  </a:lnTo>
                  <a:lnTo>
                    <a:pt x="3092" y="2004"/>
                  </a:lnTo>
                  <a:lnTo>
                    <a:pt x="3083" y="1999"/>
                  </a:lnTo>
                  <a:lnTo>
                    <a:pt x="3075" y="1993"/>
                  </a:lnTo>
                  <a:lnTo>
                    <a:pt x="3071" y="1988"/>
                  </a:lnTo>
                  <a:lnTo>
                    <a:pt x="3068" y="1983"/>
                  </a:lnTo>
                  <a:lnTo>
                    <a:pt x="3065" y="1977"/>
                  </a:lnTo>
                  <a:lnTo>
                    <a:pt x="3063" y="1970"/>
                  </a:lnTo>
                  <a:lnTo>
                    <a:pt x="3060" y="1962"/>
                  </a:lnTo>
                  <a:lnTo>
                    <a:pt x="3059" y="1954"/>
                  </a:lnTo>
                  <a:lnTo>
                    <a:pt x="3210" y="1954"/>
                  </a:lnTo>
                  <a:lnTo>
                    <a:pt x="3210" y="1954"/>
                  </a:lnTo>
                  <a:lnTo>
                    <a:pt x="3211" y="1935"/>
                  </a:lnTo>
                  <a:lnTo>
                    <a:pt x="3211" y="1935"/>
                  </a:lnTo>
                  <a:lnTo>
                    <a:pt x="3210" y="1921"/>
                  </a:lnTo>
                  <a:lnTo>
                    <a:pt x="3209" y="1907"/>
                  </a:lnTo>
                  <a:lnTo>
                    <a:pt x="3206" y="1894"/>
                  </a:lnTo>
                  <a:lnTo>
                    <a:pt x="3204" y="1882"/>
                  </a:lnTo>
                  <a:lnTo>
                    <a:pt x="3199" y="1871"/>
                  </a:lnTo>
                  <a:lnTo>
                    <a:pt x="3194" y="1860"/>
                  </a:lnTo>
                  <a:lnTo>
                    <a:pt x="3189" y="1850"/>
                  </a:lnTo>
                  <a:lnTo>
                    <a:pt x="3183" y="1841"/>
                  </a:lnTo>
                  <a:lnTo>
                    <a:pt x="3176" y="1833"/>
                  </a:lnTo>
                  <a:lnTo>
                    <a:pt x="3167" y="1827"/>
                  </a:lnTo>
                  <a:lnTo>
                    <a:pt x="3159" y="1821"/>
                  </a:lnTo>
                  <a:lnTo>
                    <a:pt x="3150" y="1816"/>
                  </a:lnTo>
                  <a:lnTo>
                    <a:pt x="3141" y="1812"/>
                  </a:lnTo>
                  <a:lnTo>
                    <a:pt x="3130" y="1808"/>
                  </a:lnTo>
                  <a:lnTo>
                    <a:pt x="3119" y="1807"/>
                  </a:lnTo>
                  <a:lnTo>
                    <a:pt x="3108" y="1806"/>
                  </a:lnTo>
                  <a:lnTo>
                    <a:pt x="3108" y="1806"/>
                  </a:lnTo>
                  <a:lnTo>
                    <a:pt x="3096" y="1807"/>
                  </a:lnTo>
                  <a:lnTo>
                    <a:pt x="3085" y="1808"/>
                  </a:lnTo>
                  <a:lnTo>
                    <a:pt x="3074" y="1812"/>
                  </a:lnTo>
                  <a:lnTo>
                    <a:pt x="3064" y="1816"/>
                  </a:lnTo>
                  <a:lnTo>
                    <a:pt x="3054" y="1821"/>
                  </a:lnTo>
                  <a:lnTo>
                    <a:pt x="3044" y="1828"/>
                  </a:lnTo>
                  <a:lnTo>
                    <a:pt x="3037" y="1834"/>
                  </a:lnTo>
                  <a:lnTo>
                    <a:pt x="3029" y="1843"/>
                  </a:lnTo>
                  <a:lnTo>
                    <a:pt x="3021" y="1851"/>
                  </a:lnTo>
                  <a:lnTo>
                    <a:pt x="3015" y="1861"/>
                  </a:lnTo>
                  <a:lnTo>
                    <a:pt x="3010" y="1872"/>
                  </a:lnTo>
                  <a:lnTo>
                    <a:pt x="3005" y="1883"/>
                  </a:lnTo>
                  <a:lnTo>
                    <a:pt x="3003" y="1895"/>
                  </a:lnTo>
                  <a:lnTo>
                    <a:pt x="2999" y="1909"/>
                  </a:lnTo>
                  <a:lnTo>
                    <a:pt x="2998" y="1921"/>
                  </a:lnTo>
                  <a:lnTo>
                    <a:pt x="2998" y="1935"/>
                  </a:lnTo>
                  <a:lnTo>
                    <a:pt x="2998" y="1935"/>
                  </a:lnTo>
                  <a:lnTo>
                    <a:pt x="2998" y="1949"/>
                  </a:lnTo>
                  <a:lnTo>
                    <a:pt x="2999" y="1962"/>
                  </a:lnTo>
                  <a:lnTo>
                    <a:pt x="3002" y="1976"/>
                  </a:lnTo>
                  <a:lnTo>
                    <a:pt x="3005" y="1988"/>
                  </a:lnTo>
                  <a:lnTo>
                    <a:pt x="3010" y="1999"/>
                  </a:lnTo>
                  <a:lnTo>
                    <a:pt x="3016" y="2010"/>
                  </a:lnTo>
                  <a:lnTo>
                    <a:pt x="3022" y="2020"/>
                  </a:lnTo>
                  <a:lnTo>
                    <a:pt x="3030" y="2028"/>
                  </a:lnTo>
                  <a:lnTo>
                    <a:pt x="3037" y="2035"/>
                  </a:lnTo>
                  <a:lnTo>
                    <a:pt x="3046" y="2043"/>
                  </a:lnTo>
                  <a:lnTo>
                    <a:pt x="3055" y="2049"/>
                  </a:lnTo>
                  <a:lnTo>
                    <a:pt x="3066" y="2054"/>
                  </a:lnTo>
                  <a:lnTo>
                    <a:pt x="3077" y="2057"/>
                  </a:lnTo>
                  <a:lnTo>
                    <a:pt x="3088" y="2061"/>
                  </a:lnTo>
                  <a:lnTo>
                    <a:pt x="3102" y="2062"/>
                  </a:lnTo>
                  <a:lnTo>
                    <a:pt x="3114" y="2064"/>
                  </a:lnTo>
                  <a:lnTo>
                    <a:pt x="3114" y="2064"/>
                  </a:lnTo>
                  <a:lnTo>
                    <a:pt x="3126" y="2062"/>
                  </a:lnTo>
                  <a:lnTo>
                    <a:pt x="3138" y="2061"/>
                  </a:lnTo>
                  <a:lnTo>
                    <a:pt x="3149" y="2057"/>
                  </a:lnTo>
                  <a:lnTo>
                    <a:pt x="3160" y="2054"/>
                  </a:lnTo>
                  <a:lnTo>
                    <a:pt x="3171" y="2048"/>
                  </a:lnTo>
                  <a:lnTo>
                    <a:pt x="3182" y="2042"/>
                  </a:lnTo>
                  <a:lnTo>
                    <a:pt x="3192" y="2033"/>
                  </a:lnTo>
                  <a:lnTo>
                    <a:pt x="3200" y="2024"/>
                  </a:lnTo>
                  <a:lnTo>
                    <a:pt x="3163" y="1987"/>
                  </a:lnTo>
                  <a:lnTo>
                    <a:pt x="3163" y="1987"/>
                  </a:lnTo>
                  <a:close/>
                  <a:moveTo>
                    <a:pt x="3060" y="1909"/>
                  </a:moveTo>
                  <a:lnTo>
                    <a:pt x="3060" y="1909"/>
                  </a:lnTo>
                  <a:lnTo>
                    <a:pt x="3061" y="1898"/>
                  </a:lnTo>
                  <a:lnTo>
                    <a:pt x="3065" y="1888"/>
                  </a:lnTo>
                  <a:lnTo>
                    <a:pt x="3069" y="1879"/>
                  </a:lnTo>
                  <a:lnTo>
                    <a:pt x="3074" y="1872"/>
                  </a:lnTo>
                  <a:lnTo>
                    <a:pt x="3081" y="1866"/>
                  </a:lnTo>
                  <a:lnTo>
                    <a:pt x="3088" y="1862"/>
                  </a:lnTo>
                  <a:lnTo>
                    <a:pt x="3097" y="1859"/>
                  </a:lnTo>
                  <a:lnTo>
                    <a:pt x="3107" y="1859"/>
                  </a:lnTo>
                  <a:lnTo>
                    <a:pt x="3107" y="1859"/>
                  </a:lnTo>
                  <a:lnTo>
                    <a:pt x="3118" y="1860"/>
                  </a:lnTo>
                  <a:lnTo>
                    <a:pt x="3126" y="1862"/>
                  </a:lnTo>
                  <a:lnTo>
                    <a:pt x="3135" y="1867"/>
                  </a:lnTo>
                  <a:lnTo>
                    <a:pt x="3141" y="1874"/>
                  </a:lnTo>
                  <a:lnTo>
                    <a:pt x="3146" y="1882"/>
                  </a:lnTo>
                  <a:lnTo>
                    <a:pt x="3149" y="1890"/>
                  </a:lnTo>
                  <a:lnTo>
                    <a:pt x="3152" y="1900"/>
                  </a:lnTo>
                  <a:lnTo>
                    <a:pt x="3153" y="1909"/>
                  </a:lnTo>
                  <a:lnTo>
                    <a:pt x="3060" y="1909"/>
                  </a:lnTo>
                  <a:lnTo>
                    <a:pt x="3060" y="1909"/>
                  </a:lnTo>
                  <a:close/>
                  <a:moveTo>
                    <a:pt x="2914" y="1972"/>
                  </a:moveTo>
                  <a:lnTo>
                    <a:pt x="2914" y="1972"/>
                  </a:lnTo>
                  <a:lnTo>
                    <a:pt x="2914" y="1981"/>
                  </a:lnTo>
                  <a:lnTo>
                    <a:pt x="2915" y="1987"/>
                  </a:lnTo>
                  <a:lnTo>
                    <a:pt x="2918" y="1993"/>
                  </a:lnTo>
                  <a:lnTo>
                    <a:pt x="2920" y="1998"/>
                  </a:lnTo>
                  <a:lnTo>
                    <a:pt x="2924" y="2001"/>
                  </a:lnTo>
                  <a:lnTo>
                    <a:pt x="2929" y="2004"/>
                  </a:lnTo>
                  <a:lnTo>
                    <a:pt x="2933" y="2005"/>
                  </a:lnTo>
                  <a:lnTo>
                    <a:pt x="2941" y="2005"/>
                  </a:lnTo>
                  <a:lnTo>
                    <a:pt x="2941" y="2005"/>
                  </a:lnTo>
                  <a:lnTo>
                    <a:pt x="2949" y="2005"/>
                  </a:lnTo>
                  <a:lnTo>
                    <a:pt x="2959" y="2002"/>
                  </a:lnTo>
                  <a:lnTo>
                    <a:pt x="2969" y="1999"/>
                  </a:lnTo>
                  <a:lnTo>
                    <a:pt x="2977" y="1994"/>
                  </a:lnTo>
                  <a:lnTo>
                    <a:pt x="2970" y="2051"/>
                  </a:lnTo>
                  <a:lnTo>
                    <a:pt x="2970" y="2051"/>
                  </a:lnTo>
                  <a:lnTo>
                    <a:pt x="2959" y="2056"/>
                  </a:lnTo>
                  <a:lnTo>
                    <a:pt x="2946" y="2060"/>
                  </a:lnTo>
                  <a:lnTo>
                    <a:pt x="2932" y="2062"/>
                  </a:lnTo>
                  <a:lnTo>
                    <a:pt x="2919" y="2064"/>
                  </a:lnTo>
                  <a:lnTo>
                    <a:pt x="2919" y="2064"/>
                  </a:lnTo>
                  <a:lnTo>
                    <a:pt x="2910" y="2062"/>
                  </a:lnTo>
                  <a:lnTo>
                    <a:pt x="2902" y="2061"/>
                  </a:lnTo>
                  <a:lnTo>
                    <a:pt x="2894" y="2059"/>
                  </a:lnTo>
                  <a:lnTo>
                    <a:pt x="2888" y="2056"/>
                  </a:lnTo>
                  <a:lnTo>
                    <a:pt x="2882" y="2053"/>
                  </a:lnTo>
                  <a:lnTo>
                    <a:pt x="2876" y="2049"/>
                  </a:lnTo>
                  <a:lnTo>
                    <a:pt x="2873" y="2044"/>
                  </a:lnTo>
                  <a:lnTo>
                    <a:pt x="2868" y="2038"/>
                  </a:lnTo>
                  <a:lnTo>
                    <a:pt x="2862" y="2027"/>
                  </a:lnTo>
                  <a:lnTo>
                    <a:pt x="2857" y="2013"/>
                  </a:lnTo>
                  <a:lnTo>
                    <a:pt x="2854" y="2001"/>
                  </a:lnTo>
                  <a:lnTo>
                    <a:pt x="2853" y="1988"/>
                  </a:lnTo>
                  <a:lnTo>
                    <a:pt x="2853" y="1868"/>
                  </a:lnTo>
                  <a:lnTo>
                    <a:pt x="2815" y="1868"/>
                  </a:lnTo>
                  <a:lnTo>
                    <a:pt x="2815" y="1812"/>
                  </a:lnTo>
                  <a:lnTo>
                    <a:pt x="2853" y="1812"/>
                  </a:lnTo>
                  <a:lnTo>
                    <a:pt x="2853" y="1749"/>
                  </a:lnTo>
                  <a:lnTo>
                    <a:pt x="2914" y="1718"/>
                  </a:lnTo>
                  <a:lnTo>
                    <a:pt x="2914" y="1812"/>
                  </a:lnTo>
                  <a:lnTo>
                    <a:pt x="2969" y="1812"/>
                  </a:lnTo>
                  <a:lnTo>
                    <a:pt x="2969" y="1868"/>
                  </a:lnTo>
                  <a:lnTo>
                    <a:pt x="2914" y="1868"/>
                  </a:lnTo>
                  <a:lnTo>
                    <a:pt x="2914" y="1972"/>
                  </a:lnTo>
                  <a:lnTo>
                    <a:pt x="2914" y="1972"/>
                  </a:lnTo>
                  <a:close/>
                  <a:moveTo>
                    <a:pt x="2796" y="2051"/>
                  </a:moveTo>
                  <a:lnTo>
                    <a:pt x="2796" y="2051"/>
                  </a:lnTo>
                  <a:lnTo>
                    <a:pt x="2785" y="2056"/>
                  </a:lnTo>
                  <a:lnTo>
                    <a:pt x="2773" y="2060"/>
                  </a:lnTo>
                  <a:lnTo>
                    <a:pt x="2759" y="2062"/>
                  </a:lnTo>
                  <a:lnTo>
                    <a:pt x="2746" y="2064"/>
                  </a:lnTo>
                  <a:lnTo>
                    <a:pt x="2746" y="2064"/>
                  </a:lnTo>
                  <a:lnTo>
                    <a:pt x="2736" y="2062"/>
                  </a:lnTo>
                  <a:lnTo>
                    <a:pt x="2729" y="2061"/>
                  </a:lnTo>
                  <a:lnTo>
                    <a:pt x="2721" y="2059"/>
                  </a:lnTo>
                  <a:lnTo>
                    <a:pt x="2714" y="2056"/>
                  </a:lnTo>
                  <a:lnTo>
                    <a:pt x="2709" y="2053"/>
                  </a:lnTo>
                  <a:lnTo>
                    <a:pt x="2703" y="2049"/>
                  </a:lnTo>
                  <a:lnTo>
                    <a:pt x="2698" y="2044"/>
                  </a:lnTo>
                  <a:lnTo>
                    <a:pt x="2695" y="2038"/>
                  </a:lnTo>
                  <a:lnTo>
                    <a:pt x="2687" y="2027"/>
                  </a:lnTo>
                  <a:lnTo>
                    <a:pt x="2684" y="2013"/>
                  </a:lnTo>
                  <a:lnTo>
                    <a:pt x="2680" y="2001"/>
                  </a:lnTo>
                  <a:lnTo>
                    <a:pt x="2680" y="1988"/>
                  </a:lnTo>
                  <a:lnTo>
                    <a:pt x="2680" y="1868"/>
                  </a:lnTo>
                  <a:lnTo>
                    <a:pt x="2642" y="1868"/>
                  </a:lnTo>
                  <a:lnTo>
                    <a:pt x="2642" y="1812"/>
                  </a:lnTo>
                  <a:lnTo>
                    <a:pt x="2680" y="1812"/>
                  </a:lnTo>
                  <a:lnTo>
                    <a:pt x="2680" y="1749"/>
                  </a:lnTo>
                  <a:lnTo>
                    <a:pt x="2741" y="1718"/>
                  </a:lnTo>
                  <a:lnTo>
                    <a:pt x="2741" y="1812"/>
                  </a:lnTo>
                  <a:lnTo>
                    <a:pt x="2792" y="1812"/>
                  </a:lnTo>
                  <a:lnTo>
                    <a:pt x="2792" y="1868"/>
                  </a:lnTo>
                  <a:lnTo>
                    <a:pt x="2741" y="1868"/>
                  </a:lnTo>
                  <a:lnTo>
                    <a:pt x="2741" y="1972"/>
                  </a:lnTo>
                  <a:lnTo>
                    <a:pt x="2741" y="1972"/>
                  </a:lnTo>
                  <a:lnTo>
                    <a:pt x="2741" y="1981"/>
                  </a:lnTo>
                  <a:lnTo>
                    <a:pt x="2742" y="1987"/>
                  </a:lnTo>
                  <a:lnTo>
                    <a:pt x="2745" y="1993"/>
                  </a:lnTo>
                  <a:lnTo>
                    <a:pt x="2747" y="1998"/>
                  </a:lnTo>
                  <a:lnTo>
                    <a:pt x="2751" y="2001"/>
                  </a:lnTo>
                  <a:lnTo>
                    <a:pt x="2756" y="2004"/>
                  </a:lnTo>
                  <a:lnTo>
                    <a:pt x="2760" y="2005"/>
                  </a:lnTo>
                  <a:lnTo>
                    <a:pt x="2767" y="2005"/>
                  </a:lnTo>
                  <a:lnTo>
                    <a:pt x="2767" y="2005"/>
                  </a:lnTo>
                  <a:lnTo>
                    <a:pt x="2776" y="2005"/>
                  </a:lnTo>
                  <a:lnTo>
                    <a:pt x="2786" y="2002"/>
                  </a:lnTo>
                  <a:lnTo>
                    <a:pt x="2795" y="1999"/>
                  </a:lnTo>
                  <a:lnTo>
                    <a:pt x="2803" y="1994"/>
                  </a:lnTo>
                  <a:lnTo>
                    <a:pt x="2796" y="2051"/>
                  </a:lnTo>
                  <a:lnTo>
                    <a:pt x="2796" y="2051"/>
                  </a:lnTo>
                  <a:close/>
                  <a:moveTo>
                    <a:pt x="3394" y="1880"/>
                  </a:moveTo>
                  <a:lnTo>
                    <a:pt x="3394" y="1880"/>
                  </a:lnTo>
                  <a:lnTo>
                    <a:pt x="3386" y="1874"/>
                  </a:lnTo>
                  <a:lnTo>
                    <a:pt x="3376" y="1871"/>
                  </a:lnTo>
                  <a:lnTo>
                    <a:pt x="3365" y="1868"/>
                  </a:lnTo>
                  <a:lnTo>
                    <a:pt x="3354" y="1867"/>
                  </a:lnTo>
                  <a:lnTo>
                    <a:pt x="3354" y="1867"/>
                  </a:lnTo>
                  <a:lnTo>
                    <a:pt x="3344" y="1868"/>
                  </a:lnTo>
                  <a:lnTo>
                    <a:pt x="3334" y="1871"/>
                  </a:lnTo>
                  <a:lnTo>
                    <a:pt x="3327" y="1876"/>
                  </a:lnTo>
                  <a:lnTo>
                    <a:pt x="3321" y="1882"/>
                  </a:lnTo>
                  <a:lnTo>
                    <a:pt x="3316" y="1889"/>
                  </a:lnTo>
                  <a:lnTo>
                    <a:pt x="3314" y="1899"/>
                  </a:lnTo>
                  <a:lnTo>
                    <a:pt x="3311" y="1911"/>
                  </a:lnTo>
                  <a:lnTo>
                    <a:pt x="3310" y="1924"/>
                  </a:lnTo>
                  <a:lnTo>
                    <a:pt x="3310" y="2057"/>
                  </a:lnTo>
                  <a:lnTo>
                    <a:pt x="3250" y="2057"/>
                  </a:lnTo>
                  <a:lnTo>
                    <a:pt x="3250" y="1812"/>
                  </a:lnTo>
                  <a:lnTo>
                    <a:pt x="3310" y="1812"/>
                  </a:lnTo>
                  <a:lnTo>
                    <a:pt x="3310" y="1833"/>
                  </a:lnTo>
                  <a:lnTo>
                    <a:pt x="3310" y="1833"/>
                  </a:lnTo>
                  <a:lnTo>
                    <a:pt x="3316" y="1827"/>
                  </a:lnTo>
                  <a:lnTo>
                    <a:pt x="3322" y="1821"/>
                  </a:lnTo>
                  <a:lnTo>
                    <a:pt x="3328" y="1817"/>
                  </a:lnTo>
                  <a:lnTo>
                    <a:pt x="3336" y="1813"/>
                  </a:lnTo>
                  <a:lnTo>
                    <a:pt x="3342" y="1810"/>
                  </a:lnTo>
                  <a:lnTo>
                    <a:pt x="3349" y="1808"/>
                  </a:lnTo>
                  <a:lnTo>
                    <a:pt x="3356" y="1807"/>
                  </a:lnTo>
                  <a:lnTo>
                    <a:pt x="3365" y="1806"/>
                  </a:lnTo>
                  <a:lnTo>
                    <a:pt x="3365" y="1806"/>
                  </a:lnTo>
                  <a:lnTo>
                    <a:pt x="3377" y="1807"/>
                  </a:lnTo>
                  <a:lnTo>
                    <a:pt x="3389" y="1811"/>
                  </a:lnTo>
                  <a:lnTo>
                    <a:pt x="3400" y="1815"/>
                  </a:lnTo>
                  <a:lnTo>
                    <a:pt x="3410" y="1821"/>
                  </a:lnTo>
                  <a:lnTo>
                    <a:pt x="3394" y="1880"/>
                  </a:lnTo>
                  <a:lnTo>
                    <a:pt x="3394" y="1880"/>
                  </a:lnTo>
                  <a:close/>
                  <a:moveTo>
                    <a:pt x="654" y="1746"/>
                  </a:moveTo>
                  <a:lnTo>
                    <a:pt x="654" y="1777"/>
                  </a:lnTo>
                  <a:lnTo>
                    <a:pt x="594" y="1777"/>
                  </a:lnTo>
                  <a:lnTo>
                    <a:pt x="594" y="1716"/>
                  </a:lnTo>
                  <a:lnTo>
                    <a:pt x="654" y="1716"/>
                  </a:lnTo>
                  <a:lnTo>
                    <a:pt x="654" y="1746"/>
                  </a:lnTo>
                  <a:lnTo>
                    <a:pt x="654" y="1746"/>
                  </a:lnTo>
                  <a:close/>
                  <a:moveTo>
                    <a:pt x="1076" y="1812"/>
                  </a:moveTo>
                  <a:lnTo>
                    <a:pt x="1137" y="1812"/>
                  </a:lnTo>
                  <a:lnTo>
                    <a:pt x="1137" y="1922"/>
                  </a:lnTo>
                  <a:lnTo>
                    <a:pt x="1137" y="2057"/>
                  </a:lnTo>
                  <a:lnTo>
                    <a:pt x="1076" y="2057"/>
                  </a:lnTo>
                  <a:lnTo>
                    <a:pt x="1076" y="1812"/>
                  </a:lnTo>
                  <a:lnTo>
                    <a:pt x="1076" y="1812"/>
                  </a:lnTo>
                  <a:close/>
                  <a:moveTo>
                    <a:pt x="1137" y="1746"/>
                  </a:moveTo>
                  <a:lnTo>
                    <a:pt x="1137" y="1777"/>
                  </a:lnTo>
                  <a:lnTo>
                    <a:pt x="1076" y="1777"/>
                  </a:lnTo>
                  <a:lnTo>
                    <a:pt x="1076" y="1716"/>
                  </a:lnTo>
                  <a:lnTo>
                    <a:pt x="1137" y="1716"/>
                  </a:lnTo>
                  <a:lnTo>
                    <a:pt x="1137" y="1746"/>
                  </a:lnTo>
                  <a:lnTo>
                    <a:pt x="1137" y="1746"/>
                  </a:lnTo>
                  <a:close/>
                  <a:moveTo>
                    <a:pt x="2804" y="2259"/>
                  </a:moveTo>
                  <a:lnTo>
                    <a:pt x="2804" y="2259"/>
                  </a:lnTo>
                  <a:lnTo>
                    <a:pt x="2798" y="2254"/>
                  </a:lnTo>
                  <a:lnTo>
                    <a:pt x="2792" y="2249"/>
                  </a:lnTo>
                  <a:lnTo>
                    <a:pt x="2786" y="2245"/>
                  </a:lnTo>
                  <a:lnTo>
                    <a:pt x="2779" y="2242"/>
                  </a:lnTo>
                  <a:lnTo>
                    <a:pt x="2773" y="2239"/>
                  </a:lnTo>
                  <a:lnTo>
                    <a:pt x="2765" y="2238"/>
                  </a:lnTo>
                  <a:lnTo>
                    <a:pt x="2749" y="2236"/>
                  </a:lnTo>
                  <a:lnTo>
                    <a:pt x="2749" y="2236"/>
                  </a:lnTo>
                  <a:lnTo>
                    <a:pt x="2738" y="2237"/>
                  </a:lnTo>
                  <a:lnTo>
                    <a:pt x="2729" y="2238"/>
                  </a:lnTo>
                  <a:lnTo>
                    <a:pt x="2719" y="2242"/>
                  </a:lnTo>
                  <a:lnTo>
                    <a:pt x="2709" y="2245"/>
                  </a:lnTo>
                  <a:lnTo>
                    <a:pt x="2701" y="2250"/>
                  </a:lnTo>
                  <a:lnTo>
                    <a:pt x="2693" y="2255"/>
                  </a:lnTo>
                  <a:lnTo>
                    <a:pt x="2686" y="2262"/>
                  </a:lnTo>
                  <a:lnTo>
                    <a:pt x="2679" y="2270"/>
                  </a:lnTo>
                  <a:lnTo>
                    <a:pt x="2674" y="2278"/>
                  </a:lnTo>
                  <a:lnTo>
                    <a:pt x="2668" y="2288"/>
                  </a:lnTo>
                  <a:lnTo>
                    <a:pt x="2664" y="2298"/>
                  </a:lnTo>
                  <a:lnTo>
                    <a:pt x="2660" y="2310"/>
                  </a:lnTo>
                  <a:lnTo>
                    <a:pt x="2657" y="2321"/>
                  </a:lnTo>
                  <a:lnTo>
                    <a:pt x="2656" y="2334"/>
                  </a:lnTo>
                  <a:lnTo>
                    <a:pt x="2654" y="2348"/>
                  </a:lnTo>
                  <a:lnTo>
                    <a:pt x="2653" y="2362"/>
                  </a:lnTo>
                  <a:lnTo>
                    <a:pt x="2653" y="2362"/>
                  </a:lnTo>
                  <a:lnTo>
                    <a:pt x="2654" y="2377"/>
                  </a:lnTo>
                  <a:lnTo>
                    <a:pt x="2656" y="2391"/>
                  </a:lnTo>
                  <a:lnTo>
                    <a:pt x="2657" y="2404"/>
                  </a:lnTo>
                  <a:lnTo>
                    <a:pt x="2660" y="2417"/>
                  </a:lnTo>
                  <a:lnTo>
                    <a:pt x="2663" y="2428"/>
                  </a:lnTo>
                  <a:lnTo>
                    <a:pt x="2668" y="2439"/>
                  </a:lnTo>
                  <a:lnTo>
                    <a:pt x="2673" y="2449"/>
                  </a:lnTo>
                  <a:lnTo>
                    <a:pt x="2679" y="2458"/>
                  </a:lnTo>
                  <a:lnTo>
                    <a:pt x="2685" y="2466"/>
                  </a:lnTo>
                  <a:lnTo>
                    <a:pt x="2692" y="2472"/>
                  </a:lnTo>
                  <a:lnTo>
                    <a:pt x="2699" y="2478"/>
                  </a:lnTo>
                  <a:lnTo>
                    <a:pt x="2708" y="2483"/>
                  </a:lnTo>
                  <a:lnTo>
                    <a:pt x="2718" y="2488"/>
                  </a:lnTo>
                  <a:lnTo>
                    <a:pt x="2728" y="2491"/>
                  </a:lnTo>
                  <a:lnTo>
                    <a:pt x="2737" y="2492"/>
                  </a:lnTo>
                  <a:lnTo>
                    <a:pt x="2748" y="2493"/>
                  </a:lnTo>
                  <a:lnTo>
                    <a:pt x="2748" y="2493"/>
                  </a:lnTo>
                  <a:lnTo>
                    <a:pt x="2756" y="2492"/>
                  </a:lnTo>
                  <a:lnTo>
                    <a:pt x="2764" y="2491"/>
                  </a:lnTo>
                  <a:lnTo>
                    <a:pt x="2771" y="2489"/>
                  </a:lnTo>
                  <a:lnTo>
                    <a:pt x="2777" y="2487"/>
                  </a:lnTo>
                  <a:lnTo>
                    <a:pt x="2785" y="2483"/>
                  </a:lnTo>
                  <a:lnTo>
                    <a:pt x="2792" y="2480"/>
                  </a:lnTo>
                  <a:lnTo>
                    <a:pt x="2798" y="2475"/>
                  </a:lnTo>
                  <a:lnTo>
                    <a:pt x="2804" y="2469"/>
                  </a:lnTo>
                  <a:lnTo>
                    <a:pt x="2804" y="2487"/>
                  </a:lnTo>
                  <a:lnTo>
                    <a:pt x="2865" y="2487"/>
                  </a:lnTo>
                  <a:lnTo>
                    <a:pt x="2865" y="2139"/>
                  </a:lnTo>
                  <a:lnTo>
                    <a:pt x="2804" y="2170"/>
                  </a:lnTo>
                  <a:lnTo>
                    <a:pt x="2804" y="2259"/>
                  </a:lnTo>
                  <a:lnTo>
                    <a:pt x="2804" y="2259"/>
                  </a:lnTo>
                  <a:close/>
                  <a:moveTo>
                    <a:pt x="2762" y="2437"/>
                  </a:moveTo>
                  <a:lnTo>
                    <a:pt x="2762" y="2437"/>
                  </a:lnTo>
                  <a:lnTo>
                    <a:pt x="2753" y="2436"/>
                  </a:lnTo>
                  <a:lnTo>
                    <a:pt x="2746" y="2433"/>
                  </a:lnTo>
                  <a:lnTo>
                    <a:pt x="2737" y="2430"/>
                  </a:lnTo>
                  <a:lnTo>
                    <a:pt x="2730" y="2422"/>
                  </a:lnTo>
                  <a:lnTo>
                    <a:pt x="2724" y="2413"/>
                  </a:lnTo>
                  <a:lnTo>
                    <a:pt x="2719" y="2399"/>
                  </a:lnTo>
                  <a:lnTo>
                    <a:pt x="2717" y="2382"/>
                  </a:lnTo>
                  <a:lnTo>
                    <a:pt x="2715" y="2360"/>
                  </a:lnTo>
                  <a:lnTo>
                    <a:pt x="2715" y="2360"/>
                  </a:lnTo>
                  <a:lnTo>
                    <a:pt x="2717" y="2342"/>
                  </a:lnTo>
                  <a:lnTo>
                    <a:pt x="2719" y="2326"/>
                  </a:lnTo>
                  <a:lnTo>
                    <a:pt x="2724" y="2314"/>
                  </a:lnTo>
                  <a:lnTo>
                    <a:pt x="2730" y="2305"/>
                  </a:lnTo>
                  <a:lnTo>
                    <a:pt x="2737" y="2299"/>
                  </a:lnTo>
                  <a:lnTo>
                    <a:pt x="2745" y="2294"/>
                  </a:lnTo>
                  <a:lnTo>
                    <a:pt x="2753" y="2293"/>
                  </a:lnTo>
                  <a:lnTo>
                    <a:pt x="2760" y="2292"/>
                  </a:lnTo>
                  <a:lnTo>
                    <a:pt x="2760" y="2292"/>
                  </a:lnTo>
                  <a:lnTo>
                    <a:pt x="2769" y="2293"/>
                  </a:lnTo>
                  <a:lnTo>
                    <a:pt x="2776" y="2294"/>
                  </a:lnTo>
                  <a:lnTo>
                    <a:pt x="2782" y="2297"/>
                  </a:lnTo>
                  <a:lnTo>
                    <a:pt x="2788" y="2300"/>
                  </a:lnTo>
                  <a:lnTo>
                    <a:pt x="2793" y="2304"/>
                  </a:lnTo>
                  <a:lnTo>
                    <a:pt x="2798" y="2308"/>
                  </a:lnTo>
                  <a:lnTo>
                    <a:pt x="2804" y="2316"/>
                  </a:lnTo>
                  <a:lnTo>
                    <a:pt x="2804" y="2413"/>
                  </a:lnTo>
                  <a:lnTo>
                    <a:pt x="2804" y="2413"/>
                  </a:lnTo>
                  <a:lnTo>
                    <a:pt x="2797" y="2421"/>
                  </a:lnTo>
                  <a:lnTo>
                    <a:pt x="2788" y="2428"/>
                  </a:lnTo>
                  <a:lnTo>
                    <a:pt x="2782" y="2432"/>
                  </a:lnTo>
                  <a:lnTo>
                    <a:pt x="2776" y="2434"/>
                  </a:lnTo>
                  <a:lnTo>
                    <a:pt x="2769" y="2436"/>
                  </a:lnTo>
                  <a:lnTo>
                    <a:pt x="2762" y="2437"/>
                  </a:lnTo>
                  <a:lnTo>
                    <a:pt x="2762" y="2437"/>
                  </a:lnTo>
                  <a:lnTo>
                    <a:pt x="2762" y="2437"/>
                  </a:lnTo>
                  <a:close/>
                  <a:moveTo>
                    <a:pt x="742" y="2310"/>
                  </a:moveTo>
                  <a:lnTo>
                    <a:pt x="742" y="2310"/>
                  </a:lnTo>
                  <a:lnTo>
                    <a:pt x="734" y="2305"/>
                  </a:lnTo>
                  <a:lnTo>
                    <a:pt x="724" y="2300"/>
                  </a:lnTo>
                  <a:lnTo>
                    <a:pt x="713" y="2298"/>
                  </a:lnTo>
                  <a:lnTo>
                    <a:pt x="702" y="2297"/>
                  </a:lnTo>
                  <a:lnTo>
                    <a:pt x="702" y="2297"/>
                  </a:lnTo>
                  <a:lnTo>
                    <a:pt x="692" y="2298"/>
                  </a:lnTo>
                  <a:lnTo>
                    <a:pt x="682" y="2300"/>
                  </a:lnTo>
                  <a:lnTo>
                    <a:pt x="675" y="2305"/>
                  </a:lnTo>
                  <a:lnTo>
                    <a:pt x="669" y="2311"/>
                  </a:lnTo>
                  <a:lnTo>
                    <a:pt x="664" y="2319"/>
                  </a:lnTo>
                  <a:lnTo>
                    <a:pt x="662" y="2328"/>
                  </a:lnTo>
                  <a:lnTo>
                    <a:pt x="659" y="2341"/>
                  </a:lnTo>
                  <a:lnTo>
                    <a:pt x="658" y="2354"/>
                  </a:lnTo>
                  <a:lnTo>
                    <a:pt x="658" y="2487"/>
                  </a:lnTo>
                  <a:lnTo>
                    <a:pt x="598" y="2487"/>
                  </a:lnTo>
                  <a:lnTo>
                    <a:pt x="598" y="2242"/>
                  </a:lnTo>
                  <a:lnTo>
                    <a:pt x="658" y="2242"/>
                  </a:lnTo>
                  <a:lnTo>
                    <a:pt x="658" y="2262"/>
                  </a:lnTo>
                  <a:lnTo>
                    <a:pt x="658" y="2262"/>
                  </a:lnTo>
                  <a:lnTo>
                    <a:pt x="664" y="2256"/>
                  </a:lnTo>
                  <a:lnTo>
                    <a:pt x="670" y="2250"/>
                  </a:lnTo>
                  <a:lnTo>
                    <a:pt x="676" y="2247"/>
                  </a:lnTo>
                  <a:lnTo>
                    <a:pt x="684" y="2243"/>
                  </a:lnTo>
                  <a:lnTo>
                    <a:pt x="690" y="2239"/>
                  </a:lnTo>
                  <a:lnTo>
                    <a:pt x="697" y="2238"/>
                  </a:lnTo>
                  <a:lnTo>
                    <a:pt x="706" y="2237"/>
                  </a:lnTo>
                  <a:lnTo>
                    <a:pt x="713" y="2236"/>
                  </a:lnTo>
                  <a:lnTo>
                    <a:pt x="713" y="2236"/>
                  </a:lnTo>
                  <a:lnTo>
                    <a:pt x="725" y="2237"/>
                  </a:lnTo>
                  <a:lnTo>
                    <a:pt x="737" y="2240"/>
                  </a:lnTo>
                  <a:lnTo>
                    <a:pt x="750" y="2245"/>
                  </a:lnTo>
                  <a:lnTo>
                    <a:pt x="759" y="2251"/>
                  </a:lnTo>
                  <a:lnTo>
                    <a:pt x="742" y="2310"/>
                  </a:lnTo>
                  <a:lnTo>
                    <a:pt x="742" y="2310"/>
                  </a:lnTo>
                  <a:close/>
                  <a:moveTo>
                    <a:pt x="266" y="2242"/>
                  </a:moveTo>
                  <a:lnTo>
                    <a:pt x="325" y="2242"/>
                  </a:lnTo>
                  <a:lnTo>
                    <a:pt x="256" y="2487"/>
                  </a:lnTo>
                  <a:lnTo>
                    <a:pt x="204" y="2487"/>
                  </a:lnTo>
                  <a:lnTo>
                    <a:pt x="177" y="2386"/>
                  </a:lnTo>
                  <a:lnTo>
                    <a:pt x="177" y="2386"/>
                  </a:lnTo>
                  <a:lnTo>
                    <a:pt x="163" y="2332"/>
                  </a:lnTo>
                  <a:lnTo>
                    <a:pt x="163" y="2332"/>
                  </a:lnTo>
                  <a:lnTo>
                    <a:pt x="157" y="2358"/>
                  </a:lnTo>
                  <a:lnTo>
                    <a:pt x="150" y="2387"/>
                  </a:lnTo>
                  <a:lnTo>
                    <a:pt x="122" y="2487"/>
                  </a:lnTo>
                  <a:lnTo>
                    <a:pt x="69" y="2487"/>
                  </a:lnTo>
                  <a:lnTo>
                    <a:pt x="69" y="2486"/>
                  </a:lnTo>
                  <a:lnTo>
                    <a:pt x="0" y="2242"/>
                  </a:lnTo>
                  <a:lnTo>
                    <a:pt x="63" y="2242"/>
                  </a:lnTo>
                  <a:lnTo>
                    <a:pt x="85" y="2333"/>
                  </a:lnTo>
                  <a:lnTo>
                    <a:pt x="85" y="2333"/>
                  </a:lnTo>
                  <a:lnTo>
                    <a:pt x="91" y="2362"/>
                  </a:lnTo>
                  <a:lnTo>
                    <a:pt x="97" y="2393"/>
                  </a:lnTo>
                  <a:lnTo>
                    <a:pt x="97" y="2393"/>
                  </a:lnTo>
                  <a:lnTo>
                    <a:pt x="105" y="2362"/>
                  </a:lnTo>
                  <a:lnTo>
                    <a:pt x="112" y="2332"/>
                  </a:lnTo>
                  <a:lnTo>
                    <a:pt x="138" y="2242"/>
                  </a:lnTo>
                  <a:lnTo>
                    <a:pt x="190" y="2242"/>
                  </a:lnTo>
                  <a:lnTo>
                    <a:pt x="216" y="2332"/>
                  </a:lnTo>
                  <a:lnTo>
                    <a:pt x="216" y="2332"/>
                  </a:lnTo>
                  <a:lnTo>
                    <a:pt x="223" y="2361"/>
                  </a:lnTo>
                  <a:lnTo>
                    <a:pt x="230" y="2394"/>
                  </a:lnTo>
                  <a:lnTo>
                    <a:pt x="230" y="2394"/>
                  </a:lnTo>
                  <a:lnTo>
                    <a:pt x="235" y="2366"/>
                  </a:lnTo>
                  <a:lnTo>
                    <a:pt x="243" y="2332"/>
                  </a:lnTo>
                  <a:lnTo>
                    <a:pt x="266" y="2242"/>
                  </a:lnTo>
                  <a:lnTo>
                    <a:pt x="266" y="2242"/>
                  </a:lnTo>
                  <a:close/>
                  <a:moveTo>
                    <a:pt x="448" y="2236"/>
                  </a:moveTo>
                  <a:lnTo>
                    <a:pt x="448" y="2236"/>
                  </a:lnTo>
                  <a:lnTo>
                    <a:pt x="438" y="2237"/>
                  </a:lnTo>
                  <a:lnTo>
                    <a:pt x="425" y="2238"/>
                  </a:lnTo>
                  <a:lnTo>
                    <a:pt x="414" y="2242"/>
                  </a:lnTo>
                  <a:lnTo>
                    <a:pt x="405" y="2245"/>
                  </a:lnTo>
                  <a:lnTo>
                    <a:pt x="395" y="2250"/>
                  </a:lnTo>
                  <a:lnTo>
                    <a:pt x="385" y="2256"/>
                  </a:lnTo>
                  <a:lnTo>
                    <a:pt x="377" y="2264"/>
                  </a:lnTo>
                  <a:lnTo>
                    <a:pt x="369" y="2272"/>
                  </a:lnTo>
                  <a:lnTo>
                    <a:pt x="362" y="2281"/>
                  </a:lnTo>
                  <a:lnTo>
                    <a:pt x="356" y="2290"/>
                  </a:lnTo>
                  <a:lnTo>
                    <a:pt x="350" y="2301"/>
                  </a:lnTo>
                  <a:lnTo>
                    <a:pt x="346" y="2312"/>
                  </a:lnTo>
                  <a:lnTo>
                    <a:pt x="342" y="2325"/>
                  </a:lnTo>
                  <a:lnTo>
                    <a:pt x="340" y="2337"/>
                  </a:lnTo>
                  <a:lnTo>
                    <a:pt x="338" y="2350"/>
                  </a:lnTo>
                  <a:lnTo>
                    <a:pt x="338" y="2365"/>
                  </a:lnTo>
                  <a:lnTo>
                    <a:pt x="338" y="2365"/>
                  </a:lnTo>
                  <a:lnTo>
                    <a:pt x="338" y="2378"/>
                  </a:lnTo>
                  <a:lnTo>
                    <a:pt x="340" y="2392"/>
                  </a:lnTo>
                  <a:lnTo>
                    <a:pt x="342" y="2404"/>
                  </a:lnTo>
                  <a:lnTo>
                    <a:pt x="346" y="2416"/>
                  </a:lnTo>
                  <a:lnTo>
                    <a:pt x="350" y="2427"/>
                  </a:lnTo>
                  <a:lnTo>
                    <a:pt x="356" y="2438"/>
                  </a:lnTo>
                  <a:lnTo>
                    <a:pt x="362" y="2448"/>
                  </a:lnTo>
                  <a:lnTo>
                    <a:pt x="369" y="2456"/>
                  </a:lnTo>
                  <a:lnTo>
                    <a:pt x="377" y="2465"/>
                  </a:lnTo>
                  <a:lnTo>
                    <a:pt x="385" y="2472"/>
                  </a:lnTo>
                  <a:lnTo>
                    <a:pt x="395" y="2478"/>
                  </a:lnTo>
                  <a:lnTo>
                    <a:pt x="405" y="2483"/>
                  </a:lnTo>
                  <a:lnTo>
                    <a:pt x="414" y="2487"/>
                  </a:lnTo>
                  <a:lnTo>
                    <a:pt x="425" y="2491"/>
                  </a:lnTo>
                  <a:lnTo>
                    <a:pt x="438" y="2492"/>
                  </a:lnTo>
                  <a:lnTo>
                    <a:pt x="448" y="2493"/>
                  </a:lnTo>
                  <a:lnTo>
                    <a:pt x="448" y="2493"/>
                  </a:lnTo>
                  <a:lnTo>
                    <a:pt x="461" y="2492"/>
                  </a:lnTo>
                  <a:lnTo>
                    <a:pt x="473" y="2491"/>
                  </a:lnTo>
                  <a:lnTo>
                    <a:pt x="484" y="2487"/>
                  </a:lnTo>
                  <a:lnTo>
                    <a:pt x="494" y="2483"/>
                  </a:lnTo>
                  <a:lnTo>
                    <a:pt x="503" y="2478"/>
                  </a:lnTo>
                  <a:lnTo>
                    <a:pt x="513" y="2472"/>
                  </a:lnTo>
                  <a:lnTo>
                    <a:pt x="522" y="2465"/>
                  </a:lnTo>
                  <a:lnTo>
                    <a:pt x="529" y="2456"/>
                  </a:lnTo>
                  <a:lnTo>
                    <a:pt x="536" y="2448"/>
                  </a:lnTo>
                  <a:lnTo>
                    <a:pt x="542" y="2438"/>
                  </a:lnTo>
                  <a:lnTo>
                    <a:pt x="547" y="2427"/>
                  </a:lnTo>
                  <a:lnTo>
                    <a:pt x="552" y="2416"/>
                  </a:lnTo>
                  <a:lnTo>
                    <a:pt x="556" y="2404"/>
                  </a:lnTo>
                  <a:lnTo>
                    <a:pt x="558" y="2392"/>
                  </a:lnTo>
                  <a:lnTo>
                    <a:pt x="561" y="2378"/>
                  </a:lnTo>
                  <a:lnTo>
                    <a:pt x="561" y="2365"/>
                  </a:lnTo>
                  <a:lnTo>
                    <a:pt x="561" y="2365"/>
                  </a:lnTo>
                  <a:lnTo>
                    <a:pt x="561" y="2350"/>
                  </a:lnTo>
                  <a:lnTo>
                    <a:pt x="558" y="2337"/>
                  </a:lnTo>
                  <a:lnTo>
                    <a:pt x="556" y="2325"/>
                  </a:lnTo>
                  <a:lnTo>
                    <a:pt x="552" y="2312"/>
                  </a:lnTo>
                  <a:lnTo>
                    <a:pt x="547" y="2301"/>
                  </a:lnTo>
                  <a:lnTo>
                    <a:pt x="542" y="2290"/>
                  </a:lnTo>
                  <a:lnTo>
                    <a:pt x="536" y="2281"/>
                  </a:lnTo>
                  <a:lnTo>
                    <a:pt x="529" y="2272"/>
                  </a:lnTo>
                  <a:lnTo>
                    <a:pt x="522" y="2264"/>
                  </a:lnTo>
                  <a:lnTo>
                    <a:pt x="513" y="2256"/>
                  </a:lnTo>
                  <a:lnTo>
                    <a:pt x="503" y="2250"/>
                  </a:lnTo>
                  <a:lnTo>
                    <a:pt x="494" y="2245"/>
                  </a:lnTo>
                  <a:lnTo>
                    <a:pt x="484" y="2242"/>
                  </a:lnTo>
                  <a:lnTo>
                    <a:pt x="473" y="2238"/>
                  </a:lnTo>
                  <a:lnTo>
                    <a:pt x="461" y="2237"/>
                  </a:lnTo>
                  <a:lnTo>
                    <a:pt x="448" y="2236"/>
                  </a:lnTo>
                  <a:lnTo>
                    <a:pt x="448" y="2236"/>
                  </a:lnTo>
                  <a:lnTo>
                    <a:pt x="448" y="2236"/>
                  </a:lnTo>
                  <a:close/>
                  <a:moveTo>
                    <a:pt x="448" y="2436"/>
                  </a:moveTo>
                  <a:lnTo>
                    <a:pt x="448" y="2436"/>
                  </a:lnTo>
                  <a:lnTo>
                    <a:pt x="438" y="2434"/>
                  </a:lnTo>
                  <a:lnTo>
                    <a:pt x="428" y="2431"/>
                  </a:lnTo>
                  <a:lnTo>
                    <a:pt x="420" y="2425"/>
                  </a:lnTo>
                  <a:lnTo>
                    <a:pt x="413" y="2416"/>
                  </a:lnTo>
                  <a:lnTo>
                    <a:pt x="407" y="2406"/>
                  </a:lnTo>
                  <a:lnTo>
                    <a:pt x="402" y="2394"/>
                  </a:lnTo>
                  <a:lnTo>
                    <a:pt x="400" y="2380"/>
                  </a:lnTo>
                  <a:lnTo>
                    <a:pt x="400" y="2365"/>
                  </a:lnTo>
                  <a:lnTo>
                    <a:pt x="400" y="2365"/>
                  </a:lnTo>
                  <a:lnTo>
                    <a:pt x="400" y="2349"/>
                  </a:lnTo>
                  <a:lnTo>
                    <a:pt x="402" y="2334"/>
                  </a:lnTo>
                  <a:lnTo>
                    <a:pt x="407" y="2323"/>
                  </a:lnTo>
                  <a:lnTo>
                    <a:pt x="413" y="2312"/>
                  </a:lnTo>
                  <a:lnTo>
                    <a:pt x="420" y="2304"/>
                  </a:lnTo>
                  <a:lnTo>
                    <a:pt x="428" y="2298"/>
                  </a:lnTo>
                  <a:lnTo>
                    <a:pt x="438" y="2294"/>
                  </a:lnTo>
                  <a:lnTo>
                    <a:pt x="448" y="2293"/>
                  </a:lnTo>
                  <a:lnTo>
                    <a:pt x="448" y="2293"/>
                  </a:lnTo>
                  <a:lnTo>
                    <a:pt x="459" y="2294"/>
                  </a:lnTo>
                  <a:lnTo>
                    <a:pt x="469" y="2298"/>
                  </a:lnTo>
                  <a:lnTo>
                    <a:pt x="478" y="2304"/>
                  </a:lnTo>
                  <a:lnTo>
                    <a:pt x="485" y="2312"/>
                  </a:lnTo>
                  <a:lnTo>
                    <a:pt x="491" y="2323"/>
                  </a:lnTo>
                  <a:lnTo>
                    <a:pt x="495" y="2334"/>
                  </a:lnTo>
                  <a:lnTo>
                    <a:pt x="497" y="2349"/>
                  </a:lnTo>
                  <a:lnTo>
                    <a:pt x="498" y="2365"/>
                  </a:lnTo>
                  <a:lnTo>
                    <a:pt x="498" y="2365"/>
                  </a:lnTo>
                  <a:lnTo>
                    <a:pt x="497" y="2380"/>
                  </a:lnTo>
                  <a:lnTo>
                    <a:pt x="495" y="2394"/>
                  </a:lnTo>
                  <a:lnTo>
                    <a:pt x="491" y="2406"/>
                  </a:lnTo>
                  <a:lnTo>
                    <a:pt x="485" y="2416"/>
                  </a:lnTo>
                  <a:lnTo>
                    <a:pt x="478" y="2425"/>
                  </a:lnTo>
                  <a:lnTo>
                    <a:pt x="469" y="2431"/>
                  </a:lnTo>
                  <a:lnTo>
                    <a:pt x="459" y="2434"/>
                  </a:lnTo>
                  <a:lnTo>
                    <a:pt x="448" y="2436"/>
                  </a:lnTo>
                  <a:lnTo>
                    <a:pt x="448" y="2436"/>
                  </a:lnTo>
                  <a:lnTo>
                    <a:pt x="448" y="2436"/>
                  </a:lnTo>
                  <a:close/>
                  <a:moveTo>
                    <a:pt x="2506" y="2310"/>
                  </a:moveTo>
                  <a:lnTo>
                    <a:pt x="2506" y="2310"/>
                  </a:lnTo>
                  <a:lnTo>
                    <a:pt x="2496" y="2305"/>
                  </a:lnTo>
                  <a:lnTo>
                    <a:pt x="2486" y="2300"/>
                  </a:lnTo>
                  <a:lnTo>
                    <a:pt x="2475" y="2298"/>
                  </a:lnTo>
                  <a:lnTo>
                    <a:pt x="2465" y="2297"/>
                  </a:lnTo>
                  <a:lnTo>
                    <a:pt x="2465" y="2297"/>
                  </a:lnTo>
                  <a:lnTo>
                    <a:pt x="2455" y="2298"/>
                  </a:lnTo>
                  <a:lnTo>
                    <a:pt x="2446" y="2300"/>
                  </a:lnTo>
                  <a:lnTo>
                    <a:pt x="2439" y="2305"/>
                  </a:lnTo>
                  <a:lnTo>
                    <a:pt x="2433" y="2311"/>
                  </a:lnTo>
                  <a:lnTo>
                    <a:pt x="2428" y="2319"/>
                  </a:lnTo>
                  <a:lnTo>
                    <a:pt x="2424" y="2328"/>
                  </a:lnTo>
                  <a:lnTo>
                    <a:pt x="2422" y="2341"/>
                  </a:lnTo>
                  <a:lnTo>
                    <a:pt x="2422" y="2354"/>
                  </a:lnTo>
                  <a:lnTo>
                    <a:pt x="2422" y="2487"/>
                  </a:lnTo>
                  <a:lnTo>
                    <a:pt x="2361" y="2487"/>
                  </a:lnTo>
                  <a:lnTo>
                    <a:pt x="2361" y="2242"/>
                  </a:lnTo>
                  <a:lnTo>
                    <a:pt x="2422" y="2242"/>
                  </a:lnTo>
                  <a:lnTo>
                    <a:pt x="2422" y="2262"/>
                  </a:lnTo>
                  <a:lnTo>
                    <a:pt x="2422" y="2262"/>
                  </a:lnTo>
                  <a:lnTo>
                    <a:pt x="2426" y="2256"/>
                  </a:lnTo>
                  <a:lnTo>
                    <a:pt x="2433" y="2250"/>
                  </a:lnTo>
                  <a:lnTo>
                    <a:pt x="2439" y="2247"/>
                  </a:lnTo>
                  <a:lnTo>
                    <a:pt x="2446" y="2243"/>
                  </a:lnTo>
                  <a:lnTo>
                    <a:pt x="2453" y="2239"/>
                  </a:lnTo>
                  <a:lnTo>
                    <a:pt x="2461" y="2238"/>
                  </a:lnTo>
                  <a:lnTo>
                    <a:pt x="2468" y="2237"/>
                  </a:lnTo>
                  <a:lnTo>
                    <a:pt x="2475" y="2236"/>
                  </a:lnTo>
                  <a:lnTo>
                    <a:pt x="2475" y="2236"/>
                  </a:lnTo>
                  <a:lnTo>
                    <a:pt x="2487" y="2237"/>
                  </a:lnTo>
                  <a:lnTo>
                    <a:pt x="2500" y="2240"/>
                  </a:lnTo>
                  <a:lnTo>
                    <a:pt x="2512" y="2245"/>
                  </a:lnTo>
                  <a:lnTo>
                    <a:pt x="2522" y="2251"/>
                  </a:lnTo>
                  <a:lnTo>
                    <a:pt x="2506" y="2310"/>
                  </a:lnTo>
                  <a:lnTo>
                    <a:pt x="2506" y="2310"/>
                  </a:lnTo>
                  <a:close/>
                  <a:moveTo>
                    <a:pt x="2028" y="2242"/>
                  </a:moveTo>
                  <a:lnTo>
                    <a:pt x="2088" y="2242"/>
                  </a:lnTo>
                  <a:lnTo>
                    <a:pt x="2018" y="2487"/>
                  </a:lnTo>
                  <a:lnTo>
                    <a:pt x="1966" y="2487"/>
                  </a:lnTo>
                  <a:lnTo>
                    <a:pt x="1939" y="2386"/>
                  </a:lnTo>
                  <a:lnTo>
                    <a:pt x="1939" y="2386"/>
                  </a:lnTo>
                  <a:lnTo>
                    <a:pt x="1926" y="2332"/>
                  </a:lnTo>
                  <a:lnTo>
                    <a:pt x="1926" y="2332"/>
                  </a:lnTo>
                  <a:lnTo>
                    <a:pt x="1919" y="2358"/>
                  </a:lnTo>
                  <a:lnTo>
                    <a:pt x="1912" y="2387"/>
                  </a:lnTo>
                  <a:lnTo>
                    <a:pt x="1885" y="2487"/>
                  </a:lnTo>
                  <a:lnTo>
                    <a:pt x="1833" y="2487"/>
                  </a:lnTo>
                  <a:lnTo>
                    <a:pt x="1832" y="2486"/>
                  </a:lnTo>
                  <a:lnTo>
                    <a:pt x="1763" y="2242"/>
                  </a:lnTo>
                  <a:lnTo>
                    <a:pt x="1826" y="2242"/>
                  </a:lnTo>
                  <a:lnTo>
                    <a:pt x="1849" y="2333"/>
                  </a:lnTo>
                  <a:lnTo>
                    <a:pt x="1849" y="2333"/>
                  </a:lnTo>
                  <a:lnTo>
                    <a:pt x="1855" y="2362"/>
                  </a:lnTo>
                  <a:lnTo>
                    <a:pt x="1861" y="2393"/>
                  </a:lnTo>
                  <a:lnTo>
                    <a:pt x="1861" y="2393"/>
                  </a:lnTo>
                  <a:lnTo>
                    <a:pt x="1867" y="2362"/>
                  </a:lnTo>
                  <a:lnTo>
                    <a:pt x="1876" y="2332"/>
                  </a:lnTo>
                  <a:lnTo>
                    <a:pt x="1901" y="2242"/>
                  </a:lnTo>
                  <a:lnTo>
                    <a:pt x="1952" y="2242"/>
                  </a:lnTo>
                  <a:lnTo>
                    <a:pt x="1978" y="2332"/>
                  </a:lnTo>
                  <a:lnTo>
                    <a:pt x="1978" y="2332"/>
                  </a:lnTo>
                  <a:lnTo>
                    <a:pt x="1985" y="2361"/>
                  </a:lnTo>
                  <a:lnTo>
                    <a:pt x="1993" y="2394"/>
                  </a:lnTo>
                  <a:lnTo>
                    <a:pt x="1993" y="2394"/>
                  </a:lnTo>
                  <a:lnTo>
                    <a:pt x="1999" y="2366"/>
                  </a:lnTo>
                  <a:lnTo>
                    <a:pt x="2006" y="2332"/>
                  </a:lnTo>
                  <a:lnTo>
                    <a:pt x="2028" y="2242"/>
                  </a:lnTo>
                  <a:lnTo>
                    <a:pt x="2028" y="2242"/>
                  </a:lnTo>
                  <a:close/>
                  <a:moveTo>
                    <a:pt x="2211" y="2236"/>
                  </a:moveTo>
                  <a:lnTo>
                    <a:pt x="2211" y="2236"/>
                  </a:lnTo>
                  <a:lnTo>
                    <a:pt x="2200" y="2237"/>
                  </a:lnTo>
                  <a:lnTo>
                    <a:pt x="2188" y="2238"/>
                  </a:lnTo>
                  <a:lnTo>
                    <a:pt x="2177" y="2242"/>
                  </a:lnTo>
                  <a:lnTo>
                    <a:pt x="2167" y="2245"/>
                  </a:lnTo>
                  <a:lnTo>
                    <a:pt x="2157" y="2250"/>
                  </a:lnTo>
                  <a:lnTo>
                    <a:pt x="2147" y="2258"/>
                  </a:lnTo>
                  <a:lnTo>
                    <a:pt x="2139" y="2264"/>
                  </a:lnTo>
                  <a:lnTo>
                    <a:pt x="2132" y="2272"/>
                  </a:lnTo>
                  <a:lnTo>
                    <a:pt x="2124" y="2281"/>
                  </a:lnTo>
                  <a:lnTo>
                    <a:pt x="2118" y="2290"/>
                  </a:lnTo>
                  <a:lnTo>
                    <a:pt x="2112" y="2301"/>
                  </a:lnTo>
                  <a:lnTo>
                    <a:pt x="2108" y="2312"/>
                  </a:lnTo>
                  <a:lnTo>
                    <a:pt x="2105" y="2325"/>
                  </a:lnTo>
                  <a:lnTo>
                    <a:pt x="2101" y="2338"/>
                  </a:lnTo>
                  <a:lnTo>
                    <a:pt x="2100" y="2350"/>
                  </a:lnTo>
                  <a:lnTo>
                    <a:pt x="2100" y="2365"/>
                  </a:lnTo>
                  <a:lnTo>
                    <a:pt x="2100" y="2365"/>
                  </a:lnTo>
                  <a:lnTo>
                    <a:pt x="2100" y="2378"/>
                  </a:lnTo>
                  <a:lnTo>
                    <a:pt x="2101" y="2392"/>
                  </a:lnTo>
                  <a:lnTo>
                    <a:pt x="2105" y="2404"/>
                  </a:lnTo>
                  <a:lnTo>
                    <a:pt x="2108" y="2416"/>
                  </a:lnTo>
                  <a:lnTo>
                    <a:pt x="2112" y="2427"/>
                  </a:lnTo>
                  <a:lnTo>
                    <a:pt x="2118" y="2438"/>
                  </a:lnTo>
                  <a:lnTo>
                    <a:pt x="2124" y="2448"/>
                  </a:lnTo>
                  <a:lnTo>
                    <a:pt x="2132" y="2456"/>
                  </a:lnTo>
                  <a:lnTo>
                    <a:pt x="2139" y="2465"/>
                  </a:lnTo>
                  <a:lnTo>
                    <a:pt x="2147" y="2472"/>
                  </a:lnTo>
                  <a:lnTo>
                    <a:pt x="2157" y="2478"/>
                  </a:lnTo>
                  <a:lnTo>
                    <a:pt x="2167" y="2483"/>
                  </a:lnTo>
                  <a:lnTo>
                    <a:pt x="2177" y="2487"/>
                  </a:lnTo>
                  <a:lnTo>
                    <a:pt x="2188" y="2491"/>
                  </a:lnTo>
                  <a:lnTo>
                    <a:pt x="2200" y="2492"/>
                  </a:lnTo>
                  <a:lnTo>
                    <a:pt x="2211" y="2493"/>
                  </a:lnTo>
                  <a:lnTo>
                    <a:pt x="2211" y="2493"/>
                  </a:lnTo>
                  <a:lnTo>
                    <a:pt x="2223" y="2492"/>
                  </a:lnTo>
                  <a:lnTo>
                    <a:pt x="2235" y="2491"/>
                  </a:lnTo>
                  <a:lnTo>
                    <a:pt x="2246" y="2487"/>
                  </a:lnTo>
                  <a:lnTo>
                    <a:pt x="2256" y="2483"/>
                  </a:lnTo>
                  <a:lnTo>
                    <a:pt x="2266" y="2478"/>
                  </a:lnTo>
                  <a:lnTo>
                    <a:pt x="2275" y="2472"/>
                  </a:lnTo>
                  <a:lnTo>
                    <a:pt x="2284" y="2465"/>
                  </a:lnTo>
                  <a:lnTo>
                    <a:pt x="2291" y="2456"/>
                  </a:lnTo>
                  <a:lnTo>
                    <a:pt x="2299" y="2448"/>
                  </a:lnTo>
                  <a:lnTo>
                    <a:pt x="2305" y="2438"/>
                  </a:lnTo>
                  <a:lnTo>
                    <a:pt x="2309" y="2427"/>
                  </a:lnTo>
                  <a:lnTo>
                    <a:pt x="2314" y="2416"/>
                  </a:lnTo>
                  <a:lnTo>
                    <a:pt x="2318" y="2404"/>
                  </a:lnTo>
                  <a:lnTo>
                    <a:pt x="2320" y="2392"/>
                  </a:lnTo>
                  <a:lnTo>
                    <a:pt x="2323" y="2378"/>
                  </a:lnTo>
                  <a:lnTo>
                    <a:pt x="2323" y="2365"/>
                  </a:lnTo>
                  <a:lnTo>
                    <a:pt x="2323" y="2365"/>
                  </a:lnTo>
                  <a:lnTo>
                    <a:pt x="2323" y="2350"/>
                  </a:lnTo>
                  <a:lnTo>
                    <a:pt x="2320" y="2338"/>
                  </a:lnTo>
                  <a:lnTo>
                    <a:pt x="2318" y="2325"/>
                  </a:lnTo>
                  <a:lnTo>
                    <a:pt x="2314" y="2312"/>
                  </a:lnTo>
                  <a:lnTo>
                    <a:pt x="2309" y="2301"/>
                  </a:lnTo>
                  <a:lnTo>
                    <a:pt x="2305" y="2290"/>
                  </a:lnTo>
                  <a:lnTo>
                    <a:pt x="2299" y="2281"/>
                  </a:lnTo>
                  <a:lnTo>
                    <a:pt x="2291" y="2272"/>
                  </a:lnTo>
                  <a:lnTo>
                    <a:pt x="2284" y="2264"/>
                  </a:lnTo>
                  <a:lnTo>
                    <a:pt x="2275" y="2258"/>
                  </a:lnTo>
                  <a:lnTo>
                    <a:pt x="2266" y="2250"/>
                  </a:lnTo>
                  <a:lnTo>
                    <a:pt x="2256" y="2245"/>
                  </a:lnTo>
                  <a:lnTo>
                    <a:pt x="2246" y="2242"/>
                  </a:lnTo>
                  <a:lnTo>
                    <a:pt x="2235" y="2238"/>
                  </a:lnTo>
                  <a:lnTo>
                    <a:pt x="2223" y="2237"/>
                  </a:lnTo>
                  <a:lnTo>
                    <a:pt x="2211" y="2236"/>
                  </a:lnTo>
                  <a:lnTo>
                    <a:pt x="2211" y="2236"/>
                  </a:lnTo>
                  <a:lnTo>
                    <a:pt x="2211" y="2236"/>
                  </a:lnTo>
                  <a:close/>
                  <a:moveTo>
                    <a:pt x="2211" y="2436"/>
                  </a:moveTo>
                  <a:lnTo>
                    <a:pt x="2211" y="2436"/>
                  </a:lnTo>
                  <a:lnTo>
                    <a:pt x="2200" y="2434"/>
                  </a:lnTo>
                  <a:lnTo>
                    <a:pt x="2191" y="2431"/>
                  </a:lnTo>
                  <a:lnTo>
                    <a:pt x="2183" y="2425"/>
                  </a:lnTo>
                  <a:lnTo>
                    <a:pt x="2175" y="2416"/>
                  </a:lnTo>
                  <a:lnTo>
                    <a:pt x="2169" y="2406"/>
                  </a:lnTo>
                  <a:lnTo>
                    <a:pt x="2164" y="2394"/>
                  </a:lnTo>
                  <a:lnTo>
                    <a:pt x="2162" y="2380"/>
                  </a:lnTo>
                  <a:lnTo>
                    <a:pt x="2162" y="2365"/>
                  </a:lnTo>
                  <a:lnTo>
                    <a:pt x="2162" y="2365"/>
                  </a:lnTo>
                  <a:lnTo>
                    <a:pt x="2162" y="2349"/>
                  </a:lnTo>
                  <a:lnTo>
                    <a:pt x="2164" y="2336"/>
                  </a:lnTo>
                  <a:lnTo>
                    <a:pt x="2169" y="2323"/>
                  </a:lnTo>
                  <a:lnTo>
                    <a:pt x="2175" y="2312"/>
                  </a:lnTo>
                  <a:lnTo>
                    <a:pt x="2183" y="2304"/>
                  </a:lnTo>
                  <a:lnTo>
                    <a:pt x="2191" y="2298"/>
                  </a:lnTo>
                  <a:lnTo>
                    <a:pt x="2200" y="2294"/>
                  </a:lnTo>
                  <a:lnTo>
                    <a:pt x="2211" y="2293"/>
                  </a:lnTo>
                  <a:lnTo>
                    <a:pt x="2211" y="2293"/>
                  </a:lnTo>
                  <a:lnTo>
                    <a:pt x="2222" y="2294"/>
                  </a:lnTo>
                  <a:lnTo>
                    <a:pt x="2231" y="2298"/>
                  </a:lnTo>
                  <a:lnTo>
                    <a:pt x="2240" y="2304"/>
                  </a:lnTo>
                  <a:lnTo>
                    <a:pt x="2247" y="2312"/>
                  </a:lnTo>
                  <a:lnTo>
                    <a:pt x="2253" y="2323"/>
                  </a:lnTo>
                  <a:lnTo>
                    <a:pt x="2257" y="2336"/>
                  </a:lnTo>
                  <a:lnTo>
                    <a:pt x="2260" y="2349"/>
                  </a:lnTo>
                  <a:lnTo>
                    <a:pt x="2261" y="2365"/>
                  </a:lnTo>
                  <a:lnTo>
                    <a:pt x="2261" y="2365"/>
                  </a:lnTo>
                  <a:lnTo>
                    <a:pt x="2260" y="2380"/>
                  </a:lnTo>
                  <a:lnTo>
                    <a:pt x="2257" y="2394"/>
                  </a:lnTo>
                  <a:lnTo>
                    <a:pt x="2253" y="2406"/>
                  </a:lnTo>
                  <a:lnTo>
                    <a:pt x="2247" y="2416"/>
                  </a:lnTo>
                  <a:lnTo>
                    <a:pt x="2240" y="2425"/>
                  </a:lnTo>
                  <a:lnTo>
                    <a:pt x="2231" y="2431"/>
                  </a:lnTo>
                  <a:lnTo>
                    <a:pt x="2222" y="2434"/>
                  </a:lnTo>
                  <a:lnTo>
                    <a:pt x="2211" y="2436"/>
                  </a:lnTo>
                  <a:lnTo>
                    <a:pt x="2211" y="2436"/>
                  </a:lnTo>
                  <a:lnTo>
                    <a:pt x="2211" y="2436"/>
                  </a:lnTo>
                  <a:close/>
                  <a:moveTo>
                    <a:pt x="924" y="2322"/>
                  </a:moveTo>
                  <a:lnTo>
                    <a:pt x="998" y="2487"/>
                  </a:lnTo>
                  <a:lnTo>
                    <a:pt x="931" y="2487"/>
                  </a:lnTo>
                  <a:lnTo>
                    <a:pt x="880" y="2373"/>
                  </a:lnTo>
                  <a:lnTo>
                    <a:pt x="847" y="2414"/>
                  </a:lnTo>
                  <a:lnTo>
                    <a:pt x="847" y="2487"/>
                  </a:lnTo>
                  <a:lnTo>
                    <a:pt x="787" y="2487"/>
                  </a:lnTo>
                  <a:lnTo>
                    <a:pt x="787" y="2170"/>
                  </a:lnTo>
                  <a:lnTo>
                    <a:pt x="847" y="2139"/>
                  </a:lnTo>
                  <a:lnTo>
                    <a:pt x="847" y="2336"/>
                  </a:lnTo>
                  <a:lnTo>
                    <a:pt x="847" y="2336"/>
                  </a:lnTo>
                  <a:lnTo>
                    <a:pt x="870" y="2304"/>
                  </a:lnTo>
                  <a:lnTo>
                    <a:pt x="919" y="2242"/>
                  </a:lnTo>
                  <a:lnTo>
                    <a:pt x="990" y="2242"/>
                  </a:lnTo>
                  <a:lnTo>
                    <a:pt x="924" y="2322"/>
                  </a:lnTo>
                  <a:lnTo>
                    <a:pt x="924" y="2322"/>
                  </a:lnTo>
                  <a:close/>
                  <a:moveTo>
                    <a:pt x="1211" y="2487"/>
                  </a:moveTo>
                  <a:lnTo>
                    <a:pt x="1150" y="2487"/>
                  </a:lnTo>
                  <a:lnTo>
                    <a:pt x="1150" y="2242"/>
                  </a:lnTo>
                  <a:lnTo>
                    <a:pt x="1211" y="2242"/>
                  </a:lnTo>
                  <a:lnTo>
                    <a:pt x="1211" y="2262"/>
                  </a:lnTo>
                  <a:lnTo>
                    <a:pt x="1211" y="2262"/>
                  </a:lnTo>
                  <a:lnTo>
                    <a:pt x="1218" y="2256"/>
                  </a:lnTo>
                  <a:lnTo>
                    <a:pt x="1224" y="2251"/>
                  </a:lnTo>
                  <a:lnTo>
                    <a:pt x="1231" y="2247"/>
                  </a:lnTo>
                  <a:lnTo>
                    <a:pt x="1238" y="2243"/>
                  </a:lnTo>
                  <a:lnTo>
                    <a:pt x="1247" y="2240"/>
                  </a:lnTo>
                  <a:lnTo>
                    <a:pt x="1255" y="2238"/>
                  </a:lnTo>
                  <a:lnTo>
                    <a:pt x="1264" y="2237"/>
                  </a:lnTo>
                  <a:lnTo>
                    <a:pt x="1274" y="2236"/>
                  </a:lnTo>
                  <a:lnTo>
                    <a:pt x="1274" y="2236"/>
                  </a:lnTo>
                  <a:lnTo>
                    <a:pt x="1285" y="2237"/>
                  </a:lnTo>
                  <a:lnTo>
                    <a:pt x="1294" y="2238"/>
                  </a:lnTo>
                  <a:lnTo>
                    <a:pt x="1303" y="2240"/>
                  </a:lnTo>
                  <a:lnTo>
                    <a:pt x="1313" y="2243"/>
                  </a:lnTo>
                  <a:lnTo>
                    <a:pt x="1320" y="2248"/>
                  </a:lnTo>
                  <a:lnTo>
                    <a:pt x="1327" y="2253"/>
                  </a:lnTo>
                  <a:lnTo>
                    <a:pt x="1335" y="2258"/>
                  </a:lnTo>
                  <a:lnTo>
                    <a:pt x="1341" y="2265"/>
                  </a:lnTo>
                  <a:lnTo>
                    <a:pt x="1345" y="2272"/>
                  </a:lnTo>
                  <a:lnTo>
                    <a:pt x="1350" y="2281"/>
                  </a:lnTo>
                  <a:lnTo>
                    <a:pt x="1354" y="2289"/>
                  </a:lnTo>
                  <a:lnTo>
                    <a:pt x="1358" y="2300"/>
                  </a:lnTo>
                  <a:lnTo>
                    <a:pt x="1360" y="2311"/>
                  </a:lnTo>
                  <a:lnTo>
                    <a:pt x="1361" y="2322"/>
                  </a:lnTo>
                  <a:lnTo>
                    <a:pt x="1363" y="2334"/>
                  </a:lnTo>
                  <a:lnTo>
                    <a:pt x="1364" y="2348"/>
                  </a:lnTo>
                  <a:lnTo>
                    <a:pt x="1364" y="2487"/>
                  </a:lnTo>
                  <a:lnTo>
                    <a:pt x="1303" y="2487"/>
                  </a:lnTo>
                  <a:lnTo>
                    <a:pt x="1303" y="2351"/>
                  </a:lnTo>
                  <a:lnTo>
                    <a:pt x="1303" y="2351"/>
                  </a:lnTo>
                  <a:lnTo>
                    <a:pt x="1302" y="2338"/>
                  </a:lnTo>
                  <a:lnTo>
                    <a:pt x="1300" y="2325"/>
                  </a:lnTo>
                  <a:lnTo>
                    <a:pt x="1297" y="2315"/>
                  </a:lnTo>
                  <a:lnTo>
                    <a:pt x="1292" y="2306"/>
                  </a:lnTo>
                  <a:lnTo>
                    <a:pt x="1286" y="2300"/>
                  </a:lnTo>
                  <a:lnTo>
                    <a:pt x="1278" y="2295"/>
                  </a:lnTo>
                  <a:lnTo>
                    <a:pt x="1269" y="2293"/>
                  </a:lnTo>
                  <a:lnTo>
                    <a:pt x="1258" y="2292"/>
                  </a:lnTo>
                  <a:lnTo>
                    <a:pt x="1258" y="2292"/>
                  </a:lnTo>
                  <a:lnTo>
                    <a:pt x="1248" y="2293"/>
                  </a:lnTo>
                  <a:lnTo>
                    <a:pt x="1238" y="2295"/>
                  </a:lnTo>
                  <a:lnTo>
                    <a:pt x="1230" y="2300"/>
                  </a:lnTo>
                  <a:lnTo>
                    <a:pt x="1224" y="2308"/>
                  </a:lnTo>
                  <a:lnTo>
                    <a:pt x="1219" y="2315"/>
                  </a:lnTo>
                  <a:lnTo>
                    <a:pt x="1215" y="2326"/>
                  </a:lnTo>
                  <a:lnTo>
                    <a:pt x="1213" y="2338"/>
                  </a:lnTo>
                  <a:lnTo>
                    <a:pt x="1211" y="2351"/>
                  </a:lnTo>
                  <a:lnTo>
                    <a:pt x="1211" y="2487"/>
                  </a:lnTo>
                  <a:lnTo>
                    <a:pt x="1211" y="2487"/>
                  </a:lnTo>
                  <a:close/>
                  <a:moveTo>
                    <a:pt x="1555" y="2259"/>
                  </a:moveTo>
                  <a:lnTo>
                    <a:pt x="1555" y="2259"/>
                  </a:lnTo>
                  <a:lnTo>
                    <a:pt x="1549" y="2254"/>
                  </a:lnTo>
                  <a:lnTo>
                    <a:pt x="1543" y="2249"/>
                  </a:lnTo>
                  <a:lnTo>
                    <a:pt x="1537" y="2245"/>
                  </a:lnTo>
                  <a:lnTo>
                    <a:pt x="1530" y="2242"/>
                  </a:lnTo>
                  <a:lnTo>
                    <a:pt x="1522" y="2239"/>
                  </a:lnTo>
                  <a:lnTo>
                    <a:pt x="1515" y="2238"/>
                  </a:lnTo>
                  <a:lnTo>
                    <a:pt x="1508" y="2237"/>
                  </a:lnTo>
                  <a:lnTo>
                    <a:pt x="1500" y="2236"/>
                  </a:lnTo>
                  <a:lnTo>
                    <a:pt x="1500" y="2236"/>
                  </a:lnTo>
                  <a:lnTo>
                    <a:pt x="1489" y="2237"/>
                  </a:lnTo>
                  <a:lnTo>
                    <a:pt x="1480" y="2238"/>
                  </a:lnTo>
                  <a:lnTo>
                    <a:pt x="1470" y="2240"/>
                  </a:lnTo>
                  <a:lnTo>
                    <a:pt x="1460" y="2245"/>
                  </a:lnTo>
                  <a:lnTo>
                    <a:pt x="1452" y="2249"/>
                  </a:lnTo>
                  <a:lnTo>
                    <a:pt x="1444" y="2255"/>
                  </a:lnTo>
                  <a:lnTo>
                    <a:pt x="1437" y="2262"/>
                  </a:lnTo>
                  <a:lnTo>
                    <a:pt x="1430" y="2270"/>
                  </a:lnTo>
                  <a:lnTo>
                    <a:pt x="1423" y="2278"/>
                  </a:lnTo>
                  <a:lnTo>
                    <a:pt x="1419" y="2288"/>
                  </a:lnTo>
                  <a:lnTo>
                    <a:pt x="1414" y="2298"/>
                  </a:lnTo>
                  <a:lnTo>
                    <a:pt x="1410" y="2310"/>
                  </a:lnTo>
                  <a:lnTo>
                    <a:pt x="1408" y="2321"/>
                  </a:lnTo>
                  <a:lnTo>
                    <a:pt x="1405" y="2334"/>
                  </a:lnTo>
                  <a:lnTo>
                    <a:pt x="1404" y="2348"/>
                  </a:lnTo>
                  <a:lnTo>
                    <a:pt x="1404" y="2361"/>
                  </a:lnTo>
                  <a:lnTo>
                    <a:pt x="1404" y="2361"/>
                  </a:lnTo>
                  <a:lnTo>
                    <a:pt x="1404" y="2377"/>
                  </a:lnTo>
                  <a:lnTo>
                    <a:pt x="1405" y="2391"/>
                  </a:lnTo>
                  <a:lnTo>
                    <a:pt x="1408" y="2404"/>
                  </a:lnTo>
                  <a:lnTo>
                    <a:pt x="1410" y="2417"/>
                  </a:lnTo>
                  <a:lnTo>
                    <a:pt x="1414" y="2428"/>
                  </a:lnTo>
                  <a:lnTo>
                    <a:pt x="1419" y="2439"/>
                  </a:lnTo>
                  <a:lnTo>
                    <a:pt x="1423" y="2449"/>
                  </a:lnTo>
                  <a:lnTo>
                    <a:pt x="1430" y="2458"/>
                  </a:lnTo>
                  <a:lnTo>
                    <a:pt x="1436" y="2466"/>
                  </a:lnTo>
                  <a:lnTo>
                    <a:pt x="1443" y="2472"/>
                  </a:lnTo>
                  <a:lnTo>
                    <a:pt x="1450" y="2478"/>
                  </a:lnTo>
                  <a:lnTo>
                    <a:pt x="1459" y="2483"/>
                  </a:lnTo>
                  <a:lnTo>
                    <a:pt x="1469" y="2487"/>
                  </a:lnTo>
                  <a:lnTo>
                    <a:pt x="1478" y="2491"/>
                  </a:lnTo>
                  <a:lnTo>
                    <a:pt x="1488" y="2492"/>
                  </a:lnTo>
                  <a:lnTo>
                    <a:pt x="1499" y="2493"/>
                  </a:lnTo>
                  <a:lnTo>
                    <a:pt x="1499" y="2493"/>
                  </a:lnTo>
                  <a:lnTo>
                    <a:pt x="1506" y="2492"/>
                  </a:lnTo>
                  <a:lnTo>
                    <a:pt x="1515" y="2491"/>
                  </a:lnTo>
                  <a:lnTo>
                    <a:pt x="1522" y="2489"/>
                  </a:lnTo>
                  <a:lnTo>
                    <a:pt x="1530" y="2487"/>
                  </a:lnTo>
                  <a:lnTo>
                    <a:pt x="1536" y="2483"/>
                  </a:lnTo>
                  <a:lnTo>
                    <a:pt x="1543" y="2480"/>
                  </a:lnTo>
                  <a:lnTo>
                    <a:pt x="1549" y="2475"/>
                  </a:lnTo>
                  <a:lnTo>
                    <a:pt x="1555" y="2469"/>
                  </a:lnTo>
                  <a:lnTo>
                    <a:pt x="1555" y="2475"/>
                  </a:lnTo>
                  <a:lnTo>
                    <a:pt x="1555" y="2475"/>
                  </a:lnTo>
                  <a:lnTo>
                    <a:pt x="1555" y="2484"/>
                  </a:lnTo>
                  <a:lnTo>
                    <a:pt x="1554" y="2495"/>
                  </a:lnTo>
                  <a:lnTo>
                    <a:pt x="1550" y="2506"/>
                  </a:lnTo>
                  <a:lnTo>
                    <a:pt x="1548" y="2511"/>
                  </a:lnTo>
                  <a:lnTo>
                    <a:pt x="1545" y="2516"/>
                  </a:lnTo>
                  <a:lnTo>
                    <a:pt x="1540" y="2521"/>
                  </a:lnTo>
                  <a:lnTo>
                    <a:pt x="1536" y="2526"/>
                  </a:lnTo>
                  <a:lnTo>
                    <a:pt x="1530" y="2530"/>
                  </a:lnTo>
                  <a:lnTo>
                    <a:pt x="1522" y="2533"/>
                  </a:lnTo>
                  <a:lnTo>
                    <a:pt x="1512" y="2536"/>
                  </a:lnTo>
                  <a:lnTo>
                    <a:pt x="1503" y="2538"/>
                  </a:lnTo>
                  <a:lnTo>
                    <a:pt x="1491" y="2539"/>
                  </a:lnTo>
                  <a:lnTo>
                    <a:pt x="1476" y="2539"/>
                  </a:lnTo>
                  <a:lnTo>
                    <a:pt x="1473" y="2539"/>
                  </a:lnTo>
                  <a:lnTo>
                    <a:pt x="1495" y="2587"/>
                  </a:lnTo>
                  <a:lnTo>
                    <a:pt x="1497" y="2587"/>
                  </a:lnTo>
                  <a:lnTo>
                    <a:pt x="1497" y="2587"/>
                  </a:lnTo>
                  <a:lnTo>
                    <a:pt x="1511" y="2587"/>
                  </a:lnTo>
                  <a:lnTo>
                    <a:pt x="1525" y="2586"/>
                  </a:lnTo>
                  <a:lnTo>
                    <a:pt x="1537" y="2582"/>
                  </a:lnTo>
                  <a:lnTo>
                    <a:pt x="1549" y="2580"/>
                  </a:lnTo>
                  <a:lnTo>
                    <a:pt x="1560" y="2575"/>
                  </a:lnTo>
                  <a:lnTo>
                    <a:pt x="1570" y="2570"/>
                  </a:lnTo>
                  <a:lnTo>
                    <a:pt x="1578" y="2564"/>
                  </a:lnTo>
                  <a:lnTo>
                    <a:pt x="1586" y="2556"/>
                  </a:lnTo>
                  <a:lnTo>
                    <a:pt x="1593" y="2548"/>
                  </a:lnTo>
                  <a:lnTo>
                    <a:pt x="1599" y="2539"/>
                  </a:lnTo>
                  <a:lnTo>
                    <a:pt x="1604" y="2528"/>
                  </a:lnTo>
                  <a:lnTo>
                    <a:pt x="1608" y="2517"/>
                  </a:lnTo>
                  <a:lnTo>
                    <a:pt x="1611" y="2506"/>
                  </a:lnTo>
                  <a:lnTo>
                    <a:pt x="1614" y="2493"/>
                  </a:lnTo>
                  <a:lnTo>
                    <a:pt x="1615" y="2480"/>
                  </a:lnTo>
                  <a:lnTo>
                    <a:pt x="1615" y="2465"/>
                  </a:lnTo>
                  <a:lnTo>
                    <a:pt x="1615" y="2242"/>
                  </a:lnTo>
                  <a:lnTo>
                    <a:pt x="1555" y="2242"/>
                  </a:lnTo>
                  <a:lnTo>
                    <a:pt x="1555" y="2259"/>
                  </a:lnTo>
                  <a:lnTo>
                    <a:pt x="1555" y="2259"/>
                  </a:lnTo>
                  <a:close/>
                  <a:moveTo>
                    <a:pt x="1555" y="2316"/>
                  </a:moveTo>
                  <a:lnTo>
                    <a:pt x="1555" y="2413"/>
                  </a:lnTo>
                  <a:lnTo>
                    <a:pt x="1555" y="2413"/>
                  </a:lnTo>
                  <a:lnTo>
                    <a:pt x="1547" y="2421"/>
                  </a:lnTo>
                  <a:lnTo>
                    <a:pt x="1538" y="2430"/>
                  </a:lnTo>
                  <a:lnTo>
                    <a:pt x="1532" y="2432"/>
                  </a:lnTo>
                  <a:lnTo>
                    <a:pt x="1526" y="2434"/>
                  </a:lnTo>
                  <a:lnTo>
                    <a:pt x="1520" y="2436"/>
                  </a:lnTo>
                  <a:lnTo>
                    <a:pt x="1511" y="2437"/>
                  </a:lnTo>
                  <a:lnTo>
                    <a:pt x="1511" y="2437"/>
                  </a:lnTo>
                  <a:lnTo>
                    <a:pt x="1504" y="2436"/>
                  </a:lnTo>
                  <a:lnTo>
                    <a:pt x="1495" y="2433"/>
                  </a:lnTo>
                  <a:lnTo>
                    <a:pt x="1488" y="2430"/>
                  </a:lnTo>
                  <a:lnTo>
                    <a:pt x="1481" y="2422"/>
                  </a:lnTo>
                  <a:lnTo>
                    <a:pt x="1475" y="2413"/>
                  </a:lnTo>
                  <a:lnTo>
                    <a:pt x="1470" y="2399"/>
                  </a:lnTo>
                  <a:lnTo>
                    <a:pt x="1467" y="2382"/>
                  </a:lnTo>
                  <a:lnTo>
                    <a:pt x="1466" y="2360"/>
                  </a:lnTo>
                  <a:lnTo>
                    <a:pt x="1466" y="2360"/>
                  </a:lnTo>
                  <a:lnTo>
                    <a:pt x="1467" y="2342"/>
                  </a:lnTo>
                  <a:lnTo>
                    <a:pt x="1470" y="2326"/>
                  </a:lnTo>
                  <a:lnTo>
                    <a:pt x="1475" y="2314"/>
                  </a:lnTo>
                  <a:lnTo>
                    <a:pt x="1481" y="2305"/>
                  </a:lnTo>
                  <a:lnTo>
                    <a:pt x="1488" y="2299"/>
                  </a:lnTo>
                  <a:lnTo>
                    <a:pt x="1495" y="2294"/>
                  </a:lnTo>
                  <a:lnTo>
                    <a:pt x="1504" y="2293"/>
                  </a:lnTo>
                  <a:lnTo>
                    <a:pt x="1511" y="2292"/>
                  </a:lnTo>
                  <a:lnTo>
                    <a:pt x="1511" y="2292"/>
                  </a:lnTo>
                  <a:lnTo>
                    <a:pt x="1520" y="2293"/>
                  </a:lnTo>
                  <a:lnTo>
                    <a:pt x="1527" y="2294"/>
                  </a:lnTo>
                  <a:lnTo>
                    <a:pt x="1533" y="2297"/>
                  </a:lnTo>
                  <a:lnTo>
                    <a:pt x="1539" y="2300"/>
                  </a:lnTo>
                  <a:lnTo>
                    <a:pt x="1544" y="2304"/>
                  </a:lnTo>
                  <a:lnTo>
                    <a:pt x="1548" y="2308"/>
                  </a:lnTo>
                  <a:lnTo>
                    <a:pt x="1555" y="2316"/>
                  </a:lnTo>
                  <a:lnTo>
                    <a:pt x="1555" y="2316"/>
                  </a:lnTo>
                  <a:lnTo>
                    <a:pt x="1555" y="2316"/>
                  </a:lnTo>
                  <a:close/>
                  <a:moveTo>
                    <a:pt x="1036" y="2242"/>
                  </a:moveTo>
                  <a:lnTo>
                    <a:pt x="1097" y="2242"/>
                  </a:lnTo>
                  <a:lnTo>
                    <a:pt x="1097" y="2348"/>
                  </a:lnTo>
                  <a:lnTo>
                    <a:pt x="1097" y="2487"/>
                  </a:lnTo>
                  <a:lnTo>
                    <a:pt x="1036" y="2487"/>
                  </a:lnTo>
                  <a:lnTo>
                    <a:pt x="1036" y="2242"/>
                  </a:lnTo>
                  <a:lnTo>
                    <a:pt x="1036" y="2242"/>
                  </a:lnTo>
                  <a:close/>
                  <a:moveTo>
                    <a:pt x="1097" y="2176"/>
                  </a:moveTo>
                  <a:lnTo>
                    <a:pt x="1097" y="2206"/>
                  </a:lnTo>
                  <a:lnTo>
                    <a:pt x="1036" y="2206"/>
                  </a:lnTo>
                  <a:lnTo>
                    <a:pt x="1036" y="2145"/>
                  </a:lnTo>
                  <a:lnTo>
                    <a:pt x="1097" y="2145"/>
                  </a:lnTo>
                  <a:lnTo>
                    <a:pt x="1097" y="2176"/>
                  </a:lnTo>
                  <a:lnTo>
                    <a:pt x="1097" y="2176"/>
                  </a:lnTo>
                  <a:close/>
                  <a:moveTo>
                    <a:pt x="2550" y="2170"/>
                  </a:moveTo>
                  <a:lnTo>
                    <a:pt x="2611" y="2139"/>
                  </a:lnTo>
                  <a:lnTo>
                    <a:pt x="2611" y="2353"/>
                  </a:lnTo>
                  <a:lnTo>
                    <a:pt x="2611" y="2487"/>
                  </a:lnTo>
                  <a:lnTo>
                    <a:pt x="2550" y="2487"/>
                  </a:lnTo>
                  <a:lnTo>
                    <a:pt x="2550" y="2170"/>
                  </a:lnTo>
                  <a:lnTo>
                    <a:pt x="2550" y="2170"/>
                  </a:lnTo>
                  <a:close/>
                  <a:moveTo>
                    <a:pt x="439" y="837"/>
                  </a:moveTo>
                  <a:lnTo>
                    <a:pt x="938" y="837"/>
                  </a:lnTo>
                  <a:lnTo>
                    <a:pt x="938" y="547"/>
                  </a:lnTo>
                  <a:lnTo>
                    <a:pt x="439" y="547"/>
                  </a:lnTo>
                  <a:lnTo>
                    <a:pt x="439" y="319"/>
                  </a:lnTo>
                  <a:lnTo>
                    <a:pt x="992" y="319"/>
                  </a:lnTo>
                  <a:lnTo>
                    <a:pt x="808" y="0"/>
                  </a:lnTo>
                  <a:lnTo>
                    <a:pt x="24" y="0"/>
                  </a:lnTo>
                  <a:lnTo>
                    <a:pt x="24" y="1384"/>
                  </a:lnTo>
                  <a:lnTo>
                    <a:pt x="1130" y="1384"/>
                  </a:lnTo>
                  <a:lnTo>
                    <a:pt x="1130" y="1065"/>
                  </a:lnTo>
                  <a:lnTo>
                    <a:pt x="439" y="1065"/>
                  </a:lnTo>
                  <a:lnTo>
                    <a:pt x="439" y="837"/>
                  </a:lnTo>
                  <a:lnTo>
                    <a:pt x="439" y="837"/>
                  </a:lnTo>
                  <a:close/>
                  <a:moveTo>
                    <a:pt x="1866" y="0"/>
                  </a:moveTo>
                  <a:lnTo>
                    <a:pt x="1631" y="452"/>
                  </a:lnTo>
                  <a:lnTo>
                    <a:pt x="1397" y="0"/>
                  </a:lnTo>
                  <a:lnTo>
                    <a:pt x="938" y="0"/>
                  </a:lnTo>
                  <a:lnTo>
                    <a:pt x="1421" y="837"/>
                  </a:lnTo>
                  <a:lnTo>
                    <a:pt x="1421" y="1384"/>
                  </a:lnTo>
                  <a:lnTo>
                    <a:pt x="1834" y="1384"/>
                  </a:lnTo>
                  <a:lnTo>
                    <a:pt x="1834" y="837"/>
                  </a:lnTo>
                  <a:lnTo>
                    <a:pt x="2318" y="0"/>
                  </a:lnTo>
                  <a:lnTo>
                    <a:pt x="1866" y="0"/>
                  </a:lnTo>
                  <a:lnTo>
                    <a:pt x="186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327" tIns="47663" rIns="95327" bIns="47663" numCol="1" anchor="t" anchorCtr="0" compatLnSpc="1">
              <a:prstTxWarp prst="textNoShape">
                <a:avLst/>
              </a:prstTxWarp>
            </a:bodyPr>
            <a:lstStyle/>
            <a:p>
              <a:pPr defTabSz="1095508" fontAlgn="auto">
                <a:spcBef>
                  <a:spcPts val="0"/>
                </a:spcBef>
                <a:spcAft>
                  <a:spcPts val="0"/>
                </a:spcAft>
                <a:buClrTx/>
                <a:buSzTx/>
                <a:defRPr/>
              </a:pPr>
              <a:endParaRPr lang="en-US" sz="1877">
                <a:solidFill>
                  <a:srgbClr val="FFFFFF"/>
                </a:solidFill>
                <a:latin typeface="Arial"/>
              </a:endParaRPr>
            </a:p>
          </p:txBody>
        </p:sp>
      </p:grpSp>
    </p:spTree>
    <p:extLst>
      <p:ext uri="{BB962C8B-B14F-4D97-AF65-F5344CB8AC3E}">
        <p14:creationId xmlns:p14="http://schemas.microsoft.com/office/powerpoint/2010/main" val="63429315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7A9C3EF-EC79-EF41-AEE2-C98A0561165D}"/>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962" name="think-cell Slide" r:id="rId6" imgW="7772400" imgH="10058400" progId="TCLayout.ActiveDocument.1">
                  <p:embed/>
                </p:oleObj>
              </mc:Choice>
              <mc:Fallback>
                <p:oleObj name="think-cell Slide" r:id="rId6" imgW="7772400" imgH="10058400" progId="TCLayout.ActiveDocument.1">
                  <p:embed/>
                  <p:pic>
                    <p:nvPicPr>
                      <p:cNvPr id="4" name="Object 3" hidden="1">
                        <a:extLst>
                          <a:ext uri="{FF2B5EF4-FFF2-40B4-BE49-F238E27FC236}">
                            <a16:creationId xmlns:a16="http://schemas.microsoft.com/office/drawing/2014/main" id="{A7A9C3EF-EC79-EF41-AEE2-C98A0561165D}"/>
                          </a:ext>
                        </a:extLst>
                      </p:cNvPr>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7389429-FF38-8644-86AD-26B3FFE70C1E}"/>
              </a:ext>
            </a:extLst>
          </p:cNvPr>
          <p:cNvSpPr/>
          <p:nvPr>
            <p:custDataLst>
              <p:tags r:id="rId3"/>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marR="0" lvl="0" indent="0" algn="ctr" defTabSz="914400" rtl="0" eaLnBrk="1" fontAlgn="base" latinLnBrk="0" hangingPunct="1">
              <a:lnSpc>
                <a:spcPct val="100000"/>
              </a:lnSpc>
              <a:spcBef>
                <a:spcPct val="0"/>
              </a:spcBef>
              <a:spcAft>
                <a:spcPct val="50000"/>
              </a:spcAft>
              <a:buClr>
                <a:srgbClr val="FFE600"/>
              </a:buClr>
              <a:buSzPct val="80000"/>
              <a:buFont typeface="Arial" charset="0"/>
              <a:buNone/>
              <a:tabLst/>
              <a:defRPr/>
            </a:pPr>
            <a:endParaRPr kumimoji="0" lang="en-GB" sz="2400" b="1" i="0" u="none" strike="noStrike" kern="1200" cap="none" spc="0" normalizeH="0" baseline="0" noProof="0">
              <a:ln>
                <a:noFill/>
              </a:ln>
              <a:solidFill>
                <a:srgbClr val="646464"/>
              </a:solidFill>
              <a:effectLst/>
              <a:uLnTx/>
              <a:uFillTx/>
              <a:latin typeface="EYInterstate" panose="02000503020000020004" pitchFamily="2" charset="0"/>
              <a:ea typeface="+mn-ea"/>
              <a:cs typeface="+mn-cs"/>
              <a:sym typeface="EYInterstate" panose="02000503020000020004" pitchFamily="2" charset="0"/>
            </a:endParaRPr>
          </a:p>
        </p:txBody>
      </p:sp>
      <p:sp>
        <p:nvSpPr>
          <p:cNvPr id="2" name="Title 1">
            <a:extLst>
              <a:ext uri="{FF2B5EF4-FFF2-40B4-BE49-F238E27FC236}">
                <a16:creationId xmlns:a16="http://schemas.microsoft.com/office/drawing/2014/main" id="{C4C23136-0F1A-2043-A138-823BF069E3FE}"/>
              </a:ext>
            </a:extLst>
          </p:cNvPr>
          <p:cNvSpPr>
            <a:spLocks noGrp="1"/>
          </p:cNvSpPr>
          <p:nvPr>
            <p:ph type="title"/>
          </p:nvPr>
        </p:nvSpPr>
        <p:spPr/>
        <p:txBody>
          <a:bodyPr/>
          <a:lstStyle/>
          <a:p>
            <a:r>
              <a:rPr lang="en-GB">
                <a:solidFill>
                  <a:srgbClr val="FFFFFF"/>
                </a:solidFill>
              </a:rPr>
              <a:t>Table of Contents</a:t>
            </a:r>
            <a:endParaRPr lang="en-GB"/>
          </a:p>
        </p:txBody>
      </p:sp>
      <p:sp>
        <p:nvSpPr>
          <p:cNvPr id="5" name="Rectangle 4">
            <a:extLst>
              <a:ext uri="{FF2B5EF4-FFF2-40B4-BE49-F238E27FC236}">
                <a16:creationId xmlns:a16="http://schemas.microsoft.com/office/drawing/2014/main" id="{1A6C3D31-1A5E-F641-AEFF-8DE3943F771A}"/>
              </a:ext>
            </a:extLst>
          </p:cNvPr>
          <p:cNvSpPr/>
          <p:nvPr/>
        </p:nvSpPr>
        <p:spPr>
          <a:xfrm>
            <a:off x="943904" y="1906135"/>
            <a:ext cx="9791829" cy="4616648"/>
          </a:xfrm>
          <a:prstGeom prst="rect">
            <a:avLst/>
          </a:prstGeom>
        </p:spPr>
        <p:txBody>
          <a:bodyPr wrap="square" lIns="90000" anchor="t" anchorCtr="0">
            <a:spAutoFit/>
          </a:bodyPr>
          <a:lstStyle/>
          <a:p>
            <a:pPr marL="742950" marR="0" lvl="3" indent="-742950" algn="l" defTabSz="1042342" rtl="0" eaLnBrk="1" fontAlgn="base" latinLnBrk="0" hangingPunct="1">
              <a:lnSpc>
                <a:spcPct val="100000"/>
              </a:lnSpc>
              <a:spcBef>
                <a:spcPct val="0"/>
              </a:spcBef>
              <a:spcAft>
                <a:spcPts val="1200"/>
              </a:spcAft>
              <a:buClr>
                <a:srgbClr val="FFE600"/>
              </a:buClr>
              <a:buSzPct val="100000"/>
              <a:buFont typeface="+mj-lt"/>
              <a:buAutoNum type="arabicPeriod"/>
              <a:tabLst/>
              <a:defRPr/>
            </a:pPr>
            <a:r>
              <a:rPr kumimoji="0" lang="en-US" sz="2800" b="1" i="0" u="none" strike="noStrike" kern="0" cap="none" spc="0" normalizeH="0" baseline="0" noProof="0" dirty="0">
                <a:ln>
                  <a:noFill/>
                </a:ln>
                <a:solidFill>
                  <a:srgbClr val="FFE600"/>
                </a:solidFill>
                <a:effectLst/>
                <a:uLnTx/>
                <a:uFillTx/>
                <a:latin typeface="EYInterstate" panose="02000503020000020004" pitchFamily="2" charset="0"/>
                <a:ea typeface="Open Sans" panose="020B0606030504020204" pitchFamily="34" charset="0"/>
                <a:cs typeface="Open Sans" panose="020B0606030504020204" pitchFamily="34" charset="0"/>
              </a:rPr>
              <a:t>Our understanding of your needs</a:t>
            </a:r>
          </a:p>
          <a:p>
            <a:pPr marL="742950" marR="0" lvl="3" indent="-742950" algn="l" defTabSz="1042342" rtl="0" eaLnBrk="1" fontAlgn="base" latinLnBrk="0" hangingPunct="1">
              <a:lnSpc>
                <a:spcPct val="100000"/>
              </a:lnSpc>
              <a:spcBef>
                <a:spcPct val="0"/>
              </a:spcBef>
              <a:spcAft>
                <a:spcPts val="1200"/>
              </a:spcAft>
              <a:buClr>
                <a:srgbClr val="FFE600"/>
              </a:buClr>
              <a:buSzPct val="100000"/>
              <a:buFont typeface="+mj-lt"/>
              <a:buAutoNum type="arabicPeriod"/>
              <a:tabLst/>
              <a:defRPr/>
            </a:pPr>
            <a:r>
              <a:rPr kumimoji="0" lang="en-US" sz="2800" b="1" i="0" u="none" strike="noStrike" kern="0" cap="none" spc="0" normalizeH="0" baseline="0" noProof="0" dirty="0">
                <a:ln>
                  <a:noFill/>
                </a:ln>
                <a:solidFill>
                  <a:srgbClr val="646464"/>
                </a:solidFill>
                <a:effectLst/>
                <a:uLnTx/>
                <a:uFillTx/>
                <a:latin typeface="EYInterstate" panose="02000503020000020004" pitchFamily="2" charset="0"/>
                <a:ea typeface="+mn-ea"/>
                <a:cs typeface="+mn-cs"/>
              </a:rPr>
              <a:t>Our capabilities</a:t>
            </a:r>
          </a:p>
          <a:p>
            <a:pPr marL="742950" marR="0" lvl="3" indent="-742950" algn="l" defTabSz="1042342" rtl="0" eaLnBrk="1" fontAlgn="base" latinLnBrk="0" hangingPunct="1">
              <a:lnSpc>
                <a:spcPct val="100000"/>
              </a:lnSpc>
              <a:spcBef>
                <a:spcPct val="0"/>
              </a:spcBef>
              <a:spcAft>
                <a:spcPts val="1200"/>
              </a:spcAft>
              <a:buClr>
                <a:srgbClr val="FFE600"/>
              </a:buClr>
              <a:buSzPct val="100000"/>
              <a:buFont typeface="+mj-lt"/>
              <a:buAutoNum type="arabicPeriod"/>
              <a:tabLst/>
              <a:defRPr/>
            </a:pPr>
            <a:r>
              <a:rPr kumimoji="0" lang="en-US" sz="2800" b="1" i="0" u="none" strike="noStrike" kern="0" cap="none" spc="0" normalizeH="0" baseline="0" noProof="0" dirty="0">
                <a:ln>
                  <a:noFill/>
                </a:ln>
                <a:solidFill>
                  <a:srgbClr val="646464"/>
                </a:solidFill>
                <a:effectLst/>
                <a:uLnTx/>
                <a:uFillTx/>
                <a:latin typeface="EYInterstate" panose="02000503020000020004" pitchFamily="2" charset="0"/>
                <a:ea typeface="+mn-ea"/>
                <a:cs typeface="+mn-cs"/>
              </a:rPr>
              <a:t>Our approach</a:t>
            </a:r>
          </a:p>
          <a:p>
            <a:pPr marL="742950" marR="0" lvl="3" indent="-742950" algn="l" defTabSz="1042342" rtl="0" eaLnBrk="1" fontAlgn="base" latinLnBrk="0" hangingPunct="1">
              <a:lnSpc>
                <a:spcPct val="100000"/>
              </a:lnSpc>
              <a:spcBef>
                <a:spcPct val="0"/>
              </a:spcBef>
              <a:spcAft>
                <a:spcPts val="1200"/>
              </a:spcAft>
              <a:buClr>
                <a:srgbClr val="FFE600"/>
              </a:buClr>
              <a:buSzPct val="100000"/>
              <a:buFont typeface="+mj-lt"/>
              <a:buAutoNum type="arabicPeriod"/>
              <a:tabLst/>
              <a:defRPr/>
            </a:pPr>
            <a:r>
              <a:rPr kumimoji="0" lang="en-US" sz="2800" b="1" i="0" u="none" strike="noStrike" kern="0" cap="none" spc="0" normalizeH="0" baseline="0" noProof="0" dirty="0">
                <a:ln>
                  <a:noFill/>
                </a:ln>
                <a:solidFill>
                  <a:srgbClr val="646464"/>
                </a:solidFill>
                <a:effectLst/>
                <a:uLnTx/>
                <a:uFillTx/>
                <a:latin typeface="EYInterstate" panose="02000503020000020004" pitchFamily="2" charset="0"/>
                <a:ea typeface="+mn-ea"/>
                <a:cs typeface="+mn-cs"/>
              </a:rPr>
              <a:t>Our delivery</a:t>
            </a:r>
          </a:p>
          <a:p>
            <a:pPr marL="742950" marR="0" lvl="3" indent="-742950" algn="l" defTabSz="1042342" rtl="0" eaLnBrk="1" fontAlgn="base" latinLnBrk="0" hangingPunct="1">
              <a:lnSpc>
                <a:spcPct val="100000"/>
              </a:lnSpc>
              <a:spcBef>
                <a:spcPct val="0"/>
              </a:spcBef>
              <a:spcAft>
                <a:spcPts val="1200"/>
              </a:spcAft>
              <a:buClr>
                <a:srgbClr val="FFE600"/>
              </a:buClr>
              <a:buSzPct val="100000"/>
              <a:buFont typeface="+mj-lt"/>
              <a:buAutoNum type="arabicPeriod"/>
              <a:tabLst/>
              <a:defRPr/>
            </a:pPr>
            <a:r>
              <a:rPr kumimoji="0" lang="en-US" sz="2800" b="1" i="0" u="none" strike="noStrike" kern="0" cap="none" spc="0" normalizeH="0" baseline="0" noProof="0" dirty="0">
                <a:ln>
                  <a:noFill/>
                </a:ln>
                <a:solidFill>
                  <a:srgbClr val="646464"/>
                </a:solidFill>
                <a:effectLst/>
                <a:uLnTx/>
                <a:uFillTx/>
                <a:latin typeface="EYInterstate" panose="02000503020000020004" pitchFamily="2" charset="0"/>
                <a:ea typeface="+mn-ea"/>
                <a:cs typeface="+mn-cs"/>
              </a:rPr>
              <a:t>Team structure</a:t>
            </a:r>
          </a:p>
          <a:p>
            <a:pPr marL="742950" lvl="3" indent="-742950" defTabSz="1042342">
              <a:spcAft>
                <a:spcPts val="1200"/>
              </a:spcAft>
              <a:buClr>
                <a:srgbClr val="FFE600"/>
              </a:buClr>
              <a:buSzPct val="100000"/>
              <a:buFont typeface="+mj-lt"/>
              <a:buAutoNum type="arabicPeriod"/>
              <a:defRPr/>
            </a:pPr>
            <a:r>
              <a:rPr lang="en-US" sz="2800" b="1" kern="0" dirty="0">
                <a:solidFill>
                  <a:srgbClr val="646464"/>
                </a:solidFill>
                <a:latin typeface="EYInterstate" panose="02000503020000020004" pitchFamily="2" charset="0"/>
              </a:rPr>
              <a:t>Our credentials</a:t>
            </a:r>
            <a:endParaRPr kumimoji="0" lang="en-US" sz="2800" b="1" i="0" u="none" strike="noStrike" kern="0" cap="none" spc="0" normalizeH="0" baseline="0" noProof="0" dirty="0">
              <a:ln>
                <a:noFill/>
              </a:ln>
              <a:solidFill>
                <a:srgbClr val="646464"/>
              </a:solidFill>
              <a:effectLst/>
              <a:uLnTx/>
              <a:uFillTx/>
              <a:latin typeface="EYInterstate" panose="02000503020000020004" pitchFamily="2" charset="0"/>
              <a:ea typeface="+mn-ea"/>
              <a:cs typeface="+mn-cs"/>
            </a:endParaRPr>
          </a:p>
          <a:p>
            <a:pPr marL="742950" lvl="3" indent="-742950" defTabSz="1042342">
              <a:spcAft>
                <a:spcPts val="1200"/>
              </a:spcAft>
              <a:buClr>
                <a:srgbClr val="FFE600"/>
              </a:buClr>
              <a:buSzPct val="100000"/>
              <a:buFont typeface="+mj-lt"/>
              <a:buAutoNum type="arabicPeriod"/>
              <a:defRPr/>
            </a:pPr>
            <a:r>
              <a:rPr lang="en-US" sz="2800" b="1" kern="0" dirty="0">
                <a:solidFill>
                  <a:srgbClr val="646464"/>
                </a:solidFill>
                <a:latin typeface="EYInterstate" panose="02000503020000020004" pitchFamily="2" charset="0"/>
              </a:rPr>
              <a:t>Our proposed fees</a:t>
            </a:r>
          </a:p>
          <a:p>
            <a:pPr marL="742950" lvl="3" indent="-742950" defTabSz="1042342">
              <a:spcAft>
                <a:spcPts val="1200"/>
              </a:spcAft>
              <a:buClr>
                <a:srgbClr val="FFE600"/>
              </a:buClr>
              <a:buSzPct val="100000"/>
              <a:buFont typeface="+mj-lt"/>
              <a:buAutoNum type="arabicPeriod"/>
              <a:defRPr/>
            </a:pPr>
            <a:r>
              <a:rPr kumimoji="0" lang="en-US" sz="2800" b="1" i="0" u="none" strike="noStrike" kern="0" cap="none" spc="0" normalizeH="0" baseline="0" noProof="0" dirty="0">
                <a:ln>
                  <a:noFill/>
                </a:ln>
                <a:solidFill>
                  <a:srgbClr val="646464"/>
                </a:solidFill>
                <a:effectLst/>
                <a:uLnTx/>
                <a:uFillTx/>
                <a:latin typeface="EYInterstate" panose="02000503020000020004" pitchFamily="2" charset="0"/>
                <a:ea typeface="+mn-ea"/>
                <a:cs typeface="+mn-cs"/>
              </a:rPr>
              <a:t>Appendix</a:t>
            </a:r>
          </a:p>
        </p:txBody>
      </p:sp>
      <p:grpSp>
        <p:nvGrpSpPr>
          <p:cNvPr id="10" name="Group 9">
            <a:extLst>
              <a:ext uri="{FF2B5EF4-FFF2-40B4-BE49-F238E27FC236}">
                <a16:creationId xmlns:a16="http://schemas.microsoft.com/office/drawing/2014/main" id="{A01F99EE-3BB0-4982-8CDA-0DB47603B60E}"/>
              </a:ext>
            </a:extLst>
          </p:cNvPr>
          <p:cNvGrpSpPr/>
          <p:nvPr/>
        </p:nvGrpSpPr>
        <p:grpSpPr>
          <a:xfrm>
            <a:off x="9498106" y="2034753"/>
            <a:ext cx="684000" cy="232949"/>
            <a:chOff x="9563141" y="2547476"/>
            <a:chExt cx="684000" cy="232949"/>
          </a:xfrm>
        </p:grpSpPr>
        <p:sp>
          <p:nvSpPr>
            <p:cNvPr id="11" name="Arrow: Chevron 3">
              <a:extLst>
                <a:ext uri="{FF2B5EF4-FFF2-40B4-BE49-F238E27FC236}">
                  <a16:creationId xmlns:a16="http://schemas.microsoft.com/office/drawing/2014/main" id="{D2BF9A0E-2389-4940-8496-513FE463B8AC}"/>
                </a:ext>
              </a:extLst>
            </p:cNvPr>
            <p:cNvSpPr/>
            <p:nvPr/>
          </p:nvSpPr>
          <p:spPr>
            <a:xfrm rot="10800000">
              <a:off x="9563141" y="2547476"/>
              <a:ext cx="276149" cy="232949"/>
            </a:xfrm>
            <a:prstGeom prst="chevron">
              <a:avLst/>
            </a:prstGeom>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50000"/>
                </a:spcAft>
                <a:buClr>
                  <a:srgbClr val="FFE600"/>
                </a:buClr>
                <a:buSzPct val="80000"/>
                <a:buFont typeface="Arial" charset="0"/>
                <a:buNone/>
                <a:tabLst/>
                <a:defRPr/>
              </a:pPr>
              <a:endParaRPr kumimoji="0" lang="en-US" sz="1400" b="1" i="0" u="none" strike="noStrike" kern="1200" cap="none" spc="0" normalizeH="0" baseline="0" noProof="0">
                <a:ln w="22225">
                  <a:solidFill>
                    <a:srgbClr val="FFE600"/>
                  </a:solidFill>
                  <a:prstDash val="solid"/>
                </a:ln>
                <a:solidFill>
                  <a:srgbClr val="FFE600">
                    <a:lumMod val="40000"/>
                    <a:lumOff val="60000"/>
                  </a:srgbClr>
                </a:solidFill>
                <a:effectLst/>
                <a:uLnTx/>
                <a:uFillTx/>
                <a:latin typeface="EYInterstate" panose="02000503020000020004" pitchFamily="2" charset="0"/>
                <a:ea typeface="+mn-ea"/>
                <a:cs typeface="+mn-cs"/>
              </a:endParaRPr>
            </a:p>
          </p:txBody>
        </p:sp>
        <p:sp>
          <p:nvSpPr>
            <p:cNvPr id="12" name="Arrow: Chevron 4">
              <a:extLst>
                <a:ext uri="{FF2B5EF4-FFF2-40B4-BE49-F238E27FC236}">
                  <a16:creationId xmlns:a16="http://schemas.microsoft.com/office/drawing/2014/main" id="{7E91B9B4-9770-48CB-9D95-B059104AA987}"/>
                </a:ext>
              </a:extLst>
            </p:cNvPr>
            <p:cNvSpPr/>
            <p:nvPr/>
          </p:nvSpPr>
          <p:spPr>
            <a:xfrm rot="10800000">
              <a:off x="9767067" y="2547476"/>
              <a:ext cx="276149" cy="232949"/>
            </a:xfrm>
            <a:prstGeom prst="chevron">
              <a:avLst/>
            </a:prstGeom>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50000"/>
                </a:spcAft>
                <a:buClr>
                  <a:srgbClr val="FFE600"/>
                </a:buClr>
                <a:buSzPct val="80000"/>
                <a:buFont typeface="Arial" charset="0"/>
                <a:buNone/>
                <a:tabLst/>
                <a:defRPr/>
              </a:pPr>
              <a:endParaRPr kumimoji="0" lang="en-US" sz="1400" b="1" i="0" u="none" strike="noStrike" kern="1200" cap="none" spc="0" normalizeH="0" baseline="0" noProof="0">
                <a:ln w="22225">
                  <a:solidFill>
                    <a:srgbClr val="FFE600"/>
                  </a:solidFill>
                  <a:prstDash val="solid"/>
                </a:ln>
                <a:solidFill>
                  <a:srgbClr val="FFE600">
                    <a:lumMod val="40000"/>
                    <a:lumOff val="60000"/>
                  </a:srgbClr>
                </a:solidFill>
                <a:effectLst/>
                <a:uLnTx/>
                <a:uFillTx/>
                <a:latin typeface="EYInterstate" panose="02000503020000020004" pitchFamily="2" charset="0"/>
                <a:ea typeface="+mn-ea"/>
                <a:cs typeface="+mn-cs"/>
              </a:endParaRPr>
            </a:p>
          </p:txBody>
        </p:sp>
        <p:sp>
          <p:nvSpPr>
            <p:cNvPr id="13" name="Arrow: Chevron 5">
              <a:extLst>
                <a:ext uri="{FF2B5EF4-FFF2-40B4-BE49-F238E27FC236}">
                  <a16:creationId xmlns:a16="http://schemas.microsoft.com/office/drawing/2014/main" id="{D7419B56-EA19-4F40-A31D-9C103AFC8EAC}"/>
                </a:ext>
              </a:extLst>
            </p:cNvPr>
            <p:cNvSpPr/>
            <p:nvPr/>
          </p:nvSpPr>
          <p:spPr>
            <a:xfrm rot="10800000">
              <a:off x="9970992" y="2547476"/>
              <a:ext cx="276149" cy="232949"/>
            </a:xfrm>
            <a:prstGeom prst="chevron">
              <a:avLst/>
            </a:prstGeom>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50000"/>
                </a:spcAft>
                <a:buClr>
                  <a:srgbClr val="FFE600"/>
                </a:buClr>
                <a:buSzPct val="80000"/>
                <a:buFont typeface="Arial" charset="0"/>
                <a:buNone/>
                <a:tabLst/>
                <a:defRPr/>
              </a:pPr>
              <a:endParaRPr kumimoji="0" lang="en-US" sz="1400" b="1" i="0" u="none" strike="noStrike" kern="1200" cap="none" spc="0" normalizeH="0" baseline="0" noProof="0">
                <a:ln w="22225">
                  <a:solidFill>
                    <a:srgbClr val="FFE600"/>
                  </a:solidFill>
                  <a:prstDash val="solid"/>
                </a:ln>
                <a:solidFill>
                  <a:srgbClr val="FFE600">
                    <a:lumMod val="40000"/>
                    <a:lumOff val="60000"/>
                  </a:srgbClr>
                </a:solidFill>
                <a:effectLst/>
                <a:uLnTx/>
                <a:uFillTx/>
                <a:latin typeface="EYInterstate" panose="02000503020000020004" pitchFamily="2" charset="0"/>
                <a:ea typeface="+mn-ea"/>
                <a:cs typeface="+mn-cs"/>
              </a:endParaRPr>
            </a:p>
          </p:txBody>
        </p:sp>
      </p:grpSp>
    </p:spTree>
    <p:extLst>
      <p:ext uri="{BB962C8B-B14F-4D97-AF65-F5344CB8AC3E}">
        <p14:creationId xmlns:p14="http://schemas.microsoft.com/office/powerpoint/2010/main" val="203804534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AFCCBFD-70F4-4BF7-B474-FA44D3C3097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986" name="think-cell Slide" r:id="rId6" imgW="473" imgH="476" progId="TCLayout.ActiveDocument.1">
                  <p:embed/>
                </p:oleObj>
              </mc:Choice>
              <mc:Fallback>
                <p:oleObj name="think-cell Slide" r:id="rId6" imgW="473" imgH="476" progId="TCLayout.ActiveDocument.1">
                  <p:embed/>
                  <p:pic>
                    <p:nvPicPr>
                      <p:cNvPr id="4" name="Object 3" hidden="1">
                        <a:extLst>
                          <a:ext uri="{FF2B5EF4-FFF2-40B4-BE49-F238E27FC236}">
                            <a16:creationId xmlns:a16="http://schemas.microsoft.com/office/drawing/2014/main" id="{1AFCCBFD-70F4-4BF7-B474-FA44D3C3097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55F87396-92A5-4692-9F84-256E9DFBE4F8}"/>
              </a:ext>
            </a:extLst>
          </p:cNvPr>
          <p:cNvSpPr/>
          <p:nvPr>
            <p:custDataLst>
              <p:tags r:id="rId3"/>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marL="0" marR="0" lvl="0" indent="0" algn="ctr" defTabSz="914400" rtl="0" eaLnBrk="1" fontAlgn="base" latinLnBrk="0" hangingPunct="1">
              <a:lnSpc>
                <a:spcPct val="100000"/>
              </a:lnSpc>
              <a:spcBef>
                <a:spcPct val="0"/>
              </a:spcBef>
              <a:spcAft>
                <a:spcPct val="50000"/>
              </a:spcAft>
              <a:buClr>
                <a:srgbClr val="FFE600"/>
              </a:buClr>
              <a:buSzPct val="80000"/>
              <a:buFont typeface="Arial" charset="0"/>
              <a:buNone/>
              <a:tabLst/>
              <a:defRPr/>
            </a:pPr>
            <a:endParaRPr kumimoji="0" lang="en-US" sz="2400" b="1" i="0" u="none" strike="noStrike" kern="1200" cap="none" spc="0" normalizeH="0" baseline="0" noProof="0">
              <a:ln>
                <a:noFill/>
              </a:ln>
              <a:solidFill>
                <a:srgbClr val="000000"/>
              </a:solidFill>
              <a:effectLst/>
              <a:uLnTx/>
              <a:uFillTx/>
              <a:latin typeface="EYInterstate" panose="02000503020000020004" pitchFamily="2" charset="0"/>
              <a:ea typeface="+mn-ea"/>
              <a:cs typeface="Arial" panose="020B0604020202020204" pitchFamily="34" charset="0"/>
              <a:sym typeface="EYInterstate" panose="02000503020000020004" pitchFamily="2" charset="0"/>
            </a:endParaRPr>
          </a:p>
        </p:txBody>
      </p:sp>
      <p:sp>
        <p:nvSpPr>
          <p:cNvPr id="3" name="Title 2">
            <a:extLst>
              <a:ext uri="{FF2B5EF4-FFF2-40B4-BE49-F238E27FC236}">
                <a16:creationId xmlns:a16="http://schemas.microsoft.com/office/drawing/2014/main" id="{2628184F-BB51-4520-9982-EA93EF50D704}"/>
              </a:ext>
            </a:extLst>
          </p:cNvPr>
          <p:cNvSpPr>
            <a:spLocks noGrp="1"/>
          </p:cNvSpPr>
          <p:nvPr>
            <p:ph type="title"/>
          </p:nvPr>
        </p:nvSpPr>
        <p:spPr>
          <a:xfrm>
            <a:off x="943200" y="608400"/>
            <a:ext cx="11700000" cy="741600"/>
          </a:xfrm>
        </p:spPr>
        <p:txBody>
          <a:bodyPr vert="horz" lIns="0" tIns="0" rIns="0" bIns="0" rtlCol="0" anchor="t" anchorCtr="0">
            <a:noAutofit/>
          </a:bodyPr>
          <a:lstStyle/>
          <a:p>
            <a:r>
              <a:rPr lang="en-US" dirty="0"/>
              <a:t>Our understanding of your needs</a:t>
            </a:r>
          </a:p>
        </p:txBody>
      </p:sp>
      <p:sp>
        <p:nvSpPr>
          <p:cNvPr id="38" name="Text Placeholder 103">
            <a:extLst>
              <a:ext uri="{FF2B5EF4-FFF2-40B4-BE49-F238E27FC236}">
                <a16:creationId xmlns:a16="http://schemas.microsoft.com/office/drawing/2014/main" id="{DC5FAAD9-17BB-45EC-B07A-13C67143B68E}"/>
              </a:ext>
            </a:extLst>
          </p:cNvPr>
          <p:cNvSpPr txBox="1">
            <a:spLocks/>
          </p:cNvSpPr>
          <p:nvPr/>
        </p:nvSpPr>
        <p:spPr>
          <a:xfrm>
            <a:off x="945161" y="1442770"/>
            <a:ext cx="5847227" cy="1771486"/>
          </a:xfrm>
          <a:prstGeom prst="rect">
            <a:avLst/>
          </a:prstGeom>
        </p:spPr>
        <p:txBody>
          <a:bodyPr lIns="45720" rIns="45720"/>
          <a:lstStyle>
            <a:lvl1pPr marL="494029" indent="-494029" algn="l" defTabSz="1266737" rtl="0" eaLnBrk="1" latinLnBrk="0" hangingPunct="1">
              <a:spcBef>
                <a:spcPct val="20000"/>
              </a:spcBef>
              <a:buClr>
                <a:schemeClr val="tx1"/>
              </a:buClr>
              <a:buSzPct val="70000"/>
              <a:buFont typeface="Arial" pitchFamily="34" charset="0"/>
              <a:buChar char="►"/>
              <a:defRPr sz="2493" b="0" i="0" kern="1200">
                <a:solidFill>
                  <a:schemeClr val="bg1"/>
                </a:solidFill>
                <a:latin typeface="EYInterstate Light" panose="02000506000000020004" pitchFamily="2" charset="0"/>
                <a:ea typeface="+mn-ea"/>
                <a:cs typeface="+mn-cs"/>
              </a:defRPr>
            </a:lvl1pPr>
            <a:lvl2pPr marL="988054" indent="-494029" algn="l" defTabSz="1266737" rtl="0" eaLnBrk="1" latinLnBrk="0" hangingPunct="1">
              <a:spcBef>
                <a:spcPct val="20000"/>
              </a:spcBef>
              <a:buClr>
                <a:schemeClr val="tx1"/>
              </a:buClr>
              <a:buSzPct val="70000"/>
              <a:buFont typeface="Arial" pitchFamily="34" charset="0"/>
              <a:buChar char="►"/>
              <a:defRPr sz="2000" b="0" i="0" kern="1200">
                <a:solidFill>
                  <a:schemeClr val="bg1"/>
                </a:solidFill>
                <a:latin typeface="EYInterstate Light" panose="02000506000000020004" pitchFamily="2" charset="0"/>
                <a:ea typeface="+mn-ea"/>
                <a:cs typeface="+mn-cs"/>
              </a:defRPr>
            </a:lvl2pPr>
            <a:lvl3pPr marL="1482083" indent="-494029" algn="l" defTabSz="1266737" rtl="0" eaLnBrk="1" latinLnBrk="0" hangingPunct="1">
              <a:spcBef>
                <a:spcPct val="20000"/>
              </a:spcBef>
              <a:buClr>
                <a:schemeClr val="tx1"/>
              </a:buClr>
              <a:buSzPct val="70000"/>
              <a:buFont typeface="Arial" pitchFamily="34" charset="0"/>
              <a:buChar char="►"/>
              <a:defRPr sz="1800" b="0" i="0" kern="1200">
                <a:solidFill>
                  <a:schemeClr val="bg1"/>
                </a:solidFill>
                <a:latin typeface="EYInterstate Light" panose="02000506000000020004" pitchFamily="2" charset="0"/>
                <a:ea typeface="+mn-ea"/>
                <a:cs typeface="+mn-cs"/>
              </a:defRPr>
            </a:lvl3pPr>
            <a:lvl4pPr marL="1976110" indent="-494029" algn="l" defTabSz="1266737" rtl="0" eaLnBrk="1" latinLnBrk="0" hangingPunct="1">
              <a:spcBef>
                <a:spcPct val="20000"/>
              </a:spcBef>
              <a:buClr>
                <a:schemeClr val="tx1"/>
              </a:buClr>
              <a:buSzPct val="70000"/>
              <a:buFont typeface="Arial" pitchFamily="34" charset="0"/>
              <a:buChar char="►"/>
              <a:defRPr sz="1600" b="0" i="0" kern="1200">
                <a:solidFill>
                  <a:schemeClr val="bg1"/>
                </a:solidFill>
                <a:latin typeface="EYInterstate Light" panose="02000506000000020004" pitchFamily="2" charset="0"/>
                <a:ea typeface="+mn-ea"/>
                <a:cs typeface="+mn-cs"/>
              </a:defRPr>
            </a:lvl4pPr>
            <a:lvl5pPr marL="2470136" indent="-494029" algn="l" defTabSz="1266737" rtl="0" eaLnBrk="1" latinLnBrk="0" hangingPunct="1">
              <a:spcBef>
                <a:spcPct val="20000"/>
              </a:spcBef>
              <a:buClr>
                <a:schemeClr val="tx1"/>
              </a:buClr>
              <a:buSzPct val="70000"/>
              <a:buFont typeface="Arial" pitchFamily="34" charset="0"/>
              <a:buChar char="►"/>
              <a:defRPr sz="1400" b="0" i="0" kern="1200">
                <a:solidFill>
                  <a:schemeClr val="bg1"/>
                </a:solidFill>
                <a:latin typeface="EYInterstate Light" panose="02000506000000020004" pitchFamily="2" charset="0"/>
                <a:ea typeface="+mn-ea"/>
                <a:cs typeface="+mn-cs"/>
              </a:defRPr>
            </a:lvl5pPr>
            <a:lvl6pPr marL="3483527" indent="-316685" algn="l" defTabSz="1266737" rtl="0" eaLnBrk="1" latinLnBrk="0" hangingPunct="1">
              <a:spcBef>
                <a:spcPct val="20000"/>
              </a:spcBef>
              <a:buFont typeface="Arial" pitchFamily="34" charset="0"/>
              <a:buChar char="•"/>
              <a:defRPr sz="2771" kern="1200">
                <a:solidFill>
                  <a:schemeClr val="tx1"/>
                </a:solidFill>
                <a:latin typeface="+mn-lt"/>
                <a:ea typeface="+mn-ea"/>
                <a:cs typeface="+mn-cs"/>
              </a:defRPr>
            </a:lvl6pPr>
            <a:lvl7pPr marL="4116896" indent="-316685" algn="l" defTabSz="1266737" rtl="0" eaLnBrk="1" latinLnBrk="0" hangingPunct="1">
              <a:spcBef>
                <a:spcPct val="20000"/>
              </a:spcBef>
              <a:buFont typeface="Arial" pitchFamily="34" charset="0"/>
              <a:buChar char="•"/>
              <a:defRPr sz="2771" kern="1200">
                <a:solidFill>
                  <a:schemeClr val="tx1"/>
                </a:solidFill>
                <a:latin typeface="+mn-lt"/>
                <a:ea typeface="+mn-ea"/>
                <a:cs typeface="+mn-cs"/>
              </a:defRPr>
            </a:lvl7pPr>
            <a:lvl8pPr marL="4750266" indent="-316685" algn="l" defTabSz="1266737" rtl="0" eaLnBrk="1" latinLnBrk="0" hangingPunct="1">
              <a:spcBef>
                <a:spcPct val="20000"/>
              </a:spcBef>
              <a:buFont typeface="Arial" pitchFamily="34" charset="0"/>
              <a:buChar char="•"/>
              <a:defRPr sz="2771" kern="1200">
                <a:solidFill>
                  <a:schemeClr val="tx1"/>
                </a:solidFill>
                <a:latin typeface="+mn-lt"/>
                <a:ea typeface="+mn-ea"/>
                <a:cs typeface="+mn-cs"/>
              </a:defRPr>
            </a:lvl8pPr>
            <a:lvl9pPr marL="5383632" indent="-316685" algn="l" defTabSz="1266737" rtl="0" eaLnBrk="1" latinLnBrk="0" hangingPunct="1">
              <a:spcBef>
                <a:spcPct val="20000"/>
              </a:spcBef>
              <a:buFont typeface="Arial" pitchFamily="34" charset="0"/>
              <a:buChar char="•"/>
              <a:defRPr sz="2771" kern="1200">
                <a:solidFill>
                  <a:schemeClr val="tx1"/>
                </a:solidFill>
                <a:latin typeface="+mn-lt"/>
                <a:ea typeface="+mn-ea"/>
                <a:cs typeface="+mn-cs"/>
              </a:defRPr>
            </a:lvl9pPr>
          </a:lstStyle>
          <a:p>
            <a:pPr marL="0" lvl="0" indent="0" fontAlgn="auto">
              <a:spcAft>
                <a:spcPts val="0"/>
              </a:spcAft>
              <a:buClr>
                <a:srgbClr val="000000"/>
              </a:buClr>
              <a:buNone/>
              <a:defRPr/>
            </a:pPr>
            <a:r>
              <a:rPr lang="en-US" sz="1600" kern="0">
                <a:solidFill>
                  <a:schemeClr val="tx1"/>
                </a:solidFill>
              </a:rPr>
              <a:t>Great Eastern recognizes the need to come up with a proactive, contextual and prescriptive targeting mechanism that enhances cross-sell initiatives across outbound &amp; inbound channels. </a:t>
            </a:r>
          </a:p>
          <a:p>
            <a:pPr marL="0" lvl="0" indent="0" fontAlgn="auto">
              <a:spcAft>
                <a:spcPts val="0"/>
              </a:spcAft>
              <a:buClr>
                <a:srgbClr val="000000"/>
              </a:buClr>
              <a:buNone/>
              <a:defRPr/>
            </a:pPr>
            <a:endParaRPr lang="en-US" sz="1600" kern="0">
              <a:solidFill>
                <a:schemeClr val="tx1"/>
              </a:solidFill>
            </a:endParaRPr>
          </a:p>
          <a:p>
            <a:pPr marL="0" lvl="0" indent="0" fontAlgn="auto">
              <a:spcAft>
                <a:spcPts val="0"/>
              </a:spcAft>
              <a:buClr>
                <a:srgbClr val="000000"/>
              </a:buClr>
              <a:buNone/>
              <a:defRPr/>
            </a:pPr>
            <a:r>
              <a:rPr lang="en-US" sz="1600">
                <a:solidFill>
                  <a:schemeClr val="accent5"/>
                </a:solidFill>
                <a:latin typeface="+mn-lt"/>
              </a:rPr>
              <a:t>Key outcomes delivered by the program:</a:t>
            </a:r>
            <a:endParaRPr lang="en-US" sz="1600" kern="0">
              <a:solidFill>
                <a:schemeClr val="tx1"/>
              </a:solidFill>
            </a:endParaRPr>
          </a:p>
          <a:p>
            <a:pPr marL="0" lvl="0" indent="0" fontAlgn="auto">
              <a:spcAft>
                <a:spcPts val="0"/>
              </a:spcAft>
              <a:buClr>
                <a:srgbClr val="000000"/>
              </a:buClr>
              <a:buNone/>
              <a:defRPr/>
            </a:pPr>
            <a:endParaRPr kumimoji="0" lang="en-US" sz="1600" i="0" u="none" strike="noStrike" kern="1200" cap="none" spc="0" normalizeH="0" baseline="0" noProof="0">
              <a:ln>
                <a:noFill/>
              </a:ln>
              <a:solidFill>
                <a:srgbClr val="404040"/>
              </a:solidFill>
              <a:effectLst/>
              <a:uLnTx/>
              <a:uFillTx/>
              <a:latin typeface="+mn-lt"/>
              <a:ea typeface="+mn-ea"/>
              <a:cs typeface="+mn-cs"/>
            </a:endParaRPr>
          </a:p>
          <a:p>
            <a:pPr marL="0" lvl="0" indent="0" fontAlgn="auto">
              <a:spcAft>
                <a:spcPts val="0"/>
              </a:spcAft>
              <a:buClr>
                <a:srgbClr val="000000"/>
              </a:buClr>
              <a:buNone/>
              <a:defRPr/>
            </a:pPr>
            <a:endParaRPr lang="en-US" sz="1600">
              <a:solidFill>
                <a:srgbClr val="404040"/>
              </a:solidFill>
              <a:latin typeface="+mn-lt"/>
            </a:endParaRPr>
          </a:p>
          <a:p>
            <a:pPr marL="0" lvl="0" indent="0" fontAlgn="auto">
              <a:spcAft>
                <a:spcPts val="0"/>
              </a:spcAft>
              <a:buClr>
                <a:srgbClr val="000000"/>
              </a:buClr>
              <a:buNone/>
              <a:defRPr/>
            </a:pPr>
            <a:endParaRPr kumimoji="0" lang="en-US" sz="1600" i="0" u="none" strike="noStrike" kern="1200" cap="none" spc="0" normalizeH="0" baseline="0" noProof="0">
              <a:ln>
                <a:noFill/>
              </a:ln>
              <a:solidFill>
                <a:srgbClr val="404040"/>
              </a:solidFill>
              <a:effectLst/>
              <a:uLnTx/>
              <a:uFillTx/>
              <a:latin typeface="+mn-lt"/>
              <a:ea typeface="+mn-ea"/>
              <a:cs typeface="+mn-cs"/>
            </a:endParaRPr>
          </a:p>
        </p:txBody>
      </p:sp>
      <p:sp>
        <p:nvSpPr>
          <p:cNvPr id="39" name="Rectangle 38">
            <a:extLst>
              <a:ext uri="{FF2B5EF4-FFF2-40B4-BE49-F238E27FC236}">
                <a16:creationId xmlns:a16="http://schemas.microsoft.com/office/drawing/2014/main" id="{5F7BF4E5-377A-4B44-8B9E-AEF5B95DA893}"/>
              </a:ext>
            </a:extLst>
          </p:cNvPr>
          <p:cNvSpPr/>
          <p:nvPr/>
        </p:nvSpPr>
        <p:spPr>
          <a:xfrm>
            <a:off x="7432774" y="1561979"/>
            <a:ext cx="5601374" cy="584775"/>
          </a:xfrm>
          <a:prstGeom prst="rect">
            <a:avLst/>
          </a:prstGeom>
        </p:spPr>
        <p:txBody>
          <a:bodyPr wrap="square">
            <a:spAutoFit/>
          </a:bodyPr>
          <a:lstStyle/>
          <a:p>
            <a:r>
              <a:rPr lang="en-US" sz="1600">
                <a:solidFill>
                  <a:schemeClr val="accent5"/>
                </a:solidFill>
                <a:latin typeface="+mn-lt"/>
              </a:rPr>
              <a:t>State-of-art Propensity-to-Buy Models to identify customers to buy Insurance products in next 6 months :</a:t>
            </a:r>
          </a:p>
        </p:txBody>
      </p:sp>
      <p:graphicFrame>
        <p:nvGraphicFramePr>
          <p:cNvPr id="40" name="Table 32">
            <a:extLst>
              <a:ext uri="{FF2B5EF4-FFF2-40B4-BE49-F238E27FC236}">
                <a16:creationId xmlns:a16="http://schemas.microsoft.com/office/drawing/2014/main" id="{71A36DBE-2825-4C81-B7DD-DC15DF6110C2}"/>
              </a:ext>
            </a:extLst>
          </p:cNvPr>
          <p:cNvGraphicFramePr>
            <a:graphicFrameLocks noGrp="1"/>
          </p:cNvGraphicFramePr>
          <p:nvPr>
            <p:extLst>
              <p:ext uri="{D42A27DB-BD31-4B8C-83A1-F6EECF244321}">
                <p14:modId xmlns:p14="http://schemas.microsoft.com/office/powerpoint/2010/main" val="2123202101"/>
              </p:ext>
            </p:extLst>
          </p:nvPr>
        </p:nvGraphicFramePr>
        <p:xfrm>
          <a:off x="1497457" y="3305555"/>
          <a:ext cx="5224018" cy="2197470"/>
        </p:xfrm>
        <a:graphic>
          <a:graphicData uri="http://schemas.openxmlformats.org/drawingml/2006/table">
            <a:tbl>
              <a:tblPr firstRow="1" bandRow="1">
                <a:tableStyleId>{2D5ABB26-0587-4C30-8999-92F81FD0307C}</a:tableStyleId>
              </a:tblPr>
              <a:tblGrid>
                <a:gridCol w="5224018">
                  <a:extLst>
                    <a:ext uri="{9D8B030D-6E8A-4147-A177-3AD203B41FA5}">
                      <a16:colId xmlns:a16="http://schemas.microsoft.com/office/drawing/2014/main" val="2051140259"/>
                    </a:ext>
                  </a:extLst>
                </a:gridCol>
              </a:tblGrid>
              <a:tr h="886830">
                <a:tc>
                  <a:txBody>
                    <a:bodyPr/>
                    <a:lstStyle/>
                    <a:p>
                      <a:pPr marL="0" marR="0" lvl="0" indent="0" algn="l" defTabSz="914400" rtl="0" eaLnBrk="1" fontAlgn="auto" latinLnBrk="0" hangingPunct="1">
                        <a:lnSpc>
                          <a:spcPct val="100000"/>
                        </a:lnSpc>
                        <a:spcBef>
                          <a:spcPct val="0"/>
                        </a:spcBef>
                        <a:spcAft>
                          <a:spcPts val="0"/>
                        </a:spcAft>
                        <a:buClr>
                          <a:srgbClr val="000000"/>
                        </a:buClr>
                        <a:buSzPct val="80000"/>
                        <a:buFont typeface="Arial" charset="0"/>
                        <a:buNone/>
                        <a:tabLst/>
                        <a:defRPr/>
                      </a:pPr>
                      <a:r>
                        <a:rPr kumimoji="0" lang="en-GB" sz="1600" b="1" i="0" u="none" strike="noStrike" kern="0" cap="none" spc="0" normalizeH="0" baseline="0" dirty="0">
                          <a:ln>
                            <a:noFill/>
                          </a:ln>
                          <a:solidFill>
                            <a:srgbClr val="000000"/>
                          </a:solidFill>
                          <a:effectLst/>
                          <a:uLnTx/>
                          <a:uFillTx/>
                          <a:latin typeface="EYInterstate Light" pitchFamily="2" charset="0"/>
                          <a:ea typeface="+mn-ea"/>
                          <a:cs typeface="+mn-cs"/>
                        </a:rPr>
                        <a:t>Data quality assessment:</a:t>
                      </a:r>
                      <a:r>
                        <a:rPr kumimoji="0" lang="en-GB" sz="1600" b="0" i="0" u="none" strike="noStrike" kern="0" cap="none" spc="0" normalizeH="0" baseline="0" dirty="0">
                          <a:ln>
                            <a:noFill/>
                          </a:ln>
                          <a:solidFill>
                            <a:srgbClr val="000000"/>
                          </a:solidFill>
                          <a:effectLst/>
                          <a:uLnTx/>
                          <a:uFillTx/>
                          <a:latin typeface="EYInterstate Light" pitchFamily="2" charset="0"/>
                          <a:ea typeface="+mn-ea"/>
                          <a:cs typeface="+mn-cs"/>
                        </a:rPr>
                        <a:t> To assess if the input data is good enough to proceed with model building.</a:t>
                      </a:r>
                    </a:p>
                  </a:txBody>
                  <a:tcPr/>
                </a:tc>
                <a:extLst>
                  <a:ext uri="{0D108BD9-81ED-4DB2-BD59-A6C34878D82A}">
                    <a16:rowId xmlns:a16="http://schemas.microsoft.com/office/drawing/2014/main" val="192842777"/>
                  </a:ext>
                </a:extLst>
              </a:tr>
              <a:tr h="695320">
                <a:tc>
                  <a:txBody>
                    <a:bodyPr/>
                    <a:lstStyle/>
                    <a:p>
                      <a:pPr marL="0" marR="0" lvl="0" indent="0" algn="l" defTabSz="914400" rtl="0" eaLnBrk="1" fontAlgn="auto" latinLnBrk="0" hangingPunct="1">
                        <a:lnSpc>
                          <a:spcPct val="100000"/>
                        </a:lnSpc>
                        <a:spcBef>
                          <a:spcPct val="0"/>
                        </a:spcBef>
                        <a:spcAft>
                          <a:spcPts val="0"/>
                        </a:spcAft>
                        <a:buClr>
                          <a:srgbClr val="000000"/>
                        </a:buClr>
                        <a:buSzPct val="80000"/>
                        <a:buFont typeface="Arial" charset="0"/>
                        <a:buNone/>
                        <a:tabLst/>
                        <a:defRPr/>
                      </a:pPr>
                      <a:r>
                        <a:rPr kumimoji="0" lang="en-GB" sz="1600" b="1" i="0" u="none" strike="noStrike" kern="0" cap="none" spc="0" normalizeH="0" baseline="0" dirty="0">
                          <a:ln>
                            <a:noFill/>
                          </a:ln>
                          <a:solidFill>
                            <a:srgbClr val="000000"/>
                          </a:solidFill>
                          <a:effectLst/>
                          <a:uLnTx/>
                          <a:uFillTx/>
                          <a:latin typeface="EYInterstate Light" pitchFamily="2" charset="0"/>
                          <a:ea typeface="+mn-ea"/>
                          <a:cs typeface="+mn-cs"/>
                        </a:rPr>
                        <a:t>Propensity model development: </a:t>
                      </a:r>
                      <a:r>
                        <a:rPr kumimoji="0" lang="en-GB" sz="1600" b="0" i="0" u="none" strike="noStrike" kern="0" cap="none" spc="0" normalizeH="0" baseline="0" dirty="0">
                          <a:ln>
                            <a:noFill/>
                          </a:ln>
                          <a:solidFill>
                            <a:srgbClr val="000000"/>
                          </a:solidFill>
                          <a:effectLst/>
                          <a:uLnTx/>
                          <a:uFillTx/>
                          <a:latin typeface="EYInterstate Light" pitchFamily="2" charset="0"/>
                          <a:ea typeface="+mn-ea"/>
                          <a:cs typeface="+mn-cs"/>
                        </a:rPr>
                        <a:t>This includes </a:t>
                      </a:r>
                      <a:r>
                        <a:rPr kumimoji="0" lang="en-US" sz="1600" b="0" i="0" u="none" strike="noStrike" kern="0" cap="none" spc="0" normalizeH="0" baseline="0" dirty="0">
                          <a:ln>
                            <a:noFill/>
                          </a:ln>
                          <a:solidFill>
                            <a:srgbClr val="000000"/>
                          </a:solidFill>
                          <a:effectLst/>
                          <a:uLnTx/>
                          <a:uFillTx/>
                          <a:latin typeface="EYInterstate Light" pitchFamily="2" charset="0"/>
                          <a:ea typeface="+mn-ea"/>
                          <a:cs typeface="+mn-cs"/>
                        </a:rPr>
                        <a:t>data cleansing, data aggregation, set up of training and validation datasets, feature extraction, model build, model evaluation and detailed explanation on champion model selection.</a:t>
                      </a:r>
                      <a:endParaRPr kumimoji="0" lang="en-GB" sz="1600" b="0" i="0" u="none" strike="noStrike" kern="0" cap="none" spc="0" normalizeH="0" baseline="0" dirty="0">
                        <a:ln>
                          <a:noFill/>
                        </a:ln>
                        <a:solidFill>
                          <a:srgbClr val="000000"/>
                        </a:solidFill>
                        <a:effectLst/>
                        <a:uLnTx/>
                        <a:uFillTx/>
                        <a:latin typeface="EYInterstate Light" pitchFamily="2" charset="0"/>
                        <a:ea typeface="+mn-ea"/>
                        <a:cs typeface="+mn-cs"/>
                      </a:endParaRPr>
                    </a:p>
                  </a:txBody>
                  <a:tcPr/>
                </a:tc>
                <a:extLst>
                  <a:ext uri="{0D108BD9-81ED-4DB2-BD59-A6C34878D82A}">
                    <a16:rowId xmlns:a16="http://schemas.microsoft.com/office/drawing/2014/main" val="4049653501"/>
                  </a:ext>
                </a:extLst>
              </a:tr>
            </a:tbl>
          </a:graphicData>
        </a:graphic>
      </p:graphicFrame>
      <p:pic>
        <p:nvPicPr>
          <p:cNvPr id="42" name="Picture 41">
            <a:extLst>
              <a:ext uri="{FF2B5EF4-FFF2-40B4-BE49-F238E27FC236}">
                <a16:creationId xmlns:a16="http://schemas.microsoft.com/office/drawing/2014/main" id="{CFD7D535-ACDF-4251-8DB8-CC4370E63AA6}"/>
              </a:ext>
            </a:extLst>
          </p:cNvPr>
          <p:cNvPicPr>
            <a:picLocks noChangeAspect="1"/>
          </p:cNvPicPr>
          <p:nvPr/>
        </p:nvPicPr>
        <p:blipFill rotWithShape="1">
          <a:blip r:embed="rId8">
            <a:duotone>
              <a:schemeClr val="accent5">
                <a:shade val="45000"/>
                <a:satMod val="135000"/>
              </a:schemeClr>
              <a:prstClr val="white"/>
            </a:duotone>
          </a:blip>
          <a:srcRect l="33408" t="11657" r="58292" b="69965"/>
          <a:stretch/>
        </p:blipFill>
        <p:spPr>
          <a:xfrm>
            <a:off x="1012532" y="4335463"/>
            <a:ext cx="477709" cy="474479"/>
          </a:xfrm>
          <a:prstGeom prst="rect">
            <a:avLst/>
          </a:prstGeom>
        </p:spPr>
      </p:pic>
      <p:pic>
        <p:nvPicPr>
          <p:cNvPr id="44" name="Picture 43">
            <a:extLst>
              <a:ext uri="{FF2B5EF4-FFF2-40B4-BE49-F238E27FC236}">
                <a16:creationId xmlns:a16="http://schemas.microsoft.com/office/drawing/2014/main" id="{8680E783-4CA7-4692-A5AC-BB45A0C97873}"/>
              </a:ext>
            </a:extLst>
          </p:cNvPr>
          <p:cNvPicPr>
            <a:picLocks noChangeAspect="1"/>
          </p:cNvPicPr>
          <p:nvPr/>
        </p:nvPicPr>
        <p:blipFill rotWithShape="1">
          <a:blip r:embed="rId8">
            <a:duotone>
              <a:schemeClr val="accent5">
                <a:shade val="45000"/>
                <a:satMod val="135000"/>
              </a:schemeClr>
              <a:prstClr val="white"/>
            </a:duotone>
          </a:blip>
          <a:srcRect l="85006" t="11329" r="8874" b="69110"/>
          <a:stretch/>
        </p:blipFill>
        <p:spPr>
          <a:xfrm>
            <a:off x="1043543" y="3350316"/>
            <a:ext cx="382628" cy="548640"/>
          </a:xfrm>
          <a:prstGeom prst="rect">
            <a:avLst/>
          </a:prstGeom>
        </p:spPr>
      </p:pic>
      <p:graphicFrame>
        <p:nvGraphicFramePr>
          <p:cNvPr id="45" name="Table 32">
            <a:extLst>
              <a:ext uri="{FF2B5EF4-FFF2-40B4-BE49-F238E27FC236}">
                <a16:creationId xmlns:a16="http://schemas.microsoft.com/office/drawing/2014/main" id="{A8AEE12D-99C1-4DE0-89C8-3F9AFD93A265}"/>
              </a:ext>
            </a:extLst>
          </p:cNvPr>
          <p:cNvGraphicFramePr>
            <a:graphicFrameLocks noGrp="1"/>
          </p:cNvGraphicFramePr>
          <p:nvPr>
            <p:extLst>
              <p:ext uri="{D42A27DB-BD31-4B8C-83A1-F6EECF244321}">
                <p14:modId xmlns:p14="http://schemas.microsoft.com/office/powerpoint/2010/main" val="3090195830"/>
              </p:ext>
            </p:extLst>
          </p:nvPr>
        </p:nvGraphicFramePr>
        <p:xfrm>
          <a:off x="8156605" y="2227564"/>
          <a:ext cx="4877543" cy="4469409"/>
        </p:xfrm>
        <a:graphic>
          <a:graphicData uri="http://schemas.openxmlformats.org/drawingml/2006/table">
            <a:tbl>
              <a:tblPr firstRow="1" bandRow="1">
                <a:tableStyleId>{2D5ABB26-0587-4C30-8999-92F81FD0307C}</a:tableStyleId>
              </a:tblPr>
              <a:tblGrid>
                <a:gridCol w="4877543">
                  <a:extLst>
                    <a:ext uri="{9D8B030D-6E8A-4147-A177-3AD203B41FA5}">
                      <a16:colId xmlns:a16="http://schemas.microsoft.com/office/drawing/2014/main" val="2051140259"/>
                    </a:ext>
                  </a:extLst>
                </a:gridCol>
              </a:tblGrid>
              <a:tr h="1234016">
                <a:tc>
                  <a:txBody>
                    <a:bodyPr/>
                    <a:lstStyle/>
                    <a:p>
                      <a:pPr marL="0" marR="0" lvl="0" indent="0" algn="l" defTabSz="914400" rtl="0" eaLnBrk="1" fontAlgn="base" latinLnBrk="0" hangingPunct="1">
                        <a:lnSpc>
                          <a:spcPct val="100000"/>
                        </a:lnSpc>
                        <a:spcBef>
                          <a:spcPts val="0"/>
                        </a:spcBef>
                        <a:spcAft>
                          <a:spcPts val="1800"/>
                        </a:spcAft>
                        <a:buClr>
                          <a:srgbClr val="646464"/>
                        </a:buClr>
                        <a:buSzPct val="110000"/>
                        <a:buFont typeface="Arial" charset="0"/>
                        <a:buNone/>
                        <a:tabLst/>
                        <a:defRPr/>
                      </a:pPr>
                      <a:r>
                        <a:rPr lang="en-US" sz="1600" b="1" u="none" kern="1200" noProof="0" dirty="0">
                          <a:solidFill>
                            <a:schemeClr val="tx1"/>
                          </a:solidFill>
                          <a:latin typeface="EYInterstate Light" panose="02000506000000020004" pitchFamily="2" charset="0"/>
                          <a:ea typeface="+mn-ea"/>
                          <a:cs typeface="+mn-cs"/>
                        </a:rPr>
                        <a:t>Product categories: </a:t>
                      </a:r>
                      <a:r>
                        <a:rPr lang="en-US" sz="1600" b="0" u="none" kern="1200" noProof="0" dirty="0">
                          <a:solidFill>
                            <a:schemeClr val="tx1"/>
                          </a:solidFill>
                          <a:latin typeface="EYInterstate Light" panose="02000506000000020004" pitchFamily="2" charset="0"/>
                          <a:ea typeface="+mn-ea"/>
                          <a:cs typeface="+mn-cs"/>
                        </a:rPr>
                        <a:t>P</a:t>
                      </a:r>
                      <a:r>
                        <a:rPr kumimoji="0" lang="en-US" sz="1600" b="0" i="0" u="none" strike="noStrike" kern="0" cap="none" spc="0" normalizeH="0" baseline="0" noProof="0" dirty="0">
                          <a:ln>
                            <a:noFill/>
                          </a:ln>
                          <a:solidFill>
                            <a:srgbClr val="000000"/>
                          </a:solidFill>
                          <a:effectLst/>
                          <a:uLnTx/>
                          <a:uFillTx/>
                          <a:latin typeface="EYInterstate Light" pitchFamily="2" charset="0"/>
                          <a:ea typeface="+mn-ea"/>
                          <a:cs typeface="+mn-cs"/>
                        </a:rPr>
                        <a:t>redictive models for each of the categories: Investment Linked Insurance, Health Insurance, Term Life Insurance and Whole Life Insurance with data quality assessment.</a:t>
                      </a:r>
                    </a:p>
                  </a:txBody>
                  <a:tcPr/>
                </a:tc>
                <a:extLst>
                  <a:ext uri="{0D108BD9-81ED-4DB2-BD59-A6C34878D82A}">
                    <a16:rowId xmlns:a16="http://schemas.microsoft.com/office/drawing/2014/main" val="2383409161"/>
                  </a:ext>
                </a:extLst>
              </a:tr>
              <a:tr h="1014717">
                <a:tc>
                  <a:txBody>
                    <a:bodyPr/>
                    <a:lstStyle/>
                    <a:p>
                      <a:pPr marL="0" marR="0" lvl="0" indent="0" algn="l" defTabSz="1266737" rtl="0" eaLnBrk="1" fontAlgn="auto" latinLnBrk="0" hangingPunct="1">
                        <a:lnSpc>
                          <a:spcPct val="100000"/>
                        </a:lnSpc>
                        <a:spcBef>
                          <a:spcPts val="0"/>
                        </a:spcBef>
                        <a:spcAft>
                          <a:spcPts val="0"/>
                        </a:spcAft>
                        <a:buClrTx/>
                        <a:buSzTx/>
                        <a:buFontTx/>
                        <a:buNone/>
                        <a:tabLst/>
                        <a:defRPr/>
                      </a:pPr>
                      <a:r>
                        <a:rPr lang="en-US" sz="1600" b="1" u="none" dirty="0">
                          <a:solidFill>
                            <a:schemeClr val="tx1"/>
                          </a:solidFill>
                          <a:latin typeface="EYInterstate Light" panose="02000506000000020004" pitchFamily="2" charset="0"/>
                        </a:rPr>
                        <a:t>Explainable ML models: </a:t>
                      </a:r>
                      <a:r>
                        <a:rPr lang="en-US" sz="1600" b="0" dirty="0">
                          <a:solidFill>
                            <a:schemeClr val="tx1"/>
                          </a:solidFill>
                          <a:latin typeface="EYInterstate Light" panose="02000506000000020004" pitchFamily="2" charset="0"/>
                        </a:rPr>
                        <a:t>Incorporate robust data science algorithms that result in interpretable models built in SAS </a:t>
                      </a:r>
                      <a:r>
                        <a:rPr lang="en-US" sz="1600" b="0" dirty="0" err="1">
                          <a:solidFill>
                            <a:schemeClr val="tx1"/>
                          </a:solidFill>
                          <a:latin typeface="EYInterstate Light" panose="02000506000000020004" pitchFamily="2" charset="0"/>
                        </a:rPr>
                        <a:t>Viya</a:t>
                      </a:r>
                      <a:r>
                        <a:rPr lang="en-US" sz="1600" b="0" dirty="0">
                          <a:solidFill>
                            <a:schemeClr val="tx1"/>
                          </a:solidFill>
                          <a:latin typeface="EYInterstate Light" panose="02000506000000020004" pitchFamily="2" charset="0"/>
                        </a:rPr>
                        <a:t> or Python.</a:t>
                      </a:r>
                    </a:p>
                  </a:txBody>
                  <a:tcPr/>
                </a:tc>
                <a:extLst>
                  <a:ext uri="{0D108BD9-81ED-4DB2-BD59-A6C34878D82A}">
                    <a16:rowId xmlns:a16="http://schemas.microsoft.com/office/drawing/2014/main" val="192842777"/>
                  </a:ext>
                </a:extLst>
              </a:tr>
              <a:tr h="1268721">
                <a:tc>
                  <a:txBody>
                    <a:bodyPr/>
                    <a:lstStyle/>
                    <a:p>
                      <a:pPr marL="0" marR="0" lvl="0" indent="0" algn="l" defTabSz="914400" rtl="0" eaLnBrk="1" fontAlgn="auto" latinLnBrk="0" hangingPunct="1">
                        <a:lnSpc>
                          <a:spcPct val="100000"/>
                        </a:lnSpc>
                        <a:spcBef>
                          <a:spcPct val="0"/>
                        </a:spcBef>
                        <a:spcAft>
                          <a:spcPts val="0"/>
                        </a:spcAft>
                        <a:buClr>
                          <a:srgbClr val="000000"/>
                        </a:buClr>
                        <a:buSzPct val="80000"/>
                        <a:buFont typeface="Arial" charset="0"/>
                        <a:buNone/>
                        <a:tabLst/>
                        <a:defRPr/>
                      </a:pPr>
                      <a:r>
                        <a:rPr kumimoji="0" lang="en-GB" sz="1600" b="1" i="0" u="none" strike="noStrike" kern="0" cap="none" spc="0" normalizeH="0" baseline="0" dirty="0">
                          <a:ln>
                            <a:noFill/>
                          </a:ln>
                          <a:solidFill>
                            <a:srgbClr val="000000"/>
                          </a:solidFill>
                          <a:effectLst/>
                          <a:uLnTx/>
                          <a:uFillTx/>
                          <a:latin typeface="EYInterstate Light" pitchFamily="2" charset="0"/>
                          <a:ea typeface="+mn-ea"/>
                          <a:cs typeface="+mn-cs"/>
                        </a:rPr>
                        <a:t>Model performance threshold: </a:t>
                      </a:r>
                      <a:r>
                        <a:rPr lang="en-US" sz="1600" b="0" dirty="0">
                          <a:solidFill>
                            <a:schemeClr val="tx1"/>
                          </a:solidFill>
                          <a:latin typeface="EYInterstate Light" panose="02000506000000020004" pitchFamily="2" charset="0"/>
                        </a:rPr>
                        <a:t>At least 80% in Recall and 0.8 AUC, with minimum variance and bias expected from the model performance in the hold-out sample.</a:t>
                      </a:r>
                    </a:p>
                  </a:txBody>
                  <a:tcPr/>
                </a:tc>
                <a:extLst>
                  <a:ext uri="{0D108BD9-81ED-4DB2-BD59-A6C34878D82A}">
                    <a16:rowId xmlns:a16="http://schemas.microsoft.com/office/drawing/2014/main" val="4049653501"/>
                  </a:ext>
                </a:extLst>
              </a:tr>
              <a:tr h="951955">
                <a:tc>
                  <a:txBody>
                    <a:bodyPr/>
                    <a:lstStyle/>
                    <a:p>
                      <a:pPr marL="0" marR="0" lvl="0" indent="0" algn="l" defTabSz="1266737" rtl="0" eaLnBrk="1" fontAlgn="auto" latinLnBrk="0" hangingPunct="1">
                        <a:lnSpc>
                          <a:spcPct val="100000"/>
                        </a:lnSpc>
                        <a:spcBef>
                          <a:spcPts val="0"/>
                        </a:spcBef>
                        <a:spcAft>
                          <a:spcPts val="0"/>
                        </a:spcAft>
                        <a:buClrTx/>
                        <a:buSzTx/>
                        <a:buFontTx/>
                        <a:buNone/>
                        <a:tabLst/>
                        <a:defRPr/>
                      </a:pPr>
                      <a:r>
                        <a:rPr lang="en-US" sz="1600" b="1" dirty="0">
                          <a:solidFill>
                            <a:schemeClr val="tx1"/>
                          </a:solidFill>
                          <a:latin typeface="EYInterstate Light" panose="02000506000000020004" pitchFamily="2" charset="0"/>
                        </a:rPr>
                        <a:t>Reporting: </a:t>
                      </a:r>
                      <a:r>
                        <a:rPr lang="en-US" sz="1600" b="0" dirty="0">
                          <a:solidFill>
                            <a:schemeClr val="tx1"/>
                          </a:solidFill>
                          <a:latin typeface="EYInterstate Light" panose="02000506000000020004" pitchFamily="2" charset="0"/>
                        </a:rPr>
                        <a:t>Model documentation and input drift assessment.</a:t>
                      </a:r>
                    </a:p>
                  </a:txBody>
                  <a:tcPr/>
                </a:tc>
                <a:extLst>
                  <a:ext uri="{0D108BD9-81ED-4DB2-BD59-A6C34878D82A}">
                    <a16:rowId xmlns:a16="http://schemas.microsoft.com/office/drawing/2014/main" val="3590269456"/>
                  </a:ext>
                </a:extLst>
              </a:tr>
            </a:tbl>
          </a:graphicData>
        </a:graphic>
      </p:graphicFrame>
      <p:grpSp>
        <p:nvGrpSpPr>
          <p:cNvPr id="46" name="Group 21">
            <a:extLst>
              <a:ext uri="{FF2B5EF4-FFF2-40B4-BE49-F238E27FC236}">
                <a16:creationId xmlns:a16="http://schemas.microsoft.com/office/drawing/2014/main" id="{147B21B1-0FFF-47C4-B790-AB3A61DDBE5D}"/>
              </a:ext>
            </a:extLst>
          </p:cNvPr>
          <p:cNvGrpSpPr>
            <a:grpSpLocks noChangeAspect="1"/>
          </p:cNvGrpSpPr>
          <p:nvPr/>
        </p:nvGrpSpPr>
        <p:grpSpPr bwMode="auto">
          <a:xfrm>
            <a:off x="7432774" y="2319787"/>
            <a:ext cx="560488" cy="559039"/>
            <a:chOff x="1842" y="891"/>
            <a:chExt cx="774" cy="772"/>
          </a:xfrm>
          <a:solidFill>
            <a:schemeClr val="accent5"/>
          </a:solidFill>
        </p:grpSpPr>
        <p:sp>
          <p:nvSpPr>
            <p:cNvPr id="47" name="Freeform 22">
              <a:extLst>
                <a:ext uri="{FF2B5EF4-FFF2-40B4-BE49-F238E27FC236}">
                  <a16:creationId xmlns:a16="http://schemas.microsoft.com/office/drawing/2014/main" id="{3D528A45-596F-4676-B3A4-17861FAEE2C1}"/>
                </a:ext>
              </a:extLst>
            </p:cNvPr>
            <p:cNvSpPr>
              <a:spLocks noEditPoints="1"/>
            </p:cNvSpPr>
            <p:nvPr/>
          </p:nvSpPr>
          <p:spPr bwMode="auto">
            <a:xfrm>
              <a:off x="2282" y="1175"/>
              <a:ext cx="260" cy="258"/>
            </a:xfrm>
            <a:custGeom>
              <a:avLst/>
              <a:gdLst>
                <a:gd name="T0" fmla="*/ 130 w 260"/>
                <a:gd name="T1" fmla="*/ 258 h 258"/>
                <a:gd name="T2" fmla="*/ 104 w 260"/>
                <a:gd name="T3" fmla="*/ 256 h 258"/>
                <a:gd name="T4" fmla="*/ 80 w 260"/>
                <a:gd name="T5" fmla="*/ 248 h 258"/>
                <a:gd name="T6" fmla="*/ 58 w 260"/>
                <a:gd name="T7" fmla="*/ 236 h 258"/>
                <a:gd name="T8" fmla="*/ 22 w 260"/>
                <a:gd name="T9" fmla="*/ 202 h 258"/>
                <a:gd name="T10" fmla="*/ 12 w 260"/>
                <a:gd name="T11" fmla="*/ 180 h 258"/>
                <a:gd name="T12" fmla="*/ 4 w 260"/>
                <a:gd name="T13" fmla="*/ 156 h 258"/>
                <a:gd name="T14" fmla="*/ 0 w 260"/>
                <a:gd name="T15" fmla="*/ 130 h 258"/>
                <a:gd name="T16" fmla="*/ 2 w 260"/>
                <a:gd name="T17" fmla="*/ 116 h 258"/>
                <a:gd name="T18" fmla="*/ 6 w 260"/>
                <a:gd name="T19" fmla="*/ 92 h 258"/>
                <a:gd name="T20" fmla="*/ 16 w 260"/>
                <a:gd name="T21" fmla="*/ 68 h 258"/>
                <a:gd name="T22" fmla="*/ 38 w 260"/>
                <a:gd name="T23" fmla="*/ 38 h 258"/>
                <a:gd name="T24" fmla="*/ 68 w 260"/>
                <a:gd name="T25" fmla="*/ 16 h 258"/>
                <a:gd name="T26" fmla="*/ 92 w 260"/>
                <a:gd name="T27" fmla="*/ 6 h 258"/>
                <a:gd name="T28" fmla="*/ 116 w 260"/>
                <a:gd name="T29" fmla="*/ 2 h 258"/>
                <a:gd name="T30" fmla="*/ 130 w 260"/>
                <a:gd name="T31" fmla="*/ 0 h 258"/>
                <a:gd name="T32" fmla="*/ 156 w 260"/>
                <a:gd name="T33" fmla="*/ 4 h 258"/>
                <a:gd name="T34" fmla="*/ 180 w 260"/>
                <a:gd name="T35" fmla="*/ 10 h 258"/>
                <a:gd name="T36" fmla="*/ 202 w 260"/>
                <a:gd name="T37" fmla="*/ 22 h 258"/>
                <a:gd name="T38" fmla="*/ 236 w 260"/>
                <a:gd name="T39" fmla="*/ 58 h 258"/>
                <a:gd name="T40" fmla="*/ 248 w 260"/>
                <a:gd name="T41" fmla="*/ 80 h 258"/>
                <a:gd name="T42" fmla="*/ 256 w 260"/>
                <a:gd name="T43" fmla="*/ 104 h 258"/>
                <a:gd name="T44" fmla="*/ 260 w 260"/>
                <a:gd name="T45" fmla="*/ 130 h 258"/>
                <a:gd name="T46" fmla="*/ 258 w 260"/>
                <a:gd name="T47" fmla="*/ 142 h 258"/>
                <a:gd name="T48" fmla="*/ 254 w 260"/>
                <a:gd name="T49" fmla="*/ 168 h 258"/>
                <a:gd name="T50" fmla="*/ 244 w 260"/>
                <a:gd name="T51" fmla="*/ 190 h 258"/>
                <a:gd name="T52" fmla="*/ 222 w 260"/>
                <a:gd name="T53" fmla="*/ 220 h 258"/>
                <a:gd name="T54" fmla="*/ 192 w 260"/>
                <a:gd name="T55" fmla="*/ 242 h 258"/>
                <a:gd name="T56" fmla="*/ 168 w 260"/>
                <a:gd name="T57" fmla="*/ 252 h 258"/>
                <a:gd name="T58" fmla="*/ 144 w 260"/>
                <a:gd name="T59" fmla="*/ 258 h 258"/>
                <a:gd name="T60" fmla="*/ 130 w 260"/>
                <a:gd name="T61" fmla="*/ 258 h 258"/>
                <a:gd name="T62" fmla="*/ 130 w 260"/>
                <a:gd name="T63" fmla="*/ 18 h 258"/>
                <a:gd name="T64" fmla="*/ 86 w 260"/>
                <a:gd name="T65" fmla="*/ 28 h 258"/>
                <a:gd name="T66" fmla="*/ 52 w 260"/>
                <a:gd name="T67" fmla="*/ 50 h 258"/>
                <a:gd name="T68" fmla="*/ 28 w 260"/>
                <a:gd name="T69" fmla="*/ 86 h 258"/>
                <a:gd name="T70" fmla="*/ 18 w 260"/>
                <a:gd name="T71" fmla="*/ 130 h 258"/>
                <a:gd name="T72" fmla="*/ 22 w 260"/>
                <a:gd name="T73" fmla="*/ 152 h 258"/>
                <a:gd name="T74" fmla="*/ 38 w 260"/>
                <a:gd name="T75" fmla="*/ 192 h 258"/>
                <a:gd name="T76" fmla="*/ 68 w 260"/>
                <a:gd name="T77" fmla="*/ 222 h 258"/>
                <a:gd name="T78" fmla="*/ 108 w 260"/>
                <a:gd name="T79" fmla="*/ 238 h 258"/>
                <a:gd name="T80" fmla="*/ 130 w 260"/>
                <a:gd name="T81" fmla="*/ 240 h 258"/>
                <a:gd name="T82" fmla="*/ 174 w 260"/>
                <a:gd name="T83" fmla="*/ 232 h 258"/>
                <a:gd name="T84" fmla="*/ 208 w 260"/>
                <a:gd name="T85" fmla="*/ 208 h 258"/>
                <a:gd name="T86" fmla="*/ 232 w 260"/>
                <a:gd name="T87" fmla="*/ 172 h 258"/>
                <a:gd name="T88" fmla="*/ 242 w 260"/>
                <a:gd name="T89" fmla="*/ 130 h 258"/>
                <a:gd name="T90" fmla="*/ 238 w 260"/>
                <a:gd name="T91" fmla="*/ 108 h 258"/>
                <a:gd name="T92" fmla="*/ 222 w 260"/>
                <a:gd name="T93" fmla="*/ 68 h 258"/>
                <a:gd name="T94" fmla="*/ 192 w 260"/>
                <a:gd name="T95" fmla="*/ 38 h 258"/>
                <a:gd name="T96" fmla="*/ 152 w 260"/>
                <a:gd name="T97" fmla="*/ 20 h 258"/>
                <a:gd name="T98" fmla="*/ 130 w 260"/>
                <a:gd name="T99" fmla="*/ 18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60" h="258">
                  <a:moveTo>
                    <a:pt x="130" y="258"/>
                  </a:moveTo>
                  <a:lnTo>
                    <a:pt x="130" y="258"/>
                  </a:lnTo>
                  <a:lnTo>
                    <a:pt x="116" y="258"/>
                  </a:lnTo>
                  <a:lnTo>
                    <a:pt x="104" y="256"/>
                  </a:lnTo>
                  <a:lnTo>
                    <a:pt x="92" y="252"/>
                  </a:lnTo>
                  <a:lnTo>
                    <a:pt x="80" y="248"/>
                  </a:lnTo>
                  <a:lnTo>
                    <a:pt x="68" y="242"/>
                  </a:lnTo>
                  <a:lnTo>
                    <a:pt x="58" y="236"/>
                  </a:lnTo>
                  <a:lnTo>
                    <a:pt x="38" y="220"/>
                  </a:lnTo>
                  <a:lnTo>
                    <a:pt x="22" y="202"/>
                  </a:lnTo>
                  <a:lnTo>
                    <a:pt x="16" y="190"/>
                  </a:lnTo>
                  <a:lnTo>
                    <a:pt x="12" y="180"/>
                  </a:lnTo>
                  <a:lnTo>
                    <a:pt x="6" y="168"/>
                  </a:lnTo>
                  <a:lnTo>
                    <a:pt x="4" y="156"/>
                  </a:lnTo>
                  <a:lnTo>
                    <a:pt x="2" y="142"/>
                  </a:lnTo>
                  <a:lnTo>
                    <a:pt x="0" y="130"/>
                  </a:lnTo>
                  <a:lnTo>
                    <a:pt x="0" y="130"/>
                  </a:lnTo>
                  <a:lnTo>
                    <a:pt x="2" y="116"/>
                  </a:lnTo>
                  <a:lnTo>
                    <a:pt x="4" y="104"/>
                  </a:lnTo>
                  <a:lnTo>
                    <a:pt x="6" y="92"/>
                  </a:lnTo>
                  <a:lnTo>
                    <a:pt x="12" y="80"/>
                  </a:lnTo>
                  <a:lnTo>
                    <a:pt x="16" y="68"/>
                  </a:lnTo>
                  <a:lnTo>
                    <a:pt x="22" y="58"/>
                  </a:lnTo>
                  <a:lnTo>
                    <a:pt x="38" y="38"/>
                  </a:lnTo>
                  <a:lnTo>
                    <a:pt x="58" y="22"/>
                  </a:lnTo>
                  <a:lnTo>
                    <a:pt x="68" y="16"/>
                  </a:lnTo>
                  <a:lnTo>
                    <a:pt x="80" y="10"/>
                  </a:lnTo>
                  <a:lnTo>
                    <a:pt x="92" y="6"/>
                  </a:lnTo>
                  <a:lnTo>
                    <a:pt x="104" y="4"/>
                  </a:lnTo>
                  <a:lnTo>
                    <a:pt x="116" y="2"/>
                  </a:lnTo>
                  <a:lnTo>
                    <a:pt x="130" y="0"/>
                  </a:lnTo>
                  <a:lnTo>
                    <a:pt x="130" y="0"/>
                  </a:lnTo>
                  <a:lnTo>
                    <a:pt x="144" y="2"/>
                  </a:lnTo>
                  <a:lnTo>
                    <a:pt x="156" y="4"/>
                  </a:lnTo>
                  <a:lnTo>
                    <a:pt x="168" y="6"/>
                  </a:lnTo>
                  <a:lnTo>
                    <a:pt x="180" y="10"/>
                  </a:lnTo>
                  <a:lnTo>
                    <a:pt x="192" y="16"/>
                  </a:lnTo>
                  <a:lnTo>
                    <a:pt x="202" y="22"/>
                  </a:lnTo>
                  <a:lnTo>
                    <a:pt x="222" y="38"/>
                  </a:lnTo>
                  <a:lnTo>
                    <a:pt x="236" y="58"/>
                  </a:lnTo>
                  <a:lnTo>
                    <a:pt x="244" y="68"/>
                  </a:lnTo>
                  <a:lnTo>
                    <a:pt x="248" y="80"/>
                  </a:lnTo>
                  <a:lnTo>
                    <a:pt x="254" y="92"/>
                  </a:lnTo>
                  <a:lnTo>
                    <a:pt x="256" y="104"/>
                  </a:lnTo>
                  <a:lnTo>
                    <a:pt x="258" y="116"/>
                  </a:lnTo>
                  <a:lnTo>
                    <a:pt x="260" y="130"/>
                  </a:lnTo>
                  <a:lnTo>
                    <a:pt x="260" y="130"/>
                  </a:lnTo>
                  <a:lnTo>
                    <a:pt x="258" y="142"/>
                  </a:lnTo>
                  <a:lnTo>
                    <a:pt x="256" y="156"/>
                  </a:lnTo>
                  <a:lnTo>
                    <a:pt x="254" y="168"/>
                  </a:lnTo>
                  <a:lnTo>
                    <a:pt x="248" y="180"/>
                  </a:lnTo>
                  <a:lnTo>
                    <a:pt x="244" y="190"/>
                  </a:lnTo>
                  <a:lnTo>
                    <a:pt x="236" y="202"/>
                  </a:lnTo>
                  <a:lnTo>
                    <a:pt x="222" y="220"/>
                  </a:lnTo>
                  <a:lnTo>
                    <a:pt x="202" y="236"/>
                  </a:lnTo>
                  <a:lnTo>
                    <a:pt x="192" y="242"/>
                  </a:lnTo>
                  <a:lnTo>
                    <a:pt x="180" y="248"/>
                  </a:lnTo>
                  <a:lnTo>
                    <a:pt x="168" y="252"/>
                  </a:lnTo>
                  <a:lnTo>
                    <a:pt x="156" y="256"/>
                  </a:lnTo>
                  <a:lnTo>
                    <a:pt x="144" y="258"/>
                  </a:lnTo>
                  <a:lnTo>
                    <a:pt x="130" y="258"/>
                  </a:lnTo>
                  <a:lnTo>
                    <a:pt x="130" y="258"/>
                  </a:lnTo>
                  <a:close/>
                  <a:moveTo>
                    <a:pt x="130" y="18"/>
                  </a:moveTo>
                  <a:lnTo>
                    <a:pt x="130" y="18"/>
                  </a:lnTo>
                  <a:lnTo>
                    <a:pt x="108" y="20"/>
                  </a:lnTo>
                  <a:lnTo>
                    <a:pt x="86" y="28"/>
                  </a:lnTo>
                  <a:lnTo>
                    <a:pt x="68" y="38"/>
                  </a:lnTo>
                  <a:lnTo>
                    <a:pt x="52" y="50"/>
                  </a:lnTo>
                  <a:lnTo>
                    <a:pt x="38" y="68"/>
                  </a:lnTo>
                  <a:lnTo>
                    <a:pt x="28" y="86"/>
                  </a:lnTo>
                  <a:lnTo>
                    <a:pt x="22" y="108"/>
                  </a:lnTo>
                  <a:lnTo>
                    <a:pt x="18" y="130"/>
                  </a:lnTo>
                  <a:lnTo>
                    <a:pt x="18" y="130"/>
                  </a:lnTo>
                  <a:lnTo>
                    <a:pt x="22" y="152"/>
                  </a:lnTo>
                  <a:lnTo>
                    <a:pt x="28" y="172"/>
                  </a:lnTo>
                  <a:lnTo>
                    <a:pt x="38" y="192"/>
                  </a:lnTo>
                  <a:lnTo>
                    <a:pt x="52" y="208"/>
                  </a:lnTo>
                  <a:lnTo>
                    <a:pt x="68" y="222"/>
                  </a:lnTo>
                  <a:lnTo>
                    <a:pt x="86" y="232"/>
                  </a:lnTo>
                  <a:lnTo>
                    <a:pt x="108" y="238"/>
                  </a:lnTo>
                  <a:lnTo>
                    <a:pt x="130" y="240"/>
                  </a:lnTo>
                  <a:lnTo>
                    <a:pt x="130" y="240"/>
                  </a:lnTo>
                  <a:lnTo>
                    <a:pt x="152" y="238"/>
                  </a:lnTo>
                  <a:lnTo>
                    <a:pt x="174" y="232"/>
                  </a:lnTo>
                  <a:lnTo>
                    <a:pt x="192" y="222"/>
                  </a:lnTo>
                  <a:lnTo>
                    <a:pt x="208" y="208"/>
                  </a:lnTo>
                  <a:lnTo>
                    <a:pt x="222" y="192"/>
                  </a:lnTo>
                  <a:lnTo>
                    <a:pt x="232" y="172"/>
                  </a:lnTo>
                  <a:lnTo>
                    <a:pt x="238" y="152"/>
                  </a:lnTo>
                  <a:lnTo>
                    <a:pt x="242" y="130"/>
                  </a:lnTo>
                  <a:lnTo>
                    <a:pt x="242" y="130"/>
                  </a:lnTo>
                  <a:lnTo>
                    <a:pt x="238" y="108"/>
                  </a:lnTo>
                  <a:lnTo>
                    <a:pt x="232" y="86"/>
                  </a:lnTo>
                  <a:lnTo>
                    <a:pt x="222" y="68"/>
                  </a:lnTo>
                  <a:lnTo>
                    <a:pt x="208" y="50"/>
                  </a:lnTo>
                  <a:lnTo>
                    <a:pt x="192" y="38"/>
                  </a:lnTo>
                  <a:lnTo>
                    <a:pt x="174" y="28"/>
                  </a:lnTo>
                  <a:lnTo>
                    <a:pt x="152" y="20"/>
                  </a:lnTo>
                  <a:lnTo>
                    <a:pt x="130" y="18"/>
                  </a:lnTo>
                  <a:lnTo>
                    <a:pt x="130"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50000"/>
                </a:spcAft>
                <a:buClr>
                  <a:srgbClr val="FFE600"/>
                </a:buClr>
                <a:buSzPct val="80000"/>
                <a:buFont typeface="Arial" charset="0"/>
                <a:buNone/>
                <a:tabLst/>
                <a:defRPr/>
              </a:pPr>
              <a:endParaRPr kumimoji="0" lang="en-US" sz="900" b="0" i="0" u="none" strike="noStrike" kern="1200" cap="none" spc="0" normalizeH="0" baseline="0" noProof="0">
                <a:ln>
                  <a:noFill/>
                </a:ln>
                <a:solidFill>
                  <a:srgbClr val="000000"/>
                </a:solidFill>
                <a:effectLst/>
                <a:uLnTx/>
                <a:uFillTx/>
                <a:latin typeface="EYInterstate Light" pitchFamily="2" charset="0"/>
                <a:ea typeface="+mn-ea"/>
                <a:cs typeface="+mn-cs"/>
              </a:endParaRPr>
            </a:p>
          </p:txBody>
        </p:sp>
        <p:sp>
          <p:nvSpPr>
            <p:cNvPr id="48" name="Freeform 23">
              <a:extLst>
                <a:ext uri="{FF2B5EF4-FFF2-40B4-BE49-F238E27FC236}">
                  <a16:creationId xmlns:a16="http://schemas.microsoft.com/office/drawing/2014/main" id="{E52C1ED9-DAE2-4787-B2F2-6AF1350EE228}"/>
                </a:ext>
              </a:extLst>
            </p:cNvPr>
            <p:cNvSpPr>
              <a:spLocks noEditPoints="1"/>
            </p:cNvSpPr>
            <p:nvPr/>
          </p:nvSpPr>
          <p:spPr bwMode="auto">
            <a:xfrm>
              <a:off x="2318" y="1211"/>
              <a:ext cx="188" cy="188"/>
            </a:xfrm>
            <a:custGeom>
              <a:avLst/>
              <a:gdLst>
                <a:gd name="T0" fmla="*/ 94 w 188"/>
                <a:gd name="T1" fmla="*/ 188 h 188"/>
                <a:gd name="T2" fmla="*/ 58 w 188"/>
                <a:gd name="T3" fmla="*/ 180 h 188"/>
                <a:gd name="T4" fmla="*/ 28 w 188"/>
                <a:gd name="T5" fmla="*/ 160 h 188"/>
                <a:gd name="T6" fmla="*/ 8 w 188"/>
                <a:gd name="T7" fmla="*/ 130 h 188"/>
                <a:gd name="T8" fmla="*/ 0 w 188"/>
                <a:gd name="T9" fmla="*/ 94 h 188"/>
                <a:gd name="T10" fmla="*/ 2 w 188"/>
                <a:gd name="T11" fmla="*/ 74 h 188"/>
                <a:gd name="T12" fmla="*/ 16 w 188"/>
                <a:gd name="T13" fmla="*/ 42 h 188"/>
                <a:gd name="T14" fmla="*/ 42 w 188"/>
                <a:gd name="T15" fmla="*/ 16 h 188"/>
                <a:gd name="T16" fmla="*/ 76 w 188"/>
                <a:gd name="T17" fmla="*/ 2 h 188"/>
                <a:gd name="T18" fmla="*/ 94 w 188"/>
                <a:gd name="T19" fmla="*/ 0 h 188"/>
                <a:gd name="T20" fmla="*/ 130 w 188"/>
                <a:gd name="T21" fmla="*/ 6 h 188"/>
                <a:gd name="T22" fmla="*/ 160 w 188"/>
                <a:gd name="T23" fmla="*/ 28 h 188"/>
                <a:gd name="T24" fmla="*/ 180 w 188"/>
                <a:gd name="T25" fmla="*/ 56 h 188"/>
                <a:gd name="T26" fmla="*/ 188 w 188"/>
                <a:gd name="T27" fmla="*/ 94 h 188"/>
                <a:gd name="T28" fmla="*/ 186 w 188"/>
                <a:gd name="T29" fmla="*/ 112 h 188"/>
                <a:gd name="T30" fmla="*/ 172 w 188"/>
                <a:gd name="T31" fmla="*/ 146 h 188"/>
                <a:gd name="T32" fmla="*/ 146 w 188"/>
                <a:gd name="T33" fmla="*/ 172 h 188"/>
                <a:gd name="T34" fmla="*/ 112 w 188"/>
                <a:gd name="T35" fmla="*/ 186 h 188"/>
                <a:gd name="T36" fmla="*/ 94 w 188"/>
                <a:gd name="T37" fmla="*/ 188 h 188"/>
                <a:gd name="T38" fmla="*/ 94 w 188"/>
                <a:gd name="T39" fmla="*/ 18 h 188"/>
                <a:gd name="T40" fmla="*/ 64 w 188"/>
                <a:gd name="T41" fmla="*/ 24 h 188"/>
                <a:gd name="T42" fmla="*/ 40 w 188"/>
                <a:gd name="T43" fmla="*/ 40 h 188"/>
                <a:gd name="T44" fmla="*/ 24 w 188"/>
                <a:gd name="T45" fmla="*/ 64 h 188"/>
                <a:gd name="T46" fmla="*/ 18 w 188"/>
                <a:gd name="T47" fmla="*/ 94 h 188"/>
                <a:gd name="T48" fmla="*/ 20 w 188"/>
                <a:gd name="T49" fmla="*/ 108 h 188"/>
                <a:gd name="T50" fmla="*/ 30 w 188"/>
                <a:gd name="T51" fmla="*/ 136 h 188"/>
                <a:gd name="T52" fmla="*/ 52 w 188"/>
                <a:gd name="T53" fmla="*/ 156 h 188"/>
                <a:gd name="T54" fmla="*/ 78 w 188"/>
                <a:gd name="T55" fmla="*/ 168 h 188"/>
                <a:gd name="T56" fmla="*/ 94 w 188"/>
                <a:gd name="T57" fmla="*/ 170 h 188"/>
                <a:gd name="T58" fmla="*/ 124 w 188"/>
                <a:gd name="T59" fmla="*/ 164 h 188"/>
                <a:gd name="T60" fmla="*/ 148 w 188"/>
                <a:gd name="T61" fmla="*/ 148 h 188"/>
                <a:gd name="T62" fmla="*/ 164 w 188"/>
                <a:gd name="T63" fmla="*/ 122 h 188"/>
                <a:gd name="T64" fmla="*/ 170 w 188"/>
                <a:gd name="T65" fmla="*/ 94 h 188"/>
                <a:gd name="T66" fmla="*/ 168 w 188"/>
                <a:gd name="T67" fmla="*/ 78 h 188"/>
                <a:gd name="T68" fmla="*/ 156 w 188"/>
                <a:gd name="T69" fmla="*/ 52 h 188"/>
                <a:gd name="T70" fmla="*/ 136 w 188"/>
                <a:gd name="T71" fmla="*/ 30 h 188"/>
                <a:gd name="T72" fmla="*/ 110 w 188"/>
                <a:gd name="T73" fmla="*/ 20 h 188"/>
                <a:gd name="T74" fmla="*/ 94 w 188"/>
                <a:gd name="T75" fmla="*/ 18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88" h="188">
                  <a:moveTo>
                    <a:pt x="94" y="188"/>
                  </a:moveTo>
                  <a:lnTo>
                    <a:pt x="94" y="188"/>
                  </a:lnTo>
                  <a:lnTo>
                    <a:pt x="76" y="186"/>
                  </a:lnTo>
                  <a:lnTo>
                    <a:pt x="58" y="180"/>
                  </a:lnTo>
                  <a:lnTo>
                    <a:pt x="42" y="172"/>
                  </a:lnTo>
                  <a:lnTo>
                    <a:pt x="28" y="160"/>
                  </a:lnTo>
                  <a:lnTo>
                    <a:pt x="16" y="146"/>
                  </a:lnTo>
                  <a:lnTo>
                    <a:pt x="8" y="130"/>
                  </a:lnTo>
                  <a:lnTo>
                    <a:pt x="2" y="112"/>
                  </a:lnTo>
                  <a:lnTo>
                    <a:pt x="0" y="94"/>
                  </a:lnTo>
                  <a:lnTo>
                    <a:pt x="0" y="94"/>
                  </a:lnTo>
                  <a:lnTo>
                    <a:pt x="2" y="74"/>
                  </a:lnTo>
                  <a:lnTo>
                    <a:pt x="8" y="56"/>
                  </a:lnTo>
                  <a:lnTo>
                    <a:pt x="16" y="42"/>
                  </a:lnTo>
                  <a:lnTo>
                    <a:pt x="28" y="28"/>
                  </a:lnTo>
                  <a:lnTo>
                    <a:pt x="42" y="16"/>
                  </a:lnTo>
                  <a:lnTo>
                    <a:pt x="58" y="6"/>
                  </a:lnTo>
                  <a:lnTo>
                    <a:pt x="76" y="2"/>
                  </a:lnTo>
                  <a:lnTo>
                    <a:pt x="94" y="0"/>
                  </a:lnTo>
                  <a:lnTo>
                    <a:pt x="94" y="0"/>
                  </a:lnTo>
                  <a:lnTo>
                    <a:pt x="112" y="2"/>
                  </a:lnTo>
                  <a:lnTo>
                    <a:pt x="130" y="6"/>
                  </a:lnTo>
                  <a:lnTo>
                    <a:pt x="146" y="16"/>
                  </a:lnTo>
                  <a:lnTo>
                    <a:pt x="160" y="28"/>
                  </a:lnTo>
                  <a:lnTo>
                    <a:pt x="172" y="42"/>
                  </a:lnTo>
                  <a:lnTo>
                    <a:pt x="180" y="56"/>
                  </a:lnTo>
                  <a:lnTo>
                    <a:pt x="186" y="74"/>
                  </a:lnTo>
                  <a:lnTo>
                    <a:pt x="188" y="94"/>
                  </a:lnTo>
                  <a:lnTo>
                    <a:pt x="188" y="94"/>
                  </a:lnTo>
                  <a:lnTo>
                    <a:pt x="186" y="112"/>
                  </a:lnTo>
                  <a:lnTo>
                    <a:pt x="180" y="130"/>
                  </a:lnTo>
                  <a:lnTo>
                    <a:pt x="172" y="146"/>
                  </a:lnTo>
                  <a:lnTo>
                    <a:pt x="160" y="160"/>
                  </a:lnTo>
                  <a:lnTo>
                    <a:pt x="146" y="172"/>
                  </a:lnTo>
                  <a:lnTo>
                    <a:pt x="130" y="180"/>
                  </a:lnTo>
                  <a:lnTo>
                    <a:pt x="112" y="186"/>
                  </a:lnTo>
                  <a:lnTo>
                    <a:pt x="94" y="188"/>
                  </a:lnTo>
                  <a:lnTo>
                    <a:pt x="94" y="188"/>
                  </a:lnTo>
                  <a:close/>
                  <a:moveTo>
                    <a:pt x="94" y="18"/>
                  </a:moveTo>
                  <a:lnTo>
                    <a:pt x="94" y="18"/>
                  </a:lnTo>
                  <a:lnTo>
                    <a:pt x="78" y="20"/>
                  </a:lnTo>
                  <a:lnTo>
                    <a:pt x="64" y="24"/>
                  </a:lnTo>
                  <a:lnTo>
                    <a:pt x="52" y="30"/>
                  </a:lnTo>
                  <a:lnTo>
                    <a:pt x="40" y="40"/>
                  </a:lnTo>
                  <a:lnTo>
                    <a:pt x="30" y="52"/>
                  </a:lnTo>
                  <a:lnTo>
                    <a:pt x="24" y="64"/>
                  </a:lnTo>
                  <a:lnTo>
                    <a:pt x="20" y="78"/>
                  </a:lnTo>
                  <a:lnTo>
                    <a:pt x="18" y="94"/>
                  </a:lnTo>
                  <a:lnTo>
                    <a:pt x="18" y="94"/>
                  </a:lnTo>
                  <a:lnTo>
                    <a:pt x="20" y="108"/>
                  </a:lnTo>
                  <a:lnTo>
                    <a:pt x="24" y="122"/>
                  </a:lnTo>
                  <a:lnTo>
                    <a:pt x="30" y="136"/>
                  </a:lnTo>
                  <a:lnTo>
                    <a:pt x="40" y="148"/>
                  </a:lnTo>
                  <a:lnTo>
                    <a:pt x="52" y="156"/>
                  </a:lnTo>
                  <a:lnTo>
                    <a:pt x="64" y="164"/>
                  </a:lnTo>
                  <a:lnTo>
                    <a:pt x="78" y="168"/>
                  </a:lnTo>
                  <a:lnTo>
                    <a:pt x="94" y="170"/>
                  </a:lnTo>
                  <a:lnTo>
                    <a:pt x="94" y="170"/>
                  </a:lnTo>
                  <a:lnTo>
                    <a:pt x="110" y="168"/>
                  </a:lnTo>
                  <a:lnTo>
                    <a:pt x="124" y="164"/>
                  </a:lnTo>
                  <a:lnTo>
                    <a:pt x="136" y="156"/>
                  </a:lnTo>
                  <a:lnTo>
                    <a:pt x="148" y="148"/>
                  </a:lnTo>
                  <a:lnTo>
                    <a:pt x="156" y="136"/>
                  </a:lnTo>
                  <a:lnTo>
                    <a:pt x="164" y="122"/>
                  </a:lnTo>
                  <a:lnTo>
                    <a:pt x="168" y="108"/>
                  </a:lnTo>
                  <a:lnTo>
                    <a:pt x="170" y="94"/>
                  </a:lnTo>
                  <a:lnTo>
                    <a:pt x="170" y="94"/>
                  </a:lnTo>
                  <a:lnTo>
                    <a:pt x="168" y="78"/>
                  </a:lnTo>
                  <a:lnTo>
                    <a:pt x="164" y="64"/>
                  </a:lnTo>
                  <a:lnTo>
                    <a:pt x="156" y="52"/>
                  </a:lnTo>
                  <a:lnTo>
                    <a:pt x="148" y="40"/>
                  </a:lnTo>
                  <a:lnTo>
                    <a:pt x="136" y="30"/>
                  </a:lnTo>
                  <a:lnTo>
                    <a:pt x="124" y="24"/>
                  </a:lnTo>
                  <a:lnTo>
                    <a:pt x="110" y="20"/>
                  </a:lnTo>
                  <a:lnTo>
                    <a:pt x="94" y="18"/>
                  </a:lnTo>
                  <a:lnTo>
                    <a:pt x="94"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50000"/>
                </a:spcAft>
                <a:buClr>
                  <a:srgbClr val="FFE600"/>
                </a:buClr>
                <a:buSzPct val="80000"/>
                <a:buFont typeface="Arial" charset="0"/>
                <a:buNone/>
                <a:tabLst/>
                <a:defRPr/>
              </a:pPr>
              <a:endParaRPr kumimoji="0" lang="en-US" sz="900" b="0" i="0" u="none" strike="noStrike" kern="1200" cap="none" spc="0" normalizeH="0" baseline="0" noProof="0">
                <a:ln>
                  <a:noFill/>
                </a:ln>
                <a:solidFill>
                  <a:srgbClr val="000000"/>
                </a:solidFill>
                <a:effectLst/>
                <a:uLnTx/>
                <a:uFillTx/>
                <a:latin typeface="EYInterstate Light" pitchFamily="2" charset="0"/>
                <a:ea typeface="+mn-ea"/>
                <a:cs typeface="+mn-cs"/>
              </a:endParaRPr>
            </a:p>
          </p:txBody>
        </p:sp>
        <p:sp>
          <p:nvSpPr>
            <p:cNvPr id="49" name="Freeform 24">
              <a:extLst>
                <a:ext uri="{FF2B5EF4-FFF2-40B4-BE49-F238E27FC236}">
                  <a16:creationId xmlns:a16="http://schemas.microsoft.com/office/drawing/2014/main" id="{4E913C9E-A256-4892-986E-651BEA5D9AFC}"/>
                </a:ext>
              </a:extLst>
            </p:cNvPr>
            <p:cNvSpPr>
              <a:spLocks/>
            </p:cNvSpPr>
            <p:nvPr/>
          </p:nvSpPr>
          <p:spPr bwMode="auto">
            <a:xfrm>
              <a:off x="2356" y="1409"/>
              <a:ext cx="112" cy="54"/>
            </a:xfrm>
            <a:custGeom>
              <a:avLst/>
              <a:gdLst>
                <a:gd name="T0" fmla="*/ 94 w 112"/>
                <a:gd name="T1" fmla="*/ 54 h 54"/>
                <a:gd name="T2" fmla="*/ 18 w 112"/>
                <a:gd name="T3" fmla="*/ 54 h 54"/>
                <a:gd name="T4" fmla="*/ 18 w 112"/>
                <a:gd name="T5" fmla="*/ 54 h 54"/>
                <a:gd name="T6" fmla="*/ 12 w 112"/>
                <a:gd name="T7" fmla="*/ 52 h 54"/>
                <a:gd name="T8" fmla="*/ 6 w 112"/>
                <a:gd name="T9" fmla="*/ 50 h 54"/>
                <a:gd name="T10" fmla="*/ 2 w 112"/>
                <a:gd name="T11" fmla="*/ 44 h 54"/>
                <a:gd name="T12" fmla="*/ 0 w 112"/>
                <a:gd name="T13" fmla="*/ 36 h 54"/>
                <a:gd name="T14" fmla="*/ 0 w 112"/>
                <a:gd name="T15" fmla="*/ 0 h 54"/>
                <a:gd name="T16" fmla="*/ 18 w 112"/>
                <a:gd name="T17" fmla="*/ 0 h 54"/>
                <a:gd name="T18" fmla="*/ 18 w 112"/>
                <a:gd name="T19" fmla="*/ 36 h 54"/>
                <a:gd name="T20" fmla="*/ 94 w 112"/>
                <a:gd name="T21" fmla="*/ 36 h 54"/>
                <a:gd name="T22" fmla="*/ 94 w 112"/>
                <a:gd name="T23" fmla="*/ 0 h 54"/>
                <a:gd name="T24" fmla="*/ 112 w 112"/>
                <a:gd name="T25" fmla="*/ 0 h 54"/>
                <a:gd name="T26" fmla="*/ 112 w 112"/>
                <a:gd name="T27" fmla="*/ 36 h 54"/>
                <a:gd name="T28" fmla="*/ 112 w 112"/>
                <a:gd name="T29" fmla="*/ 36 h 54"/>
                <a:gd name="T30" fmla="*/ 110 w 112"/>
                <a:gd name="T31" fmla="*/ 44 h 54"/>
                <a:gd name="T32" fmla="*/ 106 w 112"/>
                <a:gd name="T33" fmla="*/ 50 h 54"/>
                <a:gd name="T34" fmla="*/ 100 w 112"/>
                <a:gd name="T35" fmla="*/ 52 h 54"/>
                <a:gd name="T36" fmla="*/ 94 w 112"/>
                <a:gd name="T37" fmla="*/ 54 h 54"/>
                <a:gd name="T38" fmla="*/ 94 w 112"/>
                <a:gd name="T39"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2" h="54">
                  <a:moveTo>
                    <a:pt x="94" y="54"/>
                  </a:moveTo>
                  <a:lnTo>
                    <a:pt x="18" y="54"/>
                  </a:lnTo>
                  <a:lnTo>
                    <a:pt x="18" y="54"/>
                  </a:lnTo>
                  <a:lnTo>
                    <a:pt x="12" y="52"/>
                  </a:lnTo>
                  <a:lnTo>
                    <a:pt x="6" y="50"/>
                  </a:lnTo>
                  <a:lnTo>
                    <a:pt x="2" y="44"/>
                  </a:lnTo>
                  <a:lnTo>
                    <a:pt x="0" y="36"/>
                  </a:lnTo>
                  <a:lnTo>
                    <a:pt x="0" y="0"/>
                  </a:lnTo>
                  <a:lnTo>
                    <a:pt x="18" y="0"/>
                  </a:lnTo>
                  <a:lnTo>
                    <a:pt x="18" y="36"/>
                  </a:lnTo>
                  <a:lnTo>
                    <a:pt x="94" y="36"/>
                  </a:lnTo>
                  <a:lnTo>
                    <a:pt x="94" y="0"/>
                  </a:lnTo>
                  <a:lnTo>
                    <a:pt x="112" y="0"/>
                  </a:lnTo>
                  <a:lnTo>
                    <a:pt x="112" y="36"/>
                  </a:lnTo>
                  <a:lnTo>
                    <a:pt x="112" y="36"/>
                  </a:lnTo>
                  <a:lnTo>
                    <a:pt x="110" y="44"/>
                  </a:lnTo>
                  <a:lnTo>
                    <a:pt x="106" y="50"/>
                  </a:lnTo>
                  <a:lnTo>
                    <a:pt x="100" y="52"/>
                  </a:lnTo>
                  <a:lnTo>
                    <a:pt x="94" y="54"/>
                  </a:lnTo>
                  <a:lnTo>
                    <a:pt x="94" y="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50000"/>
                </a:spcAft>
                <a:buClr>
                  <a:srgbClr val="FFE600"/>
                </a:buClr>
                <a:buSzPct val="80000"/>
                <a:buFont typeface="Arial" charset="0"/>
                <a:buNone/>
                <a:tabLst/>
                <a:defRPr/>
              </a:pPr>
              <a:endParaRPr kumimoji="0" lang="en-US" sz="900" b="0" i="0" u="none" strike="noStrike" kern="1200" cap="none" spc="0" normalizeH="0" baseline="0" noProof="0">
                <a:ln>
                  <a:noFill/>
                </a:ln>
                <a:solidFill>
                  <a:srgbClr val="000000"/>
                </a:solidFill>
                <a:effectLst/>
                <a:uLnTx/>
                <a:uFillTx/>
                <a:latin typeface="EYInterstate Light" pitchFamily="2" charset="0"/>
                <a:ea typeface="+mn-ea"/>
                <a:cs typeface="+mn-cs"/>
              </a:endParaRPr>
            </a:p>
          </p:txBody>
        </p:sp>
        <p:sp>
          <p:nvSpPr>
            <p:cNvPr id="50" name="Freeform 25">
              <a:extLst>
                <a:ext uri="{FF2B5EF4-FFF2-40B4-BE49-F238E27FC236}">
                  <a16:creationId xmlns:a16="http://schemas.microsoft.com/office/drawing/2014/main" id="{36E3469A-34E7-4D59-9E9F-C694949E7EE4}"/>
                </a:ext>
              </a:extLst>
            </p:cNvPr>
            <p:cNvSpPr>
              <a:spLocks noEditPoints="1"/>
            </p:cNvSpPr>
            <p:nvPr/>
          </p:nvSpPr>
          <p:spPr bwMode="auto">
            <a:xfrm>
              <a:off x="2366" y="1445"/>
              <a:ext cx="92" cy="218"/>
            </a:xfrm>
            <a:custGeom>
              <a:avLst/>
              <a:gdLst>
                <a:gd name="T0" fmla="*/ 46 w 92"/>
                <a:gd name="T1" fmla="*/ 218 h 218"/>
                <a:gd name="T2" fmla="*/ 46 w 92"/>
                <a:gd name="T3" fmla="*/ 218 h 218"/>
                <a:gd name="T4" fmla="*/ 36 w 92"/>
                <a:gd name="T5" fmla="*/ 216 h 218"/>
                <a:gd name="T6" fmla="*/ 28 w 92"/>
                <a:gd name="T7" fmla="*/ 214 h 218"/>
                <a:gd name="T8" fmla="*/ 20 w 92"/>
                <a:gd name="T9" fmla="*/ 210 h 218"/>
                <a:gd name="T10" fmla="*/ 14 w 92"/>
                <a:gd name="T11" fmla="*/ 204 h 218"/>
                <a:gd name="T12" fmla="*/ 8 w 92"/>
                <a:gd name="T13" fmla="*/ 196 h 218"/>
                <a:gd name="T14" fmla="*/ 4 w 92"/>
                <a:gd name="T15" fmla="*/ 190 h 218"/>
                <a:gd name="T16" fmla="*/ 2 w 92"/>
                <a:gd name="T17" fmla="*/ 180 h 218"/>
                <a:gd name="T18" fmla="*/ 0 w 92"/>
                <a:gd name="T19" fmla="*/ 172 h 218"/>
                <a:gd name="T20" fmla="*/ 0 w 92"/>
                <a:gd name="T21" fmla="*/ 0 h 218"/>
                <a:gd name="T22" fmla="*/ 92 w 92"/>
                <a:gd name="T23" fmla="*/ 0 h 218"/>
                <a:gd name="T24" fmla="*/ 92 w 92"/>
                <a:gd name="T25" fmla="*/ 172 h 218"/>
                <a:gd name="T26" fmla="*/ 92 w 92"/>
                <a:gd name="T27" fmla="*/ 172 h 218"/>
                <a:gd name="T28" fmla="*/ 90 w 92"/>
                <a:gd name="T29" fmla="*/ 180 h 218"/>
                <a:gd name="T30" fmla="*/ 88 w 92"/>
                <a:gd name="T31" fmla="*/ 190 h 218"/>
                <a:gd name="T32" fmla="*/ 84 w 92"/>
                <a:gd name="T33" fmla="*/ 196 h 218"/>
                <a:gd name="T34" fmla="*/ 78 w 92"/>
                <a:gd name="T35" fmla="*/ 204 h 218"/>
                <a:gd name="T36" fmla="*/ 72 w 92"/>
                <a:gd name="T37" fmla="*/ 210 h 218"/>
                <a:gd name="T38" fmla="*/ 64 w 92"/>
                <a:gd name="T39" fmla="*/ 214 h 218"/>
                <a:gd name="T40" fmla="*/ 56 w 92"/>
                <a:gd name="T41" fmla="*/ 216 h 218"/>
                <a:gd name="T42" fmla="*/ 46 w 92"/>
                <a:gd name="T43" fmla="*/ 218 h 218"/>
                <a:gd name="T44" fmla="*/ 46 w 92"/>
                <a:gd name="T45" fmla="*/ 218 h 218"/>
                <a:gd name="T46" fmla="*/ 18 w 92"/>
                <a:gd name="T47" fmla="*/ 18 h 218"/>
                <a:gd name="T48" fmla="*/ 18 w 92"/>
                <a:gd name="T49" fmla="*/ 172 h 218"/>
                <a:gd name="T50" fmla="*/ 18 w 92"/>
                <a:gd name="T51" fmla="*/ 172 h 218"/>
                <a:gd name="T52" fmla="*/ 20 w 92"/>
                <a:gd name="T53" fmla="*/ 182 h 218"/>
                <a:gd name="T54" fmla="*/ 26 w 92"/>
                <a:gd name="T55" fmla="*/ 192 h 218"/>
                <a:gd name="T56" fmla="*/ 36 w 92"/>
                <a:gd name="T57" fmla="*/ 196 h 218"/>
                <a:gd name="T58" fmla="*/ 46 w 92"/>
                <a:gd name="T59" fmla="*/ 200 h 218"/>
                <a:gd name="T60" fmla="*/ 46 w 92"/>
                <a:gd name="T61" fmla="*/ 200 h 218"/>
                <a:gd name="T62" fmla="*/ 56 w 92"/>
                <a:gd name="T63" fmla="*/ 196 h 218"/>
                <a:gd name="T64" fmla="*/ 66 w 92"/>
                <a:gd name="T65" fmla="*/ 192 h 218"/>
                <a:gd name="T66" fmla="*/ 72 w 92"/>
                <a:gd name="T67" fmla="*/ 182 h 218"/>
                <a:gd name="T68" fmla="*/ 74 w 92"/>
                <a:gd name="T69" fmla="*/ 172 h 218"/>
                <a:gd name="T70" fmla="*/ 74 w 92"/>
                <a:gd name="T71" fmla="*/ 18 h 218"/>
                <a:gd name="T72" fmla="*/ 18 w 92"/>
                <a:gd name="T73" fmla="*/ 18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2" h="218">
                  <a:moveTo>
                    <a:pt x="46" y="218"/>
                  </a:moveTo>
                  <a:lnTo>
                    <a:pt x="46" y="218"/>
                  </a:lnTo>
                  <a:lnTo>
                    <a:pt x="36" y="216"/>
                  </a:lnTo>
                  <a:lnTo>
                    <a:pt x="28" y="214"/>
                  </a:lnTo>
                  <a:lnTo>
                    <a:pt x="20" y="210"/>
                  </a:lnTo>
                  <a:lnTo>
                    <a:pt x="14" y="204"/>
                  </a:lnTo>
                  <a:lnTo>
                    <a:pt x="8" y="196"/>
                  </a:lnTo>
                  <a:lnTo>
                    <a:pt x="4" y="190"/>
                  </a:lnTo>
                  <a:lnTo>
                    <a:pt x="2" y="180"/>
                  </a:lnTo>
                  <a:lnTo>
                    <a:pt x="0" y="172"/>
                  </a:lnTo>
                  <a:lnTo>
                    <a:pt x="0" y="0"/>
                  </a:lnTo>
                  <a:lnTo>
                    <a:pt x="92" y="0"/>
                  </a:lnTo>
                  <a:lnTo>
                    <a:pt x="92" y="172"/>
                  </a:lnTo>
                  <a:lnTo>
                    <a:pt x="92" y="172"/>
                  </a:lnTo>
                  <a:lnTo>
                    <a:pt x="90" y="180"/>
                  </a:lnTo>
                  <a:lnTo>
                    <a:pt x="88" y="190"/>
                  </a:lnTo>
                  <a:lnTo>
                    <a:pt x="84" y="196"/>
                  </a:lnTo>
                  <a:lnTo>
                    <a:pt x="78" y="204"/>
                  </a:lnTo>
                  <a:lnTo>
                    <a:pt x="72" y="210"/>
                  </a:lnTo>
                  <a:lnTo>
                    <a:pt x="64" y="214"/>
                  </a:lnTo>
                  <a:lnTo>
                    <a:pt x="56" y="216"/>
                  </a:lnTo>
                  <a:lnTo>
                    <a:pt x="46" y="218"/>
                  </a:lnTo>
                  <a:lnTo>
                    <a:pt x="46" y="218"/>
                  </a:lnTo>
                  <a:close/>
                  <a:moveTo>
                    <a:pt x="18" y="18"/>
                  </a:moveTo>
                  <a:lnTo>
                    <a:pt x="18" y="172"/>
                  </a:lnTo>
                  <a:lnTo>
                    <a:pt x="18" y="172"/>
                  </a:lnTo>
                  <a:lnTo>
                    <a:pt x="20" y="182"/>
                  </a:lnTo>
                  <a:lnTo>
                    <a:pt x="26" y="192"/>
                  </a:lnTo>
                  <a:lnTo>
                    <a:pt x="36" y="196"/>
                  </a:lnTo>
                  <a:lnTo>
                    <a:pt x="46" y="200"/>
                  </a:lnTo>
                  <a:lnTo>
                    <a:pt x="46" y="200"/>
                  </a:lnTo>
                  <a:lnTo>
                    <a:pt x="56" y="196"/>
                  </a:lnTo>
                  <a:lnTo>
                    <a:pt x="66" y="192"/>
                  </a:lnTo>
                  <a:lnTo>
                    <a:pt x="72" y="182"/>
                  </a:lnTo>
                  <a:lnTo>
                    <a:pt x="74" y="172"/>
                  </a:lnTo>
                  <a:lnTo>
                    <a:pt x="74" y="18"/>
                  </a:lnTo>
                  <a:lnTo>
                    <a:pt x="18"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50000"/>
                </a:spcAft>
                <a:buClr>
                  <a:srgbClr val="FFE600"/>
                </a:buClr>
                <a:buSzPct val="80000"/>
                <a:buFont typeface="Arial" charset="0"/>
                <a:buNone/>
                <a:tabLst/>
                <a:defRPr/>
              </a:pPr>
              <a:endParaRPr kumimoji="0" lang="en-US" sz="900" b="0" i="0" u="none" strike="noStrike" kern="1200" cap="none" spc="0" normalizeH="0" baseline="0" noProof="0">
                <a:ln>
                  <a:noFill/>
                </a:ln>
                <a:solidFill>
                  <a:srgbClr val="000000"/>
                </a:solidFill>
                <a:effectLst/>
                <a:uLnTx/>
                <a:uFillTx/>
                <a:latin typeface="EYInterstate Light" pitchFamily="2" charset="0"/>
                <a:ea typeface="+mn-ea"/>
                <a:cs typeface="+mn-cs"/>
              </a:endParaRPr>
            </a:p>
          </p:txBody>
        </p:sp>
        <p:sp>
          <p:nvSpPr>
            <p:cNvPr id="51" name="Rectangle 26">
              <a:extLst>
                <a:ext uri="{FF2B5EF4-FFF2-40B4-BE49-F238E27FC236}">
                  <a16:creationId xmlns:a16="http://schemas.microsoft.com/office/drawing/2014/main" id="{2DF5A7EB-3C21-4109-A903-FDA2E732A1EF}"/>
                </a:ext>
              </a:extLst>
            </p:cNvPr>
            <p:cNvSpPr>
              <a:spLocks noChangeArrowheads="1"/>
            </p:cNvSpPr>
            <p:nvPr/>
          </p:nvSpPr>
          <p:spPr bwMode="auto">
            <a:xfrm>
              <a:off x="2402" y="1495"/>
              <a:ext cx="18" cy="2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50000"/>
                </a:spcAft>
                <a:buClr>
                  <a:srgbClr val="FFE600"/>
                </a:buClr>
                <a:buSzPct val="80000"/>
                <a:buFont typeface="Arial" charset="0"/>
                <a:buNone/>
                <a:tabLst/>
                <a:defRPr/>
              </a:pPr>
              <a:endParaRPr kumimoji="0" lang="en-US" sz="900" b="0" i="0" u="none" strike="noStrike" kern="1200" cap="none" spc="0" normalizeH="0" baseline="0" noProof="0">
                <a:ln>
                  <a:noFill/>
                </a:ln>
                <a:solidFill>
                  <a:srgbClr val="000000"/>
                </a:solidFill>
                <a:effectLst/>
                <a:uLnTx/>
                <a:uFillTx/>
                <a:latin typeface="EYInterstate Light" pitchFamily="2" charset="0"/>
                <a:ea typeface="+mn-ea"/>
                <a:cs typeface="+mn-cs"/>
              </a:endParaRPr>
            </a:p>
          </p:txBody>
        </p:sp>
        <p:sp>
          <p:nvSpPr>
            <p:cNvPr id="52" name="Rectangle 27">
              <a:extLst>
                <a:ext uri="{FF2B5EF4-FFF2-40B4-BE49-F238E27FC236}">
                  <a16:creationId xmlns:a16="http://schemas.microsoft.com/office/drawing/2014/main" id="{8B7A8230-9FCD-4123-A719-ECB1E7354B4D}"/>
                </a:ext>
              </a:extLst>
            </p:cNvPr>
            <p:cNvSpPr>
              <a:spLocks noChangeArrowheads="1"/>
            </p:cNvSpPr>
            <p:nvPr/>
          </p:nvSpPr>
          <p:spPr bwMode="auto">
            <a:xfrm>
              <a:off x="2402" y="1529"/>
              <a:ext cx="18" cy="2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50000"/>
                </a:spcAft>
                <a:buClr>
                  <a:srgbClr val="FFE600"/>
                </a:buClr>
                <a:buSzPct val="80000"/>
                <a:buFont typeface="Arial" charset="0"/>
                <a:buNone/>
                <a:tabLst/>
                <a:defRPr/>
              </a:pPr>
              <a:endParaRPr kumimoji="0" lang="en-US" sz="900" b="0" i="0" u="none" strike="noStrike" kern="1200" cap="none" spc="0" normalizeH="0" baseline="0" noProof="0">
                <a:ln>
                  <a:noFill/>
                </a:ln>
                <a:solidFill>
                  <a:srgbClr val="000000"/>
                </a:solidFill>
                <a:effectLst/>
                <a:uLnTx/>
                <a:uFillTx/>
                <a:latin typeface="EYInterstate Light" pitchFamily="2" charset="0"/>
                <a:ea typeface="+mn-ea"/>
                <a:cs typeface="+mn-cs"/>
              </a:endParaRPr>
            </a:p>
          </p:txBody>
        </p:sp>
        <p:sp>
          <p:nvSpPr>
            <p:cNvPr id="53" name="Rectangle 28">
              <a:extLst>
                <a:ext uri="{FF2B5EF4-FFF2-40B4-BE49-F238E27FC236}">
                  <a16:creationId xmlns:a16="http://schemas.microsoft.com/office/drawing/2014/main" id="{636BAFB1-93C8-4395-A5C3-F08968B1CD34}"/>
                </a:ext>
              </a:extLst>
            </p:cNvPr>
            <p:cNvSpPr>
              <a:spLocks noChangeArrowheads="1"/>
            </p:cNvSpPr>
            <p:nvPr/>
          </p:nvSpPr>
          <p:spPr bwMode="auto">
            <a:xfrm>
              <a:off x="2402" y="1563"/>
              <a:ext cx="18" cy="2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50000"/>
                </a:spcAft>
                <a:buClr>
                  <a:srgbClr val="FFE600"/>
                </a:buClr>
                <a:buSzPct val="80000"/>
                <a:buFont typeface="Arial" charset="0"/>
                <a:buNone/>
                <a:tabLst/>
                <a:defRPr/>
              </a:pPr>
              <a:endParaRPr kumimoji="0" lang="en-US" sz="900" b="0" i="0" u="none" strike="noStrike" kern="1200" cap="none" spc="0" normalizeH="0" baseline="0" noProof="0">
                <a:ln>
                  <a:noFill/>
                </a:ln>
                <a:solidFill>
                  <a:srgbClr val="000000"/>
                </a:solidFill>
                <a:effectLst/>
                <a:uLnTx/>
                <a:uFillTx/>
                <a:latin typeface="EYInterstate Light" pitchFamily="2" charset="0"/>
                <a:ea typeface="+mn-ea"/>
                <a:cs typeface="+mn-cs"/>
              </a:endParaRPr>
            </a:p>
          </p:txBody>
        </p:sp>
        <p:sp>
          <p:nvSpPr>
            <p:cNvPr id="54" name="Freeform 29">
              <a:extLst>
                <a:ext uri="{FF2B5EF4-FFF2-40B4-BE49-F238E27FC236}">
                  <a16:creationId xmlns:a16="http://schemas.microsoft.com/office/drawing/2014/main" id="{8B41D92D-AA2D-46E6-B52D-870BECA78C62}"/>
                </a:ext>
              </a:extLst>
            </p:cNvPr>
            <p:cNvSpPr>
              <a:spLocks noEditPoints="1"/>
            </p:cNvSpPr>
            <p:nvPr/>
          </p:nvSpPr>
          <p:spPr bwMode="auto">
            <a:xfrm>
              <a:off x="1842" y="891"/>
              <a:ext cx="774" cy="88"/>
            </a:xfrm>
            <a:custGeom>
              <a:avLst/>
              <a:gdLst>
                <a:gd name="T0" fmla="*/ 774 w 774"/>
                <a:gd name="T1" fmla="*/ 88 h 88"/>
                <a:gd name="T2" fmla="*/ 0 w 774"/>
                <a:gd name="T3" fmla="*/ 88 h 88"/>
                <a:gd name="T4" fmla="*/ 0 w 774"/>
                <a:gd name="T5" fmla="*/ 0 h 88"/>
                <a:gd name="T6" fmla="*/ 774 w 774"/>
                <a:gd name="T7" fmla="*/ 0 h 88"/>
                <a:gd name="T8" fmla="*/ 774 w 774"/>
                <a:gd name="T9" fmla="*/ 88 h 88"/>
                <a:gd name="T10" fmla="*/ 18 w 774"/>
                <a:gd name="T11" fmla="*/ 70 h 88"/>
                <a:gd name="T12" fmla="*/ 756 w 774"/>
                <a:gd name="T13" fmla="*/ 70 h 88"/>
                <a:gd name="T14" fmla="*/ 756 w 774"/>
                <a:gd name="T15" fmla="*/ 18 h 88"/>
                <a:gd name="T16" fmla="*/ 18 w 774"/>
                <a:gd name="T17" fmla="*/ 18 h 88"/>
                <a:gd name="T18" fmla="*/ 18 w 774"/>
                <a:gd name="T19" fmla="*/ 7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4" h="88">
                  <a:moveTo>
                    <a:pt x="774" y="88"/>
                  </a:moveTo>
                  <a:lnTo>
                    <a:pt x="0" y="88"/>
                  </a:lnTo>
                  <a:lnTo>
                    <a:pt x="0" y="0"/>
                  </a:lnTo>
                  <a:lnTo>
                    <a:pt x="774" y="0"/>
                  </a:lnTo>
                  <a:lnTo>
                    <a:pt x="774" y="88"/>
                  </a:lnTo>
                  <a:close/>
                  <a:moveTo>
                    <a:pt x="18" y="70"/>
                  </a:moveTo>
                  <a:lnTo>
                    <a:pt x="756" y="70"/>
                  </a:lnTo>
                  <a:lnTo>
                    <a:pt x="756" y="18"/>
                  </a:lnTo>
                  <a:lnTo>
                    <a:pt x="18" y="18"/>
                  </a:lnTo>
                  <a:lnTo>
                    <a:pt x="18"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50000"/>
                </a:spcAft>
                <a:buClr>
                  <a:srgbClr val="FFE600"/>
                </a:buClr>
                <a:buSzPct val="80000"/>
                <a:buFont typeface="Arial" charset="0"/>
                <a:buNone/>
                <a:tabLst/>
                <a:defRPr/>
              </a:pPr>
              <a:endParaRPr kumimoji="0" lang="en-US" sz="900" b="0" i="0" u="none" strike="noStrike" kern="1200" cap="none" spc="0" normalizeH="0" baseline="0" noProof="0">
                <a:ln>
                  <a:noFill/>
                </a:ln>
                <a:solidFill>
                  <a:srgbClr val="000000"/>
                </a:solidFill>
                <a:effectLst/>
                <a:uLnTx/>
                <a:uFillTx/>
                <a:latin typeface="EYInterstate Light" pitchFamily="2" charset="0"/>
                <a:ea typeface="+mn-ea"/>
                <a:cs typeface="+mn-cs"/>
              </a:endParaRPr>
            </a:p>
          </p:txBody>
        </p:sp>
        <p:sp>
          <p:nvSpPr>
            <p:cNvPr id="55" name="Rectangle 30">
              <a:extLst>
                <a:ext uri="{FF2B5EF4-FFF2-40B4-BE49-F238E27FC236}">
                  <a16:creationId xmlns:a16="http://schemas.microsoft.com/office/drawing/2014/main" id="{DCD5AD0F-D014-40D4-A102-82FACC6CD2C6}"/>
                </a:ext>
              </a:extLst>
            </p:cNvPr>
            <p:cNvSpPr>
              <a:spLocks noChangeArrowheads="1"/>
            </p:cNvSpPr>
            <p:nvPr/>
          </p:nvSpPr>
          <p:spPr bwMode="auto">
            <a:xfrm>
              <a:off x="1898" y="927"/>
              <a:ext cx="24"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50000"/>
                </a:spcAft>
                <a:buClr>
                  <a:srgbClr val="FFE600"/>
                </a:buClr>
                <a:buSzPct val="80000"/>
                <a:buFont typeface="Arial" charset="0"/>
                <a:buNone/>
                <a:tabLst/>
                <a:defRPr/>
              </a:pPr>
              <a:endParaRPr kumimoji="0" lang="en-US" sz="900" b="0" i="0" u="none" strike="noStrike" kern="1200" cap="none" spc="0" normalizeH="0" baseline="0" noProof="0">
                <a:ln>
                  <a:noFill/>
                </a:ln>
                <a:solidFill>
                  <a:srgbClr val="000000"/>
                </a:solidFill>
                <a:effectLst/>
                <a:uLnTx/>
                <a:uFillTx/>
                <a:latin typeface="EYInterstate Light" pitchFamily="2" charset="0"/>
                <a:ea typeface="+mn-ea"/>
                <a:cs typeface="+mn-cs"/>
              </a:endParaRPr>
            </a:p>
          </p:txBody>
        </p:sp>
        <p:sp>
          <p:nvSpPr>
            <p:cNvPr id="56" name="Rectangle 31">
              <a:extLst>
                <a:ext uri="{FF2B5EF4-FFF2-40B4-BE49-F238E27FC236}">
                  <a16:creationId xmlns:a16="http://schemas.microsoft.com/office/drawing/2014/main" id="{5C851D13-2655-4FAD-9FB0-0BA301EA8B0C}"/>
                </a:ext>
              </a:extLst>
            </p:cNvPr>
            <p:cNvSpPr>
              <a:spLocks noChangeArrowheads="1"/>
            </p:cNvSpPr>
            <p:nvPr/>
          </p:nvSpPr>
          <p:spPr bwMode="auto">
            <a:xfrm>
              <a:off x="1942" y="927"/>
              <a:ext cx="24"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50000"/>
                </a:spcAft>
                <a:buClr>
                  <a:srgbClr val="FFE600"/>
                </a:buClr>
                <a:buSzPct val="80000"/>
                <a:buFont typeface="Arial" charset="0"/>
                <a:buNone/>
                <a:tabLst/>
                <a:defRPr/>
              </a:pPr>
              <a:endParaRPr kumimoji="0" lang="en-US" sz="900" b="0" i="0" u="none" strike="noStrike" kern="1200" cap="none" spc="0" normalizeH="0" baseline="0" noProof="0">
                <a:ln>
                  <a:noFill/>
                </a:ln>
                <a:solidFill>
                  <a:srgbClr val="000000"/>
                </a:solidFill>
                <a:effectLst/>
                <a:uLnTx/>
                <a:uFillTx/>
                <a:latin typeface="EYInterstate Light" pitchFamily="2" charset="0"/>
                <a:ea typeface="+mn-ea"/>
                <a:cs typeface="+mn-cs"/>
              </a:endParaRPr>
            </a:p>
          </p:txBody>
        </p:sp>
        <p:sp>
          <p:nvSpPr>
            <p:cNvPr id="57" name="Rectangle 32">
              <a:extLst>
                <a:ext uri="{FF2B5EF4-FFF2-40B4-BE49-F238E27FC236}">
                  <a16:creationId xmlns:a16="http://schemas.microsoft.com/office/drawing/2014/main" id="{811196F6-C07E-48F5-88CF-8C61C8F48D4C}"/>
                </a:ext>
              </a:extLst>
            </p:cNvPr>
            <p:cNvSpPr>
              <a:spLocks noChangeArrowheads="1"/>
            </p:cNvSpPr>
            <p:nvPr/>
          </p:nvSpPr>
          <p:spPr bwMode="auto">
            <a:xfrm>
              <a:off x="1984" y="927"/>
              <a:ext cx="24"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50000"/>
                </a:spcAft>
                <a:buClr>
                  <a:srgbClr val="FFE600"/>
                </a:buClr>
                <a:buSzPct val="80000"/>
                <a:buFont typeface="Arial" charset="0"/>
                <a:buNone/>
                <a:tabLst/>
                <a:defRPr/>
              </a:pPr>
              <a:endParaRPr kumimoji="0" lang="en-US" sz="900" b="0" i="0" u="none" strike="noStrike" kern="1200" cap="none" spc="0" normalizeH="0" baseline="0" noProof="0">
                <a:ln>
                  <a:noFill/>
                </a:ln>
                <a:solidFill>
                  <a:srgbClr val="000000"/>
                </a:solidFill>
                <a:effectLst/>
                <a:uLnTx/>
                <a:uFillTx/>
                <a:latin typeface="EYInterstate Light" pitchFamily="2" charset="0"/>
                <a:ea typeface="+mn-ea"/>
                <a:cs typeface="+mn-cs"/>
              </a:endParaRPr>
            </a:p>
          </p:txBody>
        </p:sp>
        <p:sp>
          <p:nvSpPr>
            <p:cNvPr id="58" name="Rectangle 33">
              <a:extLst>
                <a:ext uri="{FF2B5EF4-FFF2-40B4-BE49-F238E27FC236}">
                  <a16:creationId xmlns:a16="http://schemas.microsoft.com/office/drawing/2014/main" id="{8EE7F9BD-2BB5-4F43-B6C2-D7B67D929165}"/>
                </a:ext>
              </a:extLst>
            </p:cNvPr>
            <p:cNvSpPr>
              <a:spLocks noChangeArrowheads="1"/>
            </p:cNvSpPr>
            <p:nvPr/>
          </p:nvSpPr>
          <p:spPr bwMode="auto">
            <a:xfrm>
              <a:off x="1902" y="1275"/>
              <a:ext cx="18" cy="12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50000"/>
                </a:spcAft>
                <a:buClr>
                  <a:srgbClr val="FFE600"/>
                </a:buClr>
                <a:buSzPct val="80000"/>
                <a:buFont typeface="Arial" charset="0"/>
                <a:buNone/>
                <a:tabLst/>
                <a:defRPr/>
              </a:pPr>
              <a:endParaRPr kumimoji="0" lang="en-US" sz="900" b="0" i="0" u="none" strike="noStrike" kern="1200" cap="none" spc="0" normalizeH="0" baseline="0" noProof="0">
                <a:ln>
                  <a:noFill/>
                </a:ln>
                <a:solidFill>
                  <a:srgbClr val="000000"/>
                </a:solidFill>
                <a:effectLst/>
                <a:uLnTx/>
                <a:uFillTx/>
                <a:latin typeface="EYInterstate Light" pitchFamily="2" charset="0"/>
                <a:ea typeface="+mn-ea"/>
                <a:cs typeface="+mn-cs"/>
              </a:endParaRPr>
            </a:p>
          </p:txBody>
        </p:sp>
        <p:sp>
          <p:nvSpPr>
            <p:cNvPr id="59" name="Rectangle 34">
              <a:extLst>
                <a:ext uri="{FF2B5EF4-FFF2-40B4-BE49-F238E27FC236}">
                  <a16:creationId xmlns:a16="http://schemas.microsoft.com/office/drawing/2014/main" id="{C7D62B45-0C7D-4A24-B610-BF7CA4D791F8}"/>
                </a:ext>
              </a:extLst>
            </p:cNvPr>
            <p:cNvSpPr>
              <a:spLocks noChangeArrowheads="1"/>
            </p:cNvSpPr>
            <p:nvPr/>
          </p:nvSpPr>
          <p:spPr bwMode="auto">
            <a:xfrm>
              <a:off x="2000" y="1199"/>
              <a:ext cx="18" cy="2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50000"/>
                </a:spcAft>
                <a:buClr>
                  <a:srgbClr val="FFE600"/>
                </a:buClr>
                <a:buSzPct val="80000"/>
                <a:buFont typeface="Arial" charset="0"/>
                <a:buNone/>
                <a:tabLst/>
                <a:defRPr/>
              </a:pPr>
              <a:endParaRPr kumimoji="0" lang="en-US" sz="900" b="0" i="0" u="none" strike="noStrike" kern="1200" cap="none" spc="0" normalizeH="0" baseline="0" noProof="0">
                <a:ln>
                  <a:noFill/>
                </a:ln>
                <a:solidFill>
                  <a:srgbClr val="000000"/>
                </a:solidFill>
                <a:effectLst/>
                <a:uLnTx/>
                <a:uFillTx/>
                <a:latin typeface="EYInterstate Light" pitchFamily="2" charset="0"/>
                <a:ea typeface="+mn-ea"/>
                <a:cs typeface="+mn-cs"/>
              </a:endParaRPr>
            </a:p>
          </p:txBody>
        </p:sp>
        <p:sp>
          <p:nvSpPr>
            <p:cNvPr id="60" name="Rectangle 35">
              <a:extLst>
                <a:ext uri="{FF2B5EF4-FFF2-40B4-BE49-F238E27FC236}">
                  <a16:creationId xmlns:a16="http://schemas.microsoft.com/office/drawing/2014/main" id="{7B93C866-E1E0-40F2-B152-627A2F5E966F}"/>
                </a:ext>
              </a:extLst>
            </p:cNvPr>
            <p:cNvSpPr>
              <a:spLocks noChangeArrowheads="1"/>
            </p:cNvSpPr>
            <p:nvPr/>
          </p:nvSpPr>
          <p:spPr bwMode="auto">
            <a:xfrm>
              <a:off x="1950" y="1233"/>
              <a:ext cx="18" cy="16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50000"/>
                </a:spcAft>
                <a:buClr>
                  <a:srgbClr val="FFE600"/>
                </a:buClr>
                <a:buSzPct val="80000"/>
                <a:buFont typeface="Arial" charset="0"/>
                <a:buNone/>
                <a:tabLst/>
                <a:defRPr/>
              </a:pPr>
              <a:endParaRPr kumimoji="0" lang="en-US" sz="900" b="0" i="0" u="none" strike="noStrike" kern="1200" cap="none" spc="0" normalizeH="0" baseline="0" noProof="0">
                <a:ln>
                  <a:noFill/>
                </a:ln>
                <a:solidFill>
                  <a:srgbClr val="000000"/>
                </a:solidFill>
                <a:effectLst/>
                <a:uLnTx/>
                <a:uFillTx/>
                <a:latin typeface="EYInterstate Light" pitchFamily="2" charset="0"/>
                <a:ea typeface="+mn-ea"/>
                <a:cs typeface="+mn-cs"/>
              </a:endParaRPr>
            </a:p>
          </p:txBody>
        </p:sp>
        <p:sp>
          <p:nvSpPr>
            <p:cNvPr id="61" name="Rectangle 36">
              <a:extLst>
                <a:ext uri="{FF2B5EF4-FFF2-40B4-BE49-F238E27FC236}">
                  <a16:creationId xmlns:a16="http://schemas.microsoft.com/office/drawing/2014/main" id="{34283971-2DCA-4BC2-BDF8-A410A5B32218}"/>
                </a:ext>
              </a:extLst>
            </p:cNvPr>
            <p:cNvSpPr>
              <a:spLocks noChangeArrowheads="1"/>
            </p:cNvSpPr>
            <p:nvPr/>
          </p:nvSpPr>
          <p:spPr bwMode="auto">
            <a:xfrm>
              <a:off x="2048" y="1233"/>
              <a:ext cx="18" cy="16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50000"/>
                </a:spcAft>
                <a:buClr>
                  <a:srgbClr val="FFE600"/>
                </a:buClr>
                <a:buSzPct val="80000"/>
                <a:buFont typeface="Arial" charset="0"/>
                <a:buNone/>
                <a:tabLst/>
                <a:defRPr/>
              </a:pPr>
              <a:endParaRPr kumimoji="0" lang="en-US" sz="900" b="0" i="0" u="none" strike="noStrike" kern="1200" cap="none" spc="0" normalizeH="0" baseline="0" noProof="0">
                <a:ln>
                  <a:noFill/>
                </a:ln>
                <a:solidFill>
                  <a:srgbClr val="000000"/>
                </a:solidFill>
                <a:effectLst/>
                <a:uLnTx/>
                <a:uFillTx/>
                <a:latin typeface="EYInterstate Light" pitchFamily="2" charset="0"/>
                <a:ea typeface="+mn-ea"/>
                <a:cs typeface="+mn-cs"/>
              </a:endParaRPr>
            </a:p>
          </p:txBody>
        </p:sp>
        <p:sp>
          <p:nvSpPr>
            <p:cNvPr id="62" name="Rectangle 37">
              <a:extLst>
                <a:ext uri="{FF2B5EF4-FFF2-40B4-BE49-F238E27FC236}">
                  <a16:creationId xmlns:a16="http://schemas.microsoft.com/office/drawing/2014/main" id="{F4D6345A-660E-49E2-99CF-5B9F27F2DC56}"/>
                </a:ext>
              </a:extLst>
            </p:cNvPr>
            <p:cNvSpPr>
              <a:spLocks noChangeArrowheads="1"/>
            </p:cNvSpPr>
            <p:nvPr/>
          </p:nvSpPr>
          <p:spPr bwMode="auto">
            <a:xfrm>
              <a:off x="2098" y="1323"/>
              <a:ext cx="18" cy="7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50000"/>
                </a:spcAft>
                <a:buClr>
                  <a:srgbClr val="FFE600"/>
                </a:buClr>
                <a:buSzPct val="80000"/>
                <a:buFont typeface="Arial" charset="0"/>
                <a:buNone/>
                <a:tabLst/>
                <a:defRPr/>
              </a:pPr>
              <a:endParaRPr kumimoji="0" lang="en-US" sz="900" b="0" i="0" u="none" strike="noStrike" kern="1200" cap="none" spc="0" normalizeH="0" baseline="0" noProof="0">
                <a:ln>
                  <a:noFill/>
                </a:ln>
                <a:solidFill>
                  <a:srgbClr val="000000"/>
                </a:solidFill>
                <a:effectLst/>
                <a:uLnTx/>
                <a:uFillTx/>
                <a:latin typeface="EYInterstate Light" pitchFamily="2" charset="0"/>
                <a:ea typeface="+mn-ea"/>
                <a:cs typeface="+mn-cs"/>
              </a:endParaRPr>
            </a:p>
          </p:txBody>
        </p:sp>
        <p:sp>
          <p:nvSpPr>
            <p:cNvPr id="63" name="Rectangle 38">
              <a:extLst>
                <a:ext uri="{FF2B5EF4-FFF2-40B4-BE49-F238E27FC236}">
                  <a16:creationId xmlns:a16="http://schemas.microsoft.com/office/drawing/2014/main" id="{5C63F502-3453-42C2-AE63-66EC0D1EB3E9}"/>
                </a:ext>
              </a:extLst>
            </p:cNvPr>
            <p:cNvSpPr>
              <a:spLocks noChangeArrowheads="1"/>
            </p:cNvSpPr>
            <p:nvPr/>
          </p:nvSpPr>
          <p:spPr bwMode="auto">
            <a:xfrm>
              <a:off x="2148" y="1233"/>
              <a:ext cx="18" cy="16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50000"/>
                </a:spcAft>
                <a:buClr>
                  <a:srgbClr val="FFE600"/>
                </a:buClr>
                <a:buSzPct val="80000"/>
                <a:buFont typeface="Arial" charset="0"/>
                <a:buNone/>
                <a:tabLst/>
                <a:defRPr/>
              </a:pPr>
              <a:endParaRPr kumimoji="0" lang="en-US" sz="900" b="0" i="0" u="none" strike="noStrike" kern="1200" cap="none" spc="0" normalizeH="0" baseline="0" noProof="0">
                <a:ln>
                  <a:noFill/>
                </a:ln>
                <a:solidFill>
                  <a:srgbClr val="000000"/>
                </a:solidFill>
                <a:effectLst/>
                <a:uLnTx/>
                <a:uFillTx/>
                <a:latin typeface="EYInterstate Light" pitchFamily="2" charset="0"/>
                <a:ea typeface="+mn-ea"/>
                <a:cs typeface="+mn-cs"/>
              </a:endParaRPr>
            </a:p>
          </p:txBody>
        </p:sp>
        <p:sp>
          <p:nvSpPr>
            <p:cNvPr id="64" name="Rectangle 39">
              <a:extLst>
                <a:ext uri="{FF2B5EF4-FFF2-40B4-BE49-F238E27FC236}">
                  <a16:creationId xmlns:a16="http://schemas.microsoft.com/office/drawing/2014/main" id="{24FABD58-3816-46CB-8891-7AD4D5699088}"/>
                </a:ext>
              </a:extLst>
            </p:cNvPr>
            <p:cNvSpPr>
              <a:spLocks noChangeArrowheads="1"/>
            </p:cNvSpPr>
            <p:nvPr/>
          </p:nvSpPr>
          <p:spPr bwMode="auto">
            <a:xfrm>
              <a:off x="2196" y="1303"/>
              <a:ext cx="18" cy="9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50000"/>
                </a:spcAft>
                <a:buClr>
                  <a:srgbClr val="FFE600"/>
                </a:buClr>
                <a:buSzPct val="80000"/>
                <a:buFont typeface="Arial" charset="0"/>
                <a:buNone/>
                <a:tabLst/>
                <a:defRPr/>
              </a:pPr>
              <a:endParaRPr kumimoji="0" lang="en-US" sz="900" b="0" i="0" u="none" strike="noStrike" kern="1200" cap="none" spc="0" normalizeH="0" baseline="0" noProof="0">
                <a:ln>
                  <a:noFill/>
                </a:ln>
                <a:solidFill>
                  <a:srgbClr val="000000"/>
                </a:solidFill>
                <a:effectLst/>
                <a:uLnTx/>
                <a:uFillTx/>
                <a:latin typeface="EYInterstate Light" pitchFamily="2" charset="0"/>
                <a:ea typeface="+mn-ea"/>
                <a:cs typeface="+mn-cs"/>
              </a:endParaRPr>
            </a:p>
          </p:txBody>
        </p:sp>
        <p:sp>
          <p:nvSpPr>
            <p:cNvPr id="65" name="Freeform 40">
              <a:extLst>
                <a:ext uri="{FF2B5EF4-FFF2-40B4-BE49-F238E27FC236}">
                  <a16:creationId xmlns:a16="http://schemas.microsoft.com/office/drawing/2014/main" id="{AFC6F81F-68F3-491A-A024-24BCE1C60CBA}"/>
                </a:ext>
              </a:extLst>
            </p:cNvPr>
            <p:cNvSpPr>
              <a:spLocks noEditPoints="1"/>
            </p:cNvSpPr>
            <p:nvPr/>
          </p:nvSpPr>
          <p:spPr bwMode="auto">
            <a:xfrm>
              <a:off x="1938" y="1057"/>
              <a:ext cx="528" cy="72"/>
            </a:xfrm>
            <a:custGeom>
              <a:avLst/>
              <a:gdLst>
                <a:gd name="T0" fmla="*/ 528 w 528"/>
                <a:gd name="T1" fmla="*/ 72 h 72"/>
                <a:gd name="T2" fmla="*/ 0 w 528"/>
                <a:gd name="T3" fmla="*/ 72 h 72"/>
                <a:gd name="T4" fmla="*/ 0 w 528"/>
                <a:gd name="T5" fmla="*/ 0 h 72"/>
                <a:gd name="T6" fmla="*/ 528 w 528"/>
                <a:gd name="T7" fmla="*/ 0 h 72"/>
                <a:gd name="T8" fmla="*/ 528 w 528"/>
                <a:gd name="T9" fmla="*/ 72 h 72"/>
                <a:gd name="T10" fmla="*/ 18 w 528"/>
                <a:gd name="T11" fmla="*/ 54 h 72"/>
                <a:gd name="T12" fmla="*/ 510 w 528"/>
                <a:gd name="T13" fmla="*/ 54 h 72"/>
                <a:gd name="T14" fmla="*/ 510 w 528"/>
                <a:gd name="T15" fmla="*/ 18 h 72"/>
                <a:gd name="T16" fmla="*/ 18 w 528"/>
                <a:gd name="T17" fmla="*/ 18 h 72"/>
                <a:gd name="T18" fmla="*/ 18 w 528"/>
                <a:gd name="T19" fmla="*/ 5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28" h="72">
                  <a:moveTo>
                    <a:pt x="528" y="72"/>
                  </a:moveTo>
                  <a:lnTo>
                    <a:pt x="0" y="72"/>
                  </a:lnTo>
                  <a:lnTo>
                    <a:pt x="0" y="0"/>
                  </a:lnTo>
                  <a:lnTo>
                    <a:pt x="528" y="0"/>
                  </a:lnTo>
                  <a:lnTo>
                    <a:pt x="528" y="72"/>
                  </a:lnTo>
                  <a:close/>
                  <a:moveTo>
                    <a:pt x="18" y="54"/>
                  </a:moveTo>
                  <a:lnTo>
                    <a:pt x="510" y="54"/>
                  </a:lnTo>
                  <a:lnTo>
                    <a:pt x="510" y="18"/>
                  </a:lnTo>
                  <a:lnTo>
                    <a:pt x="18" y="18"/>
                  </a:lnTo>
                  <a:lnTo>
                    <a:pt x="18" y="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50000"/>
                </a:spcAft>
                <a:buClr>
                  <a:srgbClr val="FFE600"/>
                </a:buClr>
                <a:buSzPct val="80000"/>
                <a:buFont typeface="Arial" charset="0"/>
                <a:buNone/>
                <a:tabLst/>
                <a:defRPr/>
              </a:pPr>
              <a:endParaRPr kumimoji="0" lang="en-US" sz="900" b="0" i="0" u="none" strike="noStrike" kern="1200" cap="none" spc="0" normalizeH="0" baseline="0" noProof="0">
                <a:ln>
                  <a:noFill/>
                </a:ln>
                <a:solidFill>
                  <a:srgbClr val="000000"/>
                </a:solidFill>
                <a:effectLst/>
                <a:uLnTx/>
                <a:uFillTx/>
                <a:latin typeface="EYInterstate Light" pitchFamily="2" charset="0"/>
                <a:ea typeface="+mn-ea"/>
                <a:cs typeface="+mn-cs"/>
              </a:endParaRPr>
            </a:p>
          </p:txBody>
        </p:sp>
        <p:sp>
          <p:nvSpPr>
            <p:cNvPr id="66" name="Freeform 41">
              <a:extLst>
                <a:ext uri="{FF2B5EF4-FFF2-40B4-BE49-F238E27FC236}">
                  <a16:creationId xmlns:a16="http://schemas.microsoft.com/office/drawing/2014/main" id="{FBCA78C3-5EB8-481D-BE7B-9722824F4492}"/>
                </a:ext>
              </a:extLst>
            </p:cNvPr>
            <p:cNvSpPr>
              <a:spLocks noEditPoints="1"/>
            </p:cNvSpPr>
            <p:nvPr/>
          </p:nvSpPr>
          <p:spPr bwMode="auto">
            <a:xfrm>
              <a:off x="2448" y="1057"/>
              <a:ext cx="74" cy="72"/>
            </a:xfrm>
            <a:custGeom>
              <a:avLst/>
              <a:gdLst>
                <a:gd name="T0" fmla="*/ 74 w 74"/>
                <a:gd name="T1" fmla="*/ 72 h 72"/>
                <a:gd name="T2" fmla="*/ 0 w 74"/>
                <a:gd name="T3" fmla="*/ 72 h 72"/>
                <a:gd name="T4" fmla="*/ 0 w 74"/>
                <a:gd name="T5" fmla="*/ 0 h 72"/>
                <a:gd name="T6" fmla="*/ 74 w 74"/>
                <a:gd name="T7" fmla="*/ 0 h 72"/>
                <a:gd name="T8" fmla="*/ 74 w 74"/>
                <a:gd name="T9" fmla="*/ 72 h 72"/>
                <a:gd name="T10" fmla="*/ 18 w 74"/>
                <a:gd name="T11" fmla="*/ 54 h 72"/>
                <a:gd name="T12" fmla="*/ 56 w 74"/>
                <a:gd name="T13" fmla="*/ 54 h 72"/>
                <a:gd name="T14" fmla="*/ 56 w 74"/>
                <a:gd name="T15" fmla="*/ 18 h 72"/>
                <a:gd name="T16" fmla="*/ 18 w 74"/>
                <a:gd name="T17" fmla="*/ 18 h 72"/>
                <a:gd name="T18" fmla="*/ 18 w 74"/>
                <a:gd name="T19" fmla="*/ 5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4" h="72">
                  <a:moveTo>
                    <a:pt x="74" y="72"/>
                  </a:moveTo>
                  <a:lnTo>
                    <a:pt x="0" y="72"/>
                  </a:lnTo>
                  <a:lnTo>
                    <a:pt x="0" y="0"/>
                  </a:lnTo>
                  <a:lnTo>
                    <a:pt x="74" y="0"/>
                  </a:lnTo>
                  <a:lnTo>
                    <a:pt x="74" y="72"/>
                  </a:lnTo>
                  <a:close/>
                  <a:moveTo>
                    <a:pt x="18" y="54"/>
                  </a:moveTo>
                  <a:lnTo>
                    <a:pt x="56" y="54"/>
                  </a:lnTo>
                  <a:lnTo>
                    <a:pt x="56" y="18"/>
                  </a:lnTo>
                  <a:lnTo>
                    <a:pt x="18" y="18"/>
                  </a:lnTo>
                  <a:lnTo>
                    <a:pt x="18" y="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50000"/>
                </a:spcAft>
                <a:buClr>
                  <a:srgbClr val="FFE600"/>
                </a:buClr>
                <a:buSzPct val="80000"/>
                <a:buFont typeface="Arial" charset="0"/>
                <a:buNone/>
                <a:tabLst/>
                <a:defRPr/>
              </a:pPr>
              <a:endParaRPr kumimoji="0" lang="en-US" sz="900" b="0" i="0" u="none" strike="noStrike" kern="1200" cap="none" spc="0" normalizeH="0" baseline="0" noProof="0">
                <a:ln>
                  <a:noFill/>
                </a:ln>
                <a:solidFill>
                  <a:srgbClr val="000000"/>
                </a:solidFill>
                <a:effectLst/>
                <a:uLnTx/>
                <a:uFillTx/>
                <a:latin typeface="EYInterstate Light" pitchFamily="2" charset="0"/>
                <a:ea typeface="+mn-ea"/>
                <a:cs typeface="+mn-cs"/>
              </a:endParaRPr>
            </a:p>
          </p:txBody>
        </p:sp>
        <p:sp>
          <p:nvSpPr>
            <p:cNvPr id="67" name="Freeform 42">
              <a:extLst>
                <a:ext uri="{FF2B5EF4-FFF2-40B4-BE49-F238E27FC236}">
                  <a16:creationId xmlns:a16="http://schemas.microsoft.com/office/drawing/2014/main" id="{0FF5BC08-1EB5-4474-AC2F-0035629578E3}"/>
                </a:ext>
              </a:extLst>
            </p:cNvPr>
            <p:cNvSpPr>
              <a:spLocks/>
            </p:cNvSpPr>
            <p:nvPr/>
          </p:nvSpPr>
          <p:spPr bwMode="auto">
            <a:xfrm>
              <a:off x="1842" y="891"/>
              <a:ext cx="774" cy="584"/>
            </a:xfrm>
            <a:custGeom>
              <a:avLst/>
              <a:gdLst>
                <a:gd name="T0" fmla="*/ 774 w 774"/>
                <a:gd name="T1" fmla="*/ 584 h 584"/>
                <a:gd name="T2" fmla="*/ 652 w 774"/>
                <a:gd name="T3" fmla="*/ 584 h 584"/>
                <a:gd name="T4" fmla="*/ 652 w 774"/>
                <a:gd name="T5" fmla="*/ 566 h 584"/>
                <a:gd name="T6" fmla="*/ 756 w 774"/>
                <a:gd name="T7" fmla="*/ 566 h 584"/>
                <a:gd name="T8" fmla="*/ 756 w 774"/>
                <a:gd name="T9" fmla="*/ 18 h 584"/>
                <a:gd name="T10" fmla="*/ 18 w 774"/>
                <a:gd name="T11" fmla="*/ 18 h 584"/>
                <a:gd name="T12" fmla="*/ 18 w 774"/>
                <a:gd name="T13" fmla="*/ 566 h 584"/>
                <a:gd name="T14" fmla="*/ 486 w 774"/>
                <a:gd name="T15" fmla="*/ 566 h 584"/>
                <a:gd name="T16" fmla="*/ 486 w 774"/>
                <a:gd name="T17" fmla="*/ 584 h 584"/>
                <a:gd name="T18" fmla="*/ 0 w 774"/>
                <a:gd name="T19" fmla="*/ 584 h 584"/>
                <a:gd name="T20" fmla="*/ 0 w 774"/>
                <a:gd name="T21" fmla="*/ 0 h 584"/>
                <a:gd name="T22" fmla="*/ 774 w 774"/>
                <a:gd name="T23" fmla="*/ 0 h 584"/>
                <a:gd name="T24" fmla="*/ 774 w 774"/>
                <a:gd name="T25" fmla="*/ 584 h 5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74" h="584">
                  <a:moveTo>
                    <a:pt x="774" y="584"/>
                  </a:moveTo>
                  <a:lnTo>
                    <a:pt x="652" y="584"/>
                  </a:lnTo>
                  <a:lnTo>
                    <a:pt x="652" y="566"/>
                  </a:lnTo>
                  <a:lnTo>
                    <a:pt x="756" y="566"/>
                  </a:lnTo>
                  <a:lnTo>
                    <a:pt x="756" y="18"/>
                  </a:lnTo>
                  <a:lnTo>
                    <a:pt x="18" y="18"/>
                  </a:lnTo>
                  <a:lnTo>
                    <a:pt x="18" y="566"/>
                  </a:lnTo>
                  <a:lnTo>
                    <a:pt x="486" y="566"/>
                  </a:lnTo>
                  <a:lnTo>
                    <a:pt x="486" y="584"/>
                  </a:lnTo>
                  <a:lnTo>
                    <a:pt x="0" y="584"/>
                  </a:lnTo>
                  <a:lnTo>
                    <a:pt x="0" y="0"/>
                  </a:lnTo>
                  <a:lnTo>
                    <a:pt x="774" y="0"/>
                  </a:lnTo>
                  <a:lnTo>
                    <a:pt x="774" y="5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50000"/>
                </a:spcAft>
                <a:buClr>
                  <a:srgbClr val="FFE600"/>
                </a:buClr>
                <a:buSzPct val="80000"/>
                <a:buFont typeface="Arial" charset="0"/>
                <a:buNone/>
                <a:tabLst/>
                <a:defRPr/>
              </a:pPr>
              <a:endParaRPr kumimoji="0" lang="en-US" sz="900" b="0" i="0" u="none" strike="noStrike" kern="1200" cap="none" spc="0" normalizeH="0" baseline="0" noProof="0">
                <a:ln>
                  <a:noFill/>
                </a:ln>
                <a:solidFill>
                  <a:srgbClr val="000000"/>
                </a:solidFill>
                <a:effectLst/>
                <a:uLnTx/>
                <a:uFillTx/>
                <a:latin typeface="EYInterstate Light" pitchFamily="2" charset="0"/>
                <a:ea typeface="+mn-ea"/>
                <a:cs typeface="+mn-cs"/>
              </a:endParaRPr>
            </a:p>
          </p:txBody>
        </p:sp>
        <p:sp>
          <p:nvSpPr>
            <p:cNvPr id="68" name="Rectangle 43">
              <a:extLst>
                <a:ext uri="{FF2B5EF4-FFF2-40B4-BE49-F238E27FC236}">
                  <a16:creationId xmlns:a16="http://schemas.microsoft.com/office/drawing/2014/main" id="{BC396F0E-D941-45CB-B67A-CD2C94A3D8E5}"/>
                </a:ext>
              </a:extLst>
            </p:cNvPr>
            <p:cNvSpPr>
              <a:spLocks noChangeArrowheads="1"/>
            </p:cNvSpPr>
            <p:nvPr/>
          </p:nvSpPr>
          <p:spPr bwMode="auto">
            <a:xfrm>
              <a:off x="2042" y="891"/>
              <a:ext cx="18" cy="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50000"/>
                </a:spcAft>
                <a:buClr>
                  <a:srgbClr val="FFE600"/>
                </a:buClr>
                <a:buSzPct val="80000"/>
                <a:buFont typeface="Arial" charset="0"/>
                <a:buNone/>
                <a:tabLst/>
                <a:defRPr/>
              </a:pPr>
              <a:endParaRPr kumimoji="0" lang="en-US" sz="900" b="0" i="0" u="none" strike="noStrike" kern="1200" cap="none" spc="0" normalizeH="0" baseline="0" noProof="0">
                <a:ln>
                  <a:noFill/>
                </a:ln>
                <a:solidFill>
                  <a:srgbClr val="000000"/>
                </a:solidFill>
                <a:effectLst/>
                <a:uLnTx/>
                <a:uFillTx/>
                <a:latin typeface="EYInterstate Light" pitchFamily="2" charset="0"/>
                <a:ea typeface="+mn-ea"/>
                <a:cs typeface="+mn-cs"/>
              </a:endParaRPr>
            </a:p>
          </p:txBody>
        </p:sp>
      </p:grpSp>
      <p:grpSp>
        <p:nvGrpSpPr>
          <p:cNvPr id="69" name="Group 14">
            <a:extLst>
              <a:ext uri="{FF2B5EF4-FFF2-40B4-BE49-F238E27FC236}">
                <a16:creationId xmlns:a16="http://schemas.microsoft.com/office/drawing/2014/main" id="{48B762EA-3A70-4080-9C5D-2CD6F7B78AF5}"/>
              </a:ext>
            </a:extLst>
          </p:cNvPr>
          <p:cNvGrpSpPr>
            <a:grpSpLocks noChangeAspect="1"/>
          </p:cNvGrpSpPr>
          <p:nvPr/>
        </p:nvGrpSpPr>
        <p:grpSpPr bwMode="auto">
          <a:xfrm>
            <a:off x="7464216" y="3519011"/>
            <a:ext cx="497601" cy="681203"/>
            <a:chOff x="4541" y="1889"/>
            <a:chExt cx="580" cy="794"/>
          </a:xfrm>
          <a:solidFill>
            <a:schemeClr val="accent5"/>
          </a:solidFill>
        </p:grpSpPr>
        <p:sp>
          <p:nvSpPr>
            <p:cNvPr id="70" name="Freeform 15">
              <a:extLst>
                <a:ext uri="{FF2B5EF4-FFF2-40B4-BE49-F238E27FC236}">
                  <a16:creationId xmlns:a16="http://schemas.microsoft.com/office/drawing/2014/main" id="{8CB7CEC3-D4FD-4F4C-9B8F-4C7E04F381F2}"/>
                </a:ext>
              </a:extLst>
            </p:cNvPr>
            <p:cNvSpPr>
              <a:spLocks noEditPoints="1"/>
            </p:cNvSpPr>
            <p:nvPr/>
          </p:nvSpPr>
          <p:spPr bwMode="auto">
            <a:xfrm>
              <a:off x="4583" y="1939"/>
              <a:ext cx="494" cy="698"/>
            </a:xfrm>
            <a:custGeom>
              <a:avLst/>
              <a:gdLst>
                <a:gd name="T0" fmla="*/ 148 w 494"/>
                <a:gd name="T1" fmla="*/ 474 h 698"/>
                <a:gd name="T2" fmla="*/ 116 w 494"/>
                <a:gd name="T3" fmla="*/ 456 h 698"/>
                <a:gd name="T4" fmla="*/ 74 w 494"/>
                <a:gd name="T5" fmla="*/ 424 h 698"/>
                <a:gd name="T6" fmla="*/ 40 w 494"/>
                <a:gd name="T7" fmla="*/ 384 h 698"/>
                <a:gd name="T8" fmla="*/ 16 w 494"/>
                <a:gd name="T9" fmla="*/ 336 h 698"/>
                <a:gd name="T10" fmla="*/ 4 w 494"/>
                <a:gd name="T11" fmla="*/ 284 h 698"/>
                <a:gd name="T12" fmla="*/ 0 w 494"/>
                <a:gd name="T13" fmla="*/ 248 h 698"/>
                <a:gd name="T14" fmla="*/ 12 w 494"/>
                <a:gd name="T15" fmla="*/ 174 h 698"/>
                <a:gd name="T16" fmla="*/ 42 w 494"/>
                <a:gd name="T17" fmla="*/ 110 h 698"/>
                <a:gd name="T18" fmla="*/ 90 w 494"/>
                <a:gd name="T19" fmla="*/ 58 h 698"/>
                <a:gd name="T20" fmla="*/ 152 w 494"/>
                <a:gd name="T21" fmla="*/ 20 h 698"/>
                <a:gd name="T22" fmla="*/ 222 w 494"/>
                <a:gd name="T23" fmla="*/ 2 h 698"/>
                <a:gd name="T24" fmla="*/ 272 w 494"/>
                <a:gd name="T25" fmla="*/ 2 h 698"/>
                <a:gd name="T26" fmla="*/ 344 w 494"/>
                <a:gd name="T27" fmla="*/ 20 h 698"/>
                <a:gd name="T28" fmla="*/ 404 w 494"/>
                <a:gd name="T29" fmla="*/ 58 h 698"/>
                <a:gd name="T30" fmla="*/ 452 w 494"/>
                <a:gd name="T31" fmla="*/ 110 h 698"/>
                <a:gd name="T32" fmla="*/ 482 w 494"/>
                <a:gd name="T33" fmla="*/ 174 h 698"/>
                <a:gd name="T34" fmla="*/ 494 w 494"/>
                <a:gd name="T35" fmla="*/ 248 h 698"/>
                <a:gd name="T36" fmla="*/ 492 w 494"/>
                <a:gd name="T37" fmla="*/ 284 h 698"/>
                <a:gd name="T38" fmla="*/ 478 w 494"/>
                <a:gd name="T39" fmla="*/ 336 h 698"/>
                <a:gd name="T40" fmla="*/ 452 w 494"/>
                <a:gd name="T41" fmla="*/ 384 h 698"/>
                <a:gd name="T42" fmla="*/ 418 w 494"/>
                <a:gd name="T43" fmla="*/ 426 h 698"/>
                <a:gd name="T44" fmla="*/ 376 w 494"/>
                <a:gd name="T45" fmla="*/ 458 h 698"/>
                <a:gd name="T46" fmla="*/ 342 w 494"/>
                <a:gd name="T47" fmla="*/ 698 h 698"/>
                <a:gd name="T48" fmla="*/ 324 w 494"/>
                <a:gd name="T49" fmla="*/ 462 h 698"/>
                <a:gd name="T50" fmla="*/ 346 w 494"/>
                <a:gd name="T51" fmla="*/ 454 h 698"/>
                <a:gd name="T52" fmla="*/ 390 w 494"/>
                <a:gd name="T53" fmla="*/ 426 h 698"/>
                <a:gd name="T54" fmla="*/ 426 w 494"/>
                <a:gd name="T55" fmla="*/ 390 h 698"/>
                <a:gd name="T56" fmla="*/ 454 w 494"/>
                <a:gd name="T57" fmla="*/ 348 h 698"/>
                <a:gd name="T58" fmla="*/ 470 w 494"/>
                <a:gd name="T59" fmla="*/ 300 h 698"/>
                <a:gd name="T60" fmla="*/ 476 w 494"/>
                <a:gd name="T61" fmla="*/ 248 h 698"/>
                <a:gd name="T62" fmla="*/ 472 w 494"/>
                <a:gd name="T63" fmla="*/ 202 h 698"/>
                <a:gd name="T64" fmla="*/ 448 w 494"/>
                <a:gd name="T65" fmla="*/ 138 h 698"/>
                <a:gd name="T66" fmla="*/ 408 w 494"/>
                <a:gd name="T67" fmla="*/ 86 h 698"/>
                <a:gd name="T68" fmla="*/ 356 w 494"/>
                <a:gd name="T69" fmla="*/ 46 h 698"/>
                <a:gd name="T70" fmla="*/ 294 w 494"/>
                <a:gd name="T71" fmla="*/ 24 h 698"/>
                <a:gd name="T72" fmla="*/ 248 w 494"/>
                <a:gd name="T73" fmla="*/ 18 h 698"/>
                <a:gd name="T74" fmla="*/ 180 w 494"/>
                <a:gd name="T75" fmla="*/ 30 h 698"/>
                <a:gd name="T76" fmla="*/ 120 w 494"/>
                <a:gd name="T77" fmla="*/ 58 h 698"/>
                <a:gd name="T78" fmla="*/ 70 w 494"/>
                <a:gd name="T79" fmla="*/ 102 h 698"/>
                <a:gd name="T80" fmla="*/ 36 w 494"/>
                <a:gd name="T81" fmla="*/ 158 h 698"/>
                <a:gd name="T82" fmla="*/ 20 w 494"/>
                <a:gd name="T83" fmla="*/ 224 h 698"/>
                <a:gd name="T84" fmla="*/ 20 w 494"/>
                <a:gd name="T85" fmla="*/ 264 h 698"/>
                <a:gd name="T86" fmla="*/ 28 w 494"/>
                <a:gd name="T87" fmla="*/ 316 h 698"/>
                <a:gd name="T88" fmla="*/ 48 w 494"/>
                <a:gd name="T89" fmla="*/ 362 h 698"/>
                <a:gd name="T90" fmla="*/ 78 w 494"/>
                <a:gd name="T91" fmla="*/ 402 h 698"/>
                <a:gd name="T92" fmla="*/ 116 w 494"/>
                <a:gd name="T93" fmla="*/ 434 h 698"/>
                <a:gd name="T94" fmla="*/ 162 w 494"/>
                <a:gd name="T95" fmla="*/ 460 h 6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94" h="698">
                  <a:moveTo>
                    <a:pt x="342" y="698"/>
                  </a:moveTo>
                  <a:lnTo>
                    <a:pt x="148" y="698"/>
                  </a:lnTo>
                  <a:lnTo>
                    <a:pt x="148" y="474"/>
                  </a:lnTo>
                  <a:lnTo>
                    <a:pt x="148" y="474"/>
                  </a:lnTo>
                  <a:lnTo>
                    <a:pt x="132" y="466"/>
                  </a:lnTo>
                  <a:lnTo>
                    <a:pt x="116" y="456"/>
                  </a:lnTo>
                  <a:lnTo>
                    <a:pt x="102" y="446"/>
                  </a:lnTo>
                  <a:lnTo>
                    <a:pt x="88" y="436"/>
                  </a:lnTo>
                  <a:lnTo>
                    <a:pt x="74" y="424"/>
                  </a:lnTo>
                  <a:lnTo>
                    <a:pt x="62" y="412"/>
                  </a:lnTo>
                  <a:lnTo>
                    <a:pt x="50" y="398"/>
                  </a:lnTo>
                  <a:lnTo>
                    <a:pt x="40" y="384"/>
                  </a:lnTo>
                  <a:lnTo>
                    <a:pt x="32" y="368"/>
                  </a:lnTo>
                  <a:lnTo>
                    <a:pt x="24" y="352"/>
                  </a:lnTo>
                  <a:lnTo>
                    <a:pt x="16" y="336"/>
                  </a:lnTo>
                  <a:lnTo>
                    <a:pt x="10" y="320"/>
                  </a:lnTo>
                  <a:lnTo>
                    <a:pt x="6" y="302"/>
                  </a:lnTo>
                  <a:lnTo>
                    <a:pt x="4" y="284"/>
                  </a:lnTo>
                  <a:lnTo>
                    <a:pt x="2" y="266"/>
                  </a:lnTo>
                  <a:lnTo>
                    <a:pt x="0" y="248"/>
                  </a:lnTo>
                  <a:lnTo>
                    <a:pt x="0" y="248"/>
                  </a:lnTo>
                  <a:lnTo>
                    <a:pt x="2" y="222"/>
                  </a:lnTo>
                  <a:lnTo>
                    <a:pt x="6" y="198"/>
                  </a:lnTo>
                  <a:lnTo>
                    <a:pt x="12" y="174"/>
                  </a:lnTo>
                  <a:lnTo>
                    <a:pt x="20" y="152"/>
                  </a:lnTo>
                  <a:lnTo>
                    <a:pt x="30" y="130"/>
                  </a:lnTo>
                  <a:lnTo>
                    <a:pt x="42" y="110"/>
                  </a:lnTo>
                  <a:lnTo>
                    <a:pt x="56" y="90"/>
                  </a:lnTo>
                  <a:lnTo>
                    <a:pt x="72" y="74"/>
                  </a:lnTo>
                  <a:lnTo>
                    <a:pt x="90" y="58"/>
                  </a:lnTo>
                  <a:lnTo>
                    <a:pt x="110" y="42"/>
                  </a:lnTo>
                  <a:lnTo>
                    <a:pt x="130" y="30"/>
                  </a:lnTo>
                  <a:lnTo>
                    <a:pt x="152" y="20"/>
                  </a:lnTo>
                  <a:lnTo>
                    <a:pt x="174" y="12"/>
                  </a:lnTo>
                  <a:lnTo>
                    <a:pt x="198" y="6"/>
                  </a:lnTo>
                  <a:lnTo>
                    <a:pt x="222" y="2"/>
                  </a:lnTo>
                  <a:lnTo>
                    <a:pt x="248" y="0"/>
                  </a:lnTo>
                  <a:lnTo>
                    <a:pt x="248" y="0"/>
                  </a:lnTo>
                  <a:lnTo>
                    <a:pt x="272" y="2"/>
                  </a:lnTo>
                  <a:lnTo>
                    <a:pt x="296" y="6"/>
                  </a:lnTo>
                  <a:lnTo>
                    <a:pt x="320" y="12"/>
                  </a:lnTo>
                  <a:lnTo>
                    <a:pt x="344" y="20"/>
                  </a:lnTo>
                  <a:lnTo>
                    <a:pt x="364" y="30"/>
                  </a:lnTo>
                  <a:lnTo>
                    <a:pt x="386" y="42"/>
                  </a:lnTo>
                  <a:lnTo>
                    <a:pt x="404" y="58"/>
                  </a:lnTo>
                  <a:lnTo>
                    <a:pt x="422" y="74"/>
                  </a:lnTo>
                  <a:lnTo>
                    <a:pt x="438" y="90"/>
                  </a:lnTo>
                  <a:lnTo>
                    <a:pt x="452" y="110"/>
                  </a:lnTo>
                  <a:lnTo>
                    <a:pt x="464" y="130"/>
                  </a:lnTo>
                  <a:lnTo>
                    <a:pt x="474" y="152"/>
                  </a:lnTo>
                  <a:lnTo>
                    <a:pt x="482" y="174"/>
                  </a:lnTo>
                  <a:lnTo>
                    <a:pt x="488" y="198"/>
                  </a:lnTo>
                  <a:lnTo>
                    <a:pt x="492" y="222"/>
                  </a:lnTo>
                  <a:lnTo>
                    <a:pt x="494" y="248"/>
                  </a:lnTo>
                  <a:lnTo>
                    <a:pt x="494" y="248"/>
                  </a:lnTo>
                  <a:lnTo>
                    <a:pt x="494" y="266"/>
                  </a:lnTo>
                  <a:lnTo>
                    <a:pt x="492" y="284"/>
                  </a:lnTo>
                  <a:lnTo>
                    <a:pt x="488" y="302"/>
                  </a:lnTo>
                  <a:lnTo>
                    <a:pt x="484" y="320"/>
                  </a:lnTo>
                  <a:lnTo>
                    <a:pt x="478" y="336"/>
                  </a:lnTo>
                  <a:lnTo>
                    <a:pt x="470" y="354"/>
                  </a:lnTo>
                  <a:lnTo>
                    <a:pt x="462" y="370"/>
                  </a:lnTo>
                  <a:lnTo>
                    <a:pt x="452" y="384"/>
                  </a:lnTo>
                  <a:lnTo>
                    <a:pt x="442" y="398"/>
                  </a:lnTo>
                  <a:lnTo>
                    <a:pt x="432" y="412"/>
                  </a:lnTo>
                  <a:lnTo>
                    <a:pt x="418" y="426"/>
                  </a:lnTo>
                  <a:lnTo>
                    <a:pt x="406" y="438"/>
                  </a:lnTo>
                  <a:lnTo>
                    <a:pt x="390" y="448"/>
                  </a:lnTo>
                  <a:lnTo>
                    <a:pt x="376" y="458"/>
                  </a:lnTo>
                  <a:lnTo>
                    <a:pt x="360" y="466"/>
                  </a:lnTo>
                  <a:lnTo>
                    <a:pt x="342" y="474"/>
                  </a:lnTo>
                  <a:lnTo>
                    <a:pt x="342" y="698"/>
                  </a:lnTo>
                  <a:close/>
                  <a:moveTo>
                    <a:pt x="166" y="680"/>
                  </a:moveTo>
                  <a:lnTo>
                    <a:pt x="324" y="680"/>
                  </a:lnTo>
                  <a:lnTo>
                    <a:pt x="324" y="462"/>
                  </a:lnTo>
                  <a:lnTo>
                    <a:pt x="330" y="460"/>
                  </a:lnTo>
                  <a:lnTo>
                    <a:pt x="330" y="460"/>
                  </a:lnTo>
                  <a:lnTo>
                    <a:pt x="346" y="454"/>
                  </a:lnTo>
                  <a:lnTo>
                    <a:pt x="362" y="446"/>
                  </a:lnTo>
                  <a:lnTo>
                    <a:pt x="376" y="436"/>
                  </a:lnTo>
                  <a:lnTo>
                    <a:pt x="390" y="426"/>
                  </a:lnTo>
                  <a:lnTo>
                    <a:pt x="404" y="414"/>
                  </a:lnTo>
                  <a:lnTo>
                    <a:pt x="416" y="402"/>
                  </a:lnTo>
                  <a:lnTo>
                    <a:pt x="426" y="390"/>
                  </a:lnTo>
                  <a:lnTo>
                    <a:pt x="436" y="376"/>
                  </a:lnTo>
                  <a:lnTo>
                    <a:pt x="446" y="362"/>
                  </a:lnTo>
                  <a:lnTo>
                    <a:pt x="454" y="348"/>
                  </a:lnTo>
                  <a:lnTo>
                    <a:pt x="460" y="332"/>
                  </a:lnTo>
                  <a:lnTo>
                    <a:pt x="466" y="316"/>
                  </a:lnTo>
                  <a:lnTo>
                    <a:pt x="470" y="300"/>
                  </a:lnTo>
                  <a:lnTo>
                    <a:pt x="474" y="282"/>
                  </a:lnTo>
                  <a:lnTo>
                    <a:pt x="476" y="266"/>
                  </a:lnTo>
                  <a:lnTo>
                    <a:pt x="476" y="248"/>
                  </a:lnTo>
                  <a:lnTo>
                    <a:pt x="476" y="248"/>
                  </a:lnTo>
                  <a:lnTo>
                    <a:pt x="474" y="224"/>
                  </a:lnTo>
                  <a:lnTo>
                    <a:pt x="472" y="202"/>
                  </a:lnTo>
                  <a:lnTo>
                    <a:pt x="466" y="180"/>
                  </a:lnTo>
                  <a:lnTo>
                    <a:pt x="458" y="158"/>
                  </a:lnTo>
                  <a:lnTo>
                    <a:pt x="448" y="138"/>
                  </a:lnTo>
                  <a:lnTo>
                    <a:pt x="436" y="120"/>
                  </a:lnTo>
                  <a:lnTo>
                    <a:pt x="424" y="102"/>
                  </a:lnTo>
                  <a:lnTo>
                    <a:pt x="408" y="86"/>
                  </a:lnTo>
                  <a:lnTo>
                    <a:pt x="392" y="72"/>
                  </a:lnTo>
                  <a:lnTo>
                    <a:pt x="374" y="58"/>
                  </a:lnTo>
                  <a:lnTo>
                    <a:pt x="356" y="46"/>
                  </a:lnTo>
                  <a:lnTo>
                    <a:pt x="336" y="36"/>
                  </a:lnTo>
                  <a:lnTo>
                    <a:pt x="316" y="30"/>
                  </a:lnTo>
                  <a:lnTo>
                    <a:pt x="294" y="24"/>
                  </a:lnTo>
                  <a:lnTo>
                    <a:pt x="270" y="20"/>
                  </a:lnTo>
                  <a:lnTo>
                    <a:pt x="248" y="18"/>
                  </a:lnTo>
                  <a:lnTo>
                    <a:pt x="248" y="18"/>
                  </a:lnTo>
                  <a:lnTo>
                    <a:pt x="224" y="20"/>
                  </a:lnTo>
                  <a:lnTo>
                    <a:pt x="202" y="24"/>
                  </a:lnTo>
                  <a:lnTo>
                    <a:pt x="180" y="30"/>
                  </a:lnTo>
                  <a:lnTo>
                    <a:pt x="158" y="36"/>
                  </a:lnTo>
                  <a:lnTo>
                    <a:pt x="138" y="46"/>
                  </a:lnTo>
                  <a:lnTo>
                    <a:pt x="120" y="58"/>
                  </a:lnTo>
                  <a:lnTo>
                    <a:pt x="102" y="72"/>
                  </a:lnTo>
                  <a:lnTo>
                    <a:pt x="86" y="86"/>
                  </a:lnTo>
                  <a:lnTo>
                    <a:pt x="70" y="102"/>
                  </a:lnTo>
                  <a:lnTo>
                    <a:pt x="58" y="120"/>
                  </a:lnTo>
                  <a:lnTo>
                    <a:pt x="46" y="138"/>
                  </a:lnTo>
                  <a:lnTo>
                    <a:pt x="36" y="158"/>
                  </a:lnTo>
                  <a:lnTo>
                    <a:pt x="28" y="180"/>
                  </a:lnTo>
                  <a:lnTo>
                    <a:pt x="24" y="202"/>
                  </a:lnTo>
                  <a:lnTo>
                    <a:pt x="20" y="224"/>
                  </a:lnTo>
                  <a:lnTo>
                    <a:pt x="18" y="248"/>
                  </a:lnTo>
                  <a:lnTo>
                    <a:pt x="18" y="248"/>
                  </a:lnTo>
                  <a:lnTo>
                    <a:pt x="20" y="264"/>
                  </a:lnTo>
                  <a:lnTo>
                    <a:pt x="20" y="282"/>
                  </a:lnTo>
                  <a:lnTo>
                    <a:pt x="24" y="298"/>
                  </a:lnTo>
                  <a:lnTo>
                    <a:pt x="28" y="316"/>
                  </a:lnTo>
                  <a:lnTo>
                    <a:pt x="34" y="332"/>
                  </a:lnTo>
                  <a:lnTo>
                    <a:pt x="40" y="346"/>
                  </a:lnTo>
                  <a:lnTo>
                    <a:pt x="48" y="362"/>
                  </a:lnTo>
                  <a:lnTo>
                    <a:pt x="58" y="376"/>
                  </a:lnTo>
                  <a:lnTo>
                    <a:pt x="68" y="388"/>
                  </a:lnTo>
                  <a:lnTo>
                    <a:pt x="78" y="402"/>
                  </a:lnTo>
                  <a:lnTo>
                    <a:pt x="90" y="414"/>
                  </a:lnTo>
                  <a:lnTo>
                    <a:pt x="102" y="424"/>
                  </a:lnTo>
                  <a:lnTo>
                    <a:pt x="116" y="434"/>
                  </a:lnTo>
                  <a:lnTo>
                    <a:pt x="130" y="444"/>
                  </a:lnTo>
                  <a:lnTo>
                    <a:pt x="146" y="452"/>
                  </a:lnTo>
                  <a:lnTo>
                    <a:pt x="162" y="460"/>
                  </a:lnTo>
                  <a:lnTo>
                    <a:pt x="166" y="462"/>
                  </a:lnTo>
                  <a:lnTo>
                    <a:pt x="166" y="68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50000"/>
                </a:spcAft>
                <a:buClr>
                  <a:srgbClr val="FFE600"/>
                </a:buClr>
                <a:buSzPct val="80000"/>
                <a:buFont typeface="Arial" charset="0"/>
                <a:buNone/>
                <a:tabLst/>
                <a:defRPr/>
              </a:pPr>
              <a:endParaRPr kumimoji="0" lang="en-US" sz="900" b="0" i="0" u="none" strike="noStrike" kern="1200" cap="none" spc="0" normalizeH="0" baseline="0" noProof="0">
                <a:ln>
                  <a:noFill/>
                </a:ln>
                <a:solidFill>
                  <a:srgbClr val="000000"/>
                </a:solidFill>
                <a:effectLst/>
                <a:uLnTx/>
                <a:uFillTx/>
                <a:latin typeface="EYInterstate Light" pitchFamily="2" charset="0"/>
                <a:ea typeface="+mn-ea"/>
                <a:cs typeface="+mn-cs"/>
              </a:endParaRPr>
            </a:p>
          </p:txBody>
        </p:sp>
        <p:sp>
          <p:nvSpPr>
            <p:cNvPr id="71" name="Freeform 16">
              <a:extLst>
                <a:ext uri="{FF2B5EF4-FFF2-40B4-BE49-F238E27FC236}">
                  <a16:creationId xmlns:a16="http://schemas.microsoft.com/office/drawing/2014/main" id="{FFA5E0B3-B69D-4656-ABAA-7B08EF105FBF}"/>
                </a:ext>
              </a:extLst>
            </p:cNvPr>
            <p:cNvSpPr>
              <a:spLocks noEditPoints="1"/>
            </p:cNvSpPr>
            <p:nvPr/>
          </p:nvSpPr>
          <p:spPr bwMode="auto">
            <a:xfrm>
              <a:off x="4779" y="2619"/>
              <a:ext cx="102" cy="64"/>
            </a:xfrm>
            <a:custGeom>
              <a:avLst/>
              <a:gdLst>
                <a:gd name="T0" fmla="*/ 76 w 102"/>
                <a:gd name="T1" fmla="*/ 64 h 64"/>
                <a:gd name="T2" fmla="*/ 26 w 102"/>
                <a:gd name="T3" fmla="*/ 64 h 64"/>
                <a:gd name="T4" fmla="*/ 0 w 102"/>
                <a:gd name="T5" fmla="*/ 0 h 64"/>
                <a:gd name="T6" fmla="*/ 102 w 102"/>
                <a:gd name="T7" fmla="*/ 0 h 64"/>
                <a:gd name="T8" fmla="*/ 76 w 102"/>
                <a:gd name="T9" fmla="*/ 64 h 64"/>
                <a:gd name="T10" fmla="*/ 38 w 102"/>
                <a:gd name="T11" fmla="*/ 46 h 64"/>
                <a:gd name="T12" fmla="*/ 64 w 102"/>
                <a:gd name="T13" fmla="*/ 46 h 64"/>
                <a:gd name="T14" fmla="*/ 76 w 102"/>
                <a:gd name="T15" fmla="*/ 18 h 64"/>
                <a:gd name="T16" fmla="*/ 26 w 102"/>
                <a:gd name="T17" fmla="*/ 18 h 64"/>
                <a:gd name="T18" fmla="*/ 38 w 102"/>
                <a:gd name="T19" fmla="*/ 46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64">
                  <a:moveTo>
                    <a:pt x="76" y="64"/>
                  </a:moveTo>
                  <a:lnTo>
                    <a:pt x="26" y="64"/>
                  </a:lnTo>
                  <a:lnTo>
                    <a:pt x="0" y="0"/>
                  </a:lnTo>
                  <a:lnTo>
                    <a:pt x="102" y="0"/>
                  </a:lnTo>
                  <a:lnTo>
                    <a:pt x="76" y="64"/>
                  </a:lnTo>
                  <a:close/>
                  <a:moveTo>
                    <a:pt x="38" y="46"/>
                  </a:moveTo>
                  <a:lnTo>
                    <a:pt x="64" y="46"/>
                  </a:lnTo>
                  <a:lnTo>
                    <a:pt x="76" y="18"/>
                  </a:lnTo>
                  <a:lnTo>
                    <a:pt x="26" y="18"/>
                  </a:lnTo>
                  <a:lnTo>
                    <a:pt x="38" y="4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50000"/>
                </a:spcAft>
                <a:buClr>
                  <a:srgbClr val="FFE600"/>
                </a:buClr>
                <a:buSzPct val="80000"/>
                <a:buFont typeface="Arial" charset="0"/>
                <a:buNone/>
                <a:tabLst/>
                <a:defRPr/>
              </a:pPr>
              <a:endParaRPr kumimoji="0" lang="en-US" sz="900" b="0" i="0" u="none" strike="noStrike" kern="1200" cap="none" spc="0" normalizeH="0" baseline="0" noProof="0">
                <a:ln>
                  <a:noFill/>
                </a:ln>
                <a:solidFill>
                  <a:srgbClr val="000000"/>
                </a:solidFill>
                <a:effectLst/>
                <a:uLnTx/>
                <a:uFillTx/>
                <a:latin typeface="EYInterstate Light" pitchFamily="2" charset="0"/>
                <a:ea typeface="+mn-ea"/>
                <a:cs typeface="+mn-cs"/>
              </a:endParaRPr>
            </a:p>
          </p:txBody>
        </p:sp>
        <p:sp>
          <p:nvSpPr>
            <p:cNvPr id="72" name="Rectangle 17">
              <a:extLst>
                <a:ext uri="{FF2B5EF4-FFF2-40B4-BE49-F238E27FC236}">
                  <a16:creationId xmlns:a16="http://schemas.microsoft.com/office/drawing/2014/main" id="{EDAC0EC7-D006-4177-BD9C-36F819F40A5E}"/>
                </a:ext>
              </a:extLst>
            </p:cNvPr>
            <p:cNvSpPr>
              <a:spLocks noChangeArrowheads="1"/>
            </p:cNvSpPr>
            <p:nvPr/>
          </p:nvSpPr>
          <p:spPr bwMode="auto">
            <a:xfrm>
              <a:off x="4691" y="2475"/>
              <a:ext cx="278" cy="18"/>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50000"/>
                </a:spcAft>
                <a:buClr>
                  <a:srgbClr val="FFE600"/>
                </a:buClr>
                <a:buSzPct val="80000"/>
                <a:buFont typeface="Arial" charset="0"/>
                <a:buNone/>
                <a:tabLst/>
                <a:defRPr/>
              </a:pPr>
              <a:endParaRPr kumimoji="0" lang="en-US" sz="900" b="0" i="0" u="none" strike="noStrike" kern="1200" cap="none" spc="0" normalizeH="0" baseline="0" noProof="0">
                <a:ln>
                  <a:noFill/>
                </a:ln>
                <a:solidFill>
                  <a:srgbClr val="000000"/>
                </a:solidFill>
                <a:effectLst/>
                <a:uLnTx/>
                <a:uFillTx/>
                <a:latin typeface="EYInterstate Light" pitchFamily="2" charset="0"/>
                <a:ea typeface="+mn-ea"/>
                <a:cs typeface="+mn-cs"/>
              </a:endParaRPr>
            </a:p>
          </p:txBody>
        </p:sp>
        <p:sp>
          <p:nvSpPr>
            <p:cNvPr id="73" name="Rectangle 18">
              <a:extLst>
                <a:ext uri="{FF2B5EF4-FFF2-40B4-BE49-F238E27FC236}">
                  <a16:creationId xmlns:a16="http://schemas.microsoft.com/office/drawing/2014/main" id="{15AC6A7C-DC3A-494B-8FC1-F13832D91F19}"/>
                </a:ext>
              </a:extLst>
            </p:cNvPr>
            <p:cNvSpPr>
              <a:spLocks noChangeArrowheads="1"/>
            </p:cNvSpPr>
            <p:nvPr/>
          </p:nvSpPr>
          <p:spPr bwMode="auto">
            <a:xfrm>
              <a:off x="4691" y="2519"/>
              <a:ext cx="278" cy="18"/>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50000"/>
                </a:spcAft>
                <a:buClr>
                  <a:srgbClr val="FFE600"/>
                </a:buClr>
                <a:buSzPct val="80000"/>
                <a:buFont typeface="Arial" charset="0"/>
                <a:buNone/>
                <a:tabLst/>
                <a:defRPr/>
              </a:pPr>
              <a:endParaRPr kumimoji="0" lang="en-US" sz="900" b="0" i="0" u="none" strike="noStrike" kern="1200" cap="none" spc="0" normalizeH="0" baseline="0" noProof="0">
                <a:ln>
                  <a:noFill/>
                </a:ln>
                <a:solidFill>
                  <a:srgbClr val="000000"/>
                </a:solidFill>
                <a:effectLst/>
                <a:uLnTx/>
                <a:uFillTx/>
                <a:latin typeface="EYInterstate Light" pitchFamily="2" charset="0"/>
                <a:ea typeface="+mn-ea"/>
                <a:cs typeface="+mn-cs"/>
              </a:endParaRPr>
            </a:p>
          </p:txBody>
        </p:sp>
        <p:sp>
          <p:nvSpPr>
            <p:cNvPr id="74" name="Rectangle 19">
              <a:extLst>
                <a:ext uri="{FF2B5EF4-FFF2-40B4-BE49-F238E27FC236}">
                  <a16:creationId xmlns:a16="http://schemas.microsoft.com/office/drawing/2014/main" id="{CDBAD2DE-27AD-4147-8E04-47B4F18385BF}"/>
                </a:ext>
              </a:extLst>
            </p:cNvPr>
            <p:cNvSpPr>
              <a:spLocks noChangeArrowheads="1"/>
            </p:cNvSpPr>
            <p:nvPr/>
          </p:nvSpPr>
          <p:spPr bwMode="auto">
            <a:xfrm>
              <a:off x="4691" y="2565"/>
              <a:ext cx="278" cy="18"/>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50000"/>
                </a:spcAft>
                <a:buClr>
                  <a:srgbClr val="FFE600"/>
                </a:buClr>
                <a:buSzPct val="80000"/>
                <a:buFont typeface="Arial" charset="0"/>
                <a:buNone/>
                <a:tabLst/>
                <a:defRPr/>
              </a:pPr>
              <a:endParaRPr kumimoji="0" lang="en-US" sz="900" b="0" i="0" u="none" strike="noStrike" kern="1200" cap="none" spc="0" normalizeH="0" baseline="0" noProof="0">
                <a:ln>
                  <a:noFill/>
                </a:ln>
                <a:solidFill>
                  <a:srgbClr val="000000"/>
                </a:solidFill>
                <a:effectLst/>
                <a:uLnTx/>
                <a:uFillTx/>
                <a:latin typeface="EYInterstate Light" pitchFamily="2" charset="0"/>
                <a:ea typeface="+mn-ea"/>
                <a:cs typeface="+mn-cs"/>
              </a:endParaRPr>
            </a:p>
          </p:txBody>
        </p:sp>
        <p:sp>
          <p:nvSpPr>
            <p:cNvPr id="75" name="Rectangle 20">
              <a:extLst>
                <a:ext uri="{FF2B5EF4-FFF2-40B4-BE49-F238E27FC236}">
                  <a16:creationId xmlns:a16="http://schemas.microsoft.com/office/drawing/2014/main" id="{14C287CB-ECAD-4459-BA7E-ACA0D201FE8D}"/>
                </a:ext>
              </a:extLst>
            </p:cNvPr>
            <p:cNvSpPr>
              <a:spLocks noChangeArrowheads="1"/>
            </p:cNvSpPr>
            <p:nvPr/>
          </p:nvSpPr>
          <p:spPr bwMode="auto">
            <a:xfrm>
              <a:off x="4673" y="1929"/>
              <a:ext cx="18" cy="28"/>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50000"/>
                </a:spcAft>
                <a:buClr>
                  <a:srgbClr val="FFE600"/>
                </a:buClr>
                <a:buSzPct val="80000"/>
                <a:buFont typeface="Arial" charset="0"/>
                <a:buNone/>
                <a:tabLst/>
                <a:defRPr/>
              </a:pPr>
              <a:endParaRPr kumimoji="0" lang="en-US" sz="900" b="0" i="0" u="none" strike="noStrike" kern="1200" cap="none" spc="0" normalizeH="0" baseline="0" noProof="0">
                <a:ln>
                  <a:noFill/>
                </a:ln>
                <a:solidFill>
                  <a:srgbClr val="000000"/>
                </a:solidFill>
                <a:effectLst/>
                <a:uLnTx/>
                <a:uFillTx/>
                <a:latin typeface="EYInterstate Light" pitchFamily="2" charset="0"/>
                <a:ea typeface="+mn-ea"/>
                <a:cs typeface="+mn-cs"/>
              </a:endParaRPr>
            </a:p>
          </p:txBody>
        </p:sp>
        <p:sp>
          <p:nvSpPr>
            <p:cNvPr id="76" name="Rectangle 21">
              <a:extLst>
                <a:ext uri="{FF2B5EF4-FFF2-40B4-BE49-F238E27FC236}">
                  <a16:creationId xmlns:a16="http://schemas.microsoft.com/office/drawing/2014/main" id="{C577A06B-F76C-43AF-9364-7544A1924AB8}"/>
                </a:ext>
              </a:extLst>
            </p:cNvPr>
            <p:cNvSpPr>
              <a:spLocks noChangeArrowheads="1"/>
            </p:cNvSpPr>
            <p:nvPr/>
          </p:nvSpPr>
          <p:spPr bwMode="auto">
            <a:xfrm>
              <a:off x="4573" y="2023"/>
              <a:ext cx="18" cy="28"/>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50000"/>
                </a:spcAft>
                <a:buClr>
                  <a:srgbClr val="FFE600"/>
                </a:buClr>
                <a:buSzPct val="80000"/>
                <a:buFont typeface="Arial" charset="0"/>
                <a:buNone/>
                <a:tabLst/>
                <a:defRPr/>
              </a:pPr>
              <a:endParaRPr kumimoji="0" lang="en-US" sz="900" b="0" i="0" u="none" strike="noStrike" kern="1200" cap="none" spc="0" normalizeH="0" baseline="0" noProof="0">
                <a:ln>
                  <a:noFill/>
                </a:ln>
                <a:solidFill>
                  <a:srgbClr val="000000"/>
                </a:solidFill>
                <a:effectLst/>
                <a:uLnTx/>
                <a:uFillTx/>
                <a:latin typeface="EYInterstate Light" pitchFamily="2" charset="0"/>
                <a:ea typeface="+mn-ea"/>
                <a:cs typeface="+mn-cs"/>
              </a:endParaRPr>
            </a:p>
          </p:txBody>
        </p:sp>
        <p:sp>
          <p:nvSpPr>
            <p:cNvPr id="77" name="Rectangle 22">
              <a:extLst>
                <a:ext uri="{FF2B5EF4-FFF2-40B4-BE49-F238E27FC236}">
                  <a16:creationId xmlns:a16="http://schemas.microsoft.com/office/drawing/2014/main" id="{252B7962-8880-40A4-94AA-EB4486F4F912}"/>
                </a:ext>
              </a:extLst>
            </p:cNvPr>
            <p:cNvSpPr>
              <a:spLocks noChangeArrowheads="1"/>
            </p:cNvSpPr>
            <p:nvPr/>
          </p:nvSpPr>
          <p:spPr bwMode="auto">
            <a:xfrm>
              <a:off x="4821" y="1889"/>
              <a:ext cx="18" cy="28"/>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50000"/>
                </a:spcAft>
                <a:buClr>
                  <a:srgbClr val="FFE600"/>
                </a:buClr>
                <a:buSzPct val="80000"/>
                <a:buFont typeface="Arial" charset="0"/>
                <a:buNone/>
                <a:tabLst/>
                <a:defRPr/>
              </a:pPr>
              <a:endParaRPr kumimoji="0" lang="en-US" sz="900" b="0" i="0" u="none" strike="noStrike" kern="1200" cap="none" spc="0" normalizeH="0" baseline="0" noProof="0">
                <a:ln>
                  <a:noFill/>
                </a:ln>
                <a:solidFill>
                  <a:srgbClr val="000000"/>
                </a:solidFill>
                <a:effectLst/>
                <a:uLnTx/>
                <a:uFillTx/>
                <a:latin typeface="EYInterstate Light" pitchFamily="2" charset="0"/>
                <a:ea typeface="+mn-ea"/>
                <a:cs typeface="+mn-cs"/>
              </a:endParaRPr>
            </a:p>
          </p:txBody>
        </p:sp>
        <p:sp>
          <p:nvSpPr>
            <p:cNvPr id="78" name="Rectangle 23">
              <a:extLst>
                <a:ext uri="{FF2B5EF4-FFF2-40B4-BE49-F238E27FC236}">
                  <a16:creationId xmlns:a16="http://schemas.microsoft.com/office/drawing/2014/main" id="{A099C34E-5DF9-4CC0-90AF-EE57A4BDC4F0}"/>
                </a:ext>
              </a:extLst>
            </p:cNvPr>
            <p:cNvSpPr>
              <a:spLocks noChangeArrowheads="1"/>
            </p:cNvSpPr>
            <p:nvPr/>
          </p:nvSpPr>
          <p:spPr bwMode="auto">
            <a:xfrm>
              <a:off x="4969" y="1929"/>
              <a:ext cx="18" cy="28"/>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50000"/>
                </a:spcAft>
                <a:buClr>
                  <a:srgbClr val="FFE600"/>
                </a:buClr>
                <a:buSzPct val="80000"/>
                <a:buFont typeface="Arial" charset="0"/>
                <a:buNone/>
                <a:tabLst/>
                <a:defRPr/>
              </a:pPr>
              <a:endParaRPr kumimoji="0" lang="en-US" sz="900" b="0" i="0" u="none" strike="noStrike" kern="1200" cap="none" spc="0" normalizeH="0" baseline="0" noProof="0">
                <a:ln>
                  <a:noFill/>
                </a:ln>
                <a:solidFill>
                  <a:srgbClr val="000000"/>
                </a:solidFill>
                <a:effectLst/>
                <a:uLnTx/>
                <a:uFillTx/>
                <a:latin typeface="EYInterstate Light" pitchFamily="2" charset="0"/>
                <a:ea typeface="+mn-ea"/>
                <a:cs typeface="+mn-cs"/>
              </a:endParaRPr>
            </a:p>
          </p:txBody>
        </p:sp>
        <p:sp>
          <p:nvSpPr>
            <p:cNvPr id="79" name="Rectangle 24">
              <a:extLst>
                <a:ext uri="{FF2B5EF4-FFF2-40B4-BE49-F238E27FC236}">
                  <a16:creationId xmlns:a16="http://schemas.microsoft.com/office/drawing/2014/main" id="{B425BAC9-6C7C-4312-A54C-4C0A3A535AA2}"/>
                </a:ext>
              </a:extLst>
            </p:cNvPr>
            <p:cNvSpPr>
              <a:spLocks noChangeArrowheads="1"/>
            </p:cNvSpPr>
            <p:nvPr/>
          </p:nvSpPr>
          <p:spPr bwMode="auto">
            <a:xfrm>
              <a:off x="5063" y="2023"/>
              <a:ext cx="18" cy="28"/>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50000"/>
                </a:spcAft>
                <a:buClr>
                  <a:srgbClr val="FFE600"/>
                </a:buClr>
                <a:buSzPct val="80000"/>
                <a:buFont typeface="Arial" charset="0"/>
                <a:buNone/>
                <a:tabLst/>
                <a:defRPr/>
              </a:pPr>
              <a:endParaRPr kumimoji="0" lang="en-US" sz="900" b="0" i="0" u="none" strike="noStrike" kern="1200" cap="none" spc="0" normalizeH="0" baseline="0" noProof="0">
                <a:ln>
                  <a:noFill/>
                </a:ln>
                <a:solidFill>
                  <a:srgbClr val="000000"/>
                </a:solidFill>
                <a:effectLst/>
                <a:uLnTx/>
                <a:uFillTx/>
                <a:latin typeface="EYInterstate Light" pitchFamily="2" charset="0"/>
                <a:ea typeface="+mn-ea"/>
                <a:cs typeface="+mn-cs"/>
              </a:endParaRPr>
            </a:p>
          </p:txBody>
        </p:sp>
        <p:sp>
          <p:nvSpPr>
            <p:cNvPr id="80" name="Rectangle 25">
              <a:extLst>
                <a:ext uri="{FF2B5EF4-FFF2-40B4-BE49-F238E27FC236}">
                  <a16:creationId xmlns:a16="http://schemas.microsoft.com/office/drawing/2014/main" id="{BADA7BDE-7A3B-4E05-8BA7-DEA614FCA557}"/>
                </a:ext>
              </a:extLst>
            </p:cNvPr>
            <p:cNvSpPr>
              <a:spLocks noChangeArrowheads="1"/>
            </p:cNvSpPr>
            <p:nvPr/>
          </p:nvSpPr>
          <p:spPr bwMode="auto">
            <a:xfrm>
              <a:off x="4573" y="2319"/>
              <a:ext cx="18" cy="28"/>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50000"/>
                </a:spcAft>
                <a:buClr>
                  <a:srgbClr val="FFE600"/>
                </a:buClr>
                <a:buSzPct val="80000"/>
                <a:buFont typeface="Arial" charset="0"/>
                <a:buNone/>
                <a:tabLst/>
                <a:defRPr/>
              </a:pPr>
              <a:endParaRPr kumimoji="0" lang="en-US" sz="900" b="0" i="0" u="none" strike="noStrike" kern="1200" cap="none" spc="0" normalizeH="0" baseline="0" noProof="0">
                <a:ln>
                  <a:noFill/>
                </a:ln>
                <a:solidFill>
                  <a:srgbClr val="000000"/>
                </a:solidFill>
                <a:effectLst/>
                <a:uLnTx/>
                <a:uFillTx/>
                <a:latin typeface="EYInterstate Light" pitchFamily="2" charset="0"/>
                <a:ea typeface="+mn-ea"/>
                <a:cs typeface="+mn-cs"/>
              </a:endParaRPr>
            </a:p>
          </p:txBody>
        </p:sp>
        <p:sp>
          <p:nvSpPr>
            <p:cNvPr id="81" name="Rectangle 26">
              <a:extLst>
                <a:ext uri="{FF2B5EF4-FFF2-40B4-BE49-F238E27FC236}">
                  <a16:creationId xmlns:a16="http://schemas.microsoft.com/office/drawing/2014/main" id="{E9B3F321-4940-4AA8-94AB-C57C2D67B0B9}"/>
                </a:ext>
              </a:extLst>
            </p:cNvPr>
            <p:cNvSpPr>
              <a:spLocks noChangeArrowheads="1"/>
            </p:cNvSpPr>
            <p:nvPr/>
          </p:nvSpPr>
          <p:spPr bwMode="auto">
            <a:xfrm>
              <a:off x="5063" y="2319"/>
              <a:ext cx="18" cy="28"/>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50000"/>
                </a:spcAft>
                <a:buClr>
                  <a:srgbClr val="FFE600"/>
                </a:buClr>
                <a:buSzPct val="80000"/>
                <a:buFont typeface="Arial" charset="0"/>
                <a:buNone/>
                <a:tabLst/>
                <a:defRPr/>
              </a:pPr>
              <a:endParaRPr kumimoji="0" lang="en-US" sz="900" b="0" i="0" u="none" strike="noStrike" kern="1200" cap="none" spc="0" normalizeH="0" baseline="0" noProof="0">
                <a:ln>
                  <a:noFill/>
                </a:ln>
                <a:solidFill>
                  <a:srgbClr val="000000"/>
                </a:solidFill>
                <a:effectLst/>
                <a:uLnTx/>
                <a:uFillTx/>
                <a:latin typeface="EYInterstate Light" pitchFamily="2" charset="0"/>
                <a:ea typeface="+mn-ea"/>
                <a:cs typeface="+mn-cs"/>
              </a:endParaRPr>
            </a:p>
          </p:txBody>
        </p:sp>
        <p:sp>
          <p:nvSpPr>
            <p:cNvPr id="82" name="Rectangle 27">
              <a:extLst>
                <a:ext uri="{FF2B5EF4-FFF2-40B4-BE49-F238E27FC236}">
                  <a16:creationId xmlns:a16="http://schemas.microsoft.com/office/drawing/2014/main" id="{B301D6A0-2729-42E8-93E3-00644FB76269}"/>
                </a:ext>
              </a:extLst>
            </p:cNvPr>
            <p:cNvSpPr>
              <a:spLocks noChangeArrowheads="1"/>
            </p:cNvSpPr>
            <p:nvPr/>
          </p:nvSpPr>
          <p:spPr bwMode="auto">
            <a:xfrm>
              <a:off x="5103" y="2163"/>
              <a:ext cx="18" cy="30"/>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50000"/>
                </a:spcAft>
                <a:buClr>
                  <a:srgbClr val="FFE600"/>
                </a:buClr>
                <a:buSzPct val="80000"/>
                <a:buFont typeface="Arial" charset="0"/>
                <a:buNone/>
                <a:tabLst/>
                <a:defRPr/>
              </a:pPr>
              <a:endParaRPr kumimoji="0" lang="en-US" sz="900" b="0" i="0" u="none" strike="noStrike" kern="1200" cap="none" spc="0" normalizeH="0" baseline="0" noProof="0">
                <a:ln>
                  <a:noFill/>
                </a:ln>
                <a:solidFill>
                  <a:srgbClr val="000000"/>
                </a:solidFill>
                <a:effectLst/>
                <a:uLnTx/>
                <a:uFillTx/>
                <a:latin typeface="EYInterstate Light" pitchFamily="2" charset="0"/>
                <a:ea typeface="+mn-ea"/>
                <a:cs typeface="+mn-cs"/>
              </a:endParaRPr>
            </a:p>
          </p:txBody>
        </p:sp>
        <p:sp>
          <p:nvSpPr>
            <p:cNvPr id="83" name="Rectangle 28">
              <a:extLst>
                <a:ext uri="{FF2B5EF4-FFF2-40B4-BE49-F238E27FC236}">
                  <a16:creationId xmlns:a16="http://schemas.microsoft.com/office/drawing/2014/main" id="{BEA0107E-2BAA-4F1F-8ABB-705DE3BB0F3B}"/>
                </a:ext>
              </a:extLst>
            </p:cNvPr>
            <p:cNvSpPr>
              <a:spLocks noChangeArrowheads="1"/>
            </p:cNvSpPr>
            <p:nvPr/>
          </p:nvSpPr>
          <p:spPr bwMode="auto">
            <a:xfrm>
              <a:off x="4541" y="2163"/>
              <a:ext cx="18" cy="30"/>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50000"/>
                </a:spcAft>
                <a:buClr>
                  <a:srgbClr val="FFE600"/>
                </a:buClr>
                <a:buSzPct val="80000"/>
                <a:buFont typeface="Arial" charset="0"/>
                <a:buNone/>
                <a:tabLst/>
                <a:defRPr/>
              </a:pPr>
              <a:endParaRPr kumimoji="0" lang="en-US" sz="900" b="0" i="0" u="none" strike="noStrike" kern="1200" cap="none" spc="0" normalizeH="0" baseline="0" noProof="0">
                <a:ln>
                  <a:noFill/>
                </a:ln>
                <a:solidFill>
                  <a:srgbClr val="000000"/>
                </a:solidFill>
                <a:effectLst/>
                <a:uLnTx/>
                <a:uFillTx/>
                <a:latin typeface="EYInterstate Light" pitchFamily="2" charset="0"/>
                <a:ea typeface="+mn-ea"/>
                <a:cs typeface="+mn-cs"/>
              </a:endParaRPr>
            </a:p>
          </p:txBody>
        </p:sp>
        <p:sp>
          <p:nvSpPr>
            <p:cNvPr id="84" name="Rectangle 29">
              <a:extLst>
                <a:ext uri="{FF2B5EF4-FFF2-40B4-BE49-F238E27FC236}">
                  <a16:creationId xmlns:a16="http://schemas.microsoft.com/office/drawing/2014/main" id="{D0F7DE80-4202-4F4A-93B4-204AB297367C}"/>
                </a:ext>
              </a:extLst>
            </p:cNvPr>
            <p:cNvSpPr>
              <a:spLocks noChangeArrowheads="1"/>
            </p:cNvSpPr>
            <p:nvPr/>
          </p:nvSpPr>
          <p:spPr bwMode="auto">
            <a:xfrm>
              <a:off x="4795" y="2407"/>
              <a:ext cx="18" cy="86"/>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50000"/>
                </a:spcAft>
                <a:buClr>
                  <a:srgbClr val="FFE600"/>
                </a:buClr>
                <a:buSzPct val="80000"/>
                <a:buFont typeface="Arial" charset="0"/>
                <a:buNone/>
                <a:tabLst/>
                <a:defRPr/>
              </a:pPr>
              <a:endParaRPr kumimoji="0" lang="en-US" sz="900" b="0" i="0" u="none" strike="noStrike" kern="1200" cap="none" spc="0" normalizeH="0" baseline="0" noProof="0">
                <a:ln>
                  <a:noFill/>
                </a:ln>
                <a:solidFill>
                  <a:srgbClr val="000000"/>
                </a:solidFill>
                <a:effectLst/>
                <a:uLnTx/>
                <a:uFillTx/>
                <a:latin typeface="EYInterstate Light" pitchFamily="2" charset="0"/>
                <a:ea typeface="+mn-ea"/>
                <a:cs typeface="+mn-cs"/>
              </a:endParaRPr>
            </a:p>
          </p:txBody>
        </p:sp>
        <p:sp>
          <p:nvSpPr>
            <p:cNvPr id="85" name="Rectangle 30">
              <a:extLst>
                <a:ext uri="{FF2B5EF4-FFF2-40B4-BE49-F238E27FC236}">
                  <a16:creationId xmlns:a16="http://schemas.microsoft.com/office/drawing/2014/main" id="{0611ADF0-A051-455B-910D-D89D2EB013A4}"/>
                </a:ext>
              </a:extLst>
            </p:cNvPr>
            <p:cNvSpPr>
              <a:spLocks noChangeArrowheads="1"/>
            </p:cNvSpPr>
            <p:nvPr/>
          </p:nvSpPr>
          <p:spPr bwMode="auto">
            <a:xfrm>
              <a:off x="4847" y="2407"/>
              <a:ext cx="18" cy="86"/>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50000"/>
                </a:spcAft>
                <a:buClr>
                  <a:srgbClr val="FFE600"/>
                </a:buClr>
                <a:buSzPct val="80000"/>
                <a:buFont typeface="Arial" charset="0"/>
                <a:buNone/>
                <a:tabLst/>
                <a:defRPr/>
              </a:pPr>
              <a:endParaRPr kumimoji="0" lang="en-US" sz="900" b="0" i="0" u="none" strike="noStrike" kern="1200" cap="none" spc="0" normalizeH="0" baseline="0" noProof="0">
                <a:ln>
                  <a:noFill/>
                </a:ln>
                <a:solidFill>
                  <a:srgbClr val="000000"/>
                </a:solidFill>
                <a:effectLst/>
                <a:uLnTx/>
                <a:uFillTx/>
                <a:latin typeface="EYInterstate Light" pitchFamily="2" charset="0"/>
                <a:ea typeface="+mn-ea"/>
                <a:cs typeface="+mn-cs"/>
              </a:endParaRPr>
            </a:p>
          </p:txBody>
        </p:sp>
        <p:sp>
          <p:nvSpPr>
            <p:cNvPr id="86" name="Freeform 31">
              <a:extLst>
                <a:ext uri="{FF2B5EF4-FFF2-40B4-BE49-F238E27FC236}">
                  <a16:creationId xmlns:a16="http://schemas.microsoft.com/office/drawing/2014/main" id="{507101E4-9635-4253-AC02-B717C20E8B0D}"/>
                </a:ext>
              </a:extLst>
            </p:cNvPr>
            <p:cNvSpPr>
              <a:spLocks noEditPoints="1"/>
            </p:cNvSpPr>
            <p:nvPr/>
          </p:nvSpPr>
          <p:spPr bwMode="auto">
            <a:xfrm>
              <a:off x="4645" y="1999"/>
              <a:ext cx="370" cy="370"/>
            </a:xfrm>
            <a:custGeom>
              <a:avLst/>
              <a:gdLst>
                <a:gd name="T0" fmla="*/ 150 w 370"/>
                <a:gd name="T1" fmla="*/ 328 h 370"/>
                <a:gd name="T2" fmla="*/ 110 w 370"/>
                <a:gd name="T3" fmla="*/ 310 h 370"/>
                <a:gd name="T4" fmla="*/ 60 w 370"/>
                <a:gd name="T5" fmla="*/ 260 h 370"/>
                <a:gd name="T6" fmla="*/ 42 w 370"/>
                <a:gd name="T7" fmla="*/ 220 h 370"/>
                <a:gd name="T8" fmla="*/ 42 w 370"/>
                <a:gd name="T9" fmla="*/ 150 h 370"/>
                <a:gd name="T10" fmla="*/ 60 w 370"/>
                <a:gd name="T11" fmla="*/ 108 h 370"/>
                <a:gd name="T12" fmla="*/ 110 w 370"/>
                <a:gd name="T13" fmla="*/ 60 h 370"/>
                <a:gd name="T14" fmla="*/ 150 w 370"/>
                <a:gd name="T15" fmla="*/ 42 h 370"/>
                <a:gd name="T16" fmla="*/ 220 w 370"/>
                <a:gd name="T17" fmla="*/ 42 h 370"/>
                <a:gd name="T18" fmla="*/ 262 w 370"/>
                <a:gd name="T19" fmla="*/ 60 h 370"/>
                <a:gd name="T20" fmla="*/ 310 w 370"/>
                <a:gd name="T21" fmla="*/ 108 h 370"/>
                <a:gd name="T22" fmla="*/ 328 w 370"/>
                <a:gd name="T23" fmla="*/ 150 h 370"/>
                <a:gd name="T24" fmla="*/ 328 w 370"/>
                <a:gd name="T25" fmla="*/ 220 h 370"/>
                <a:gd name="T26" fmla="*/ 310 w 370"/>
                <a:gd name="T27" fmla="*/ 260 h 370"/>
                <a:gd name="T28" fmla="*/ 262 w 370"/>
                <a:gd name="T29" fmla="*/ 310 h 370"/>
                <a:gd name="T30" fmla="*/ 220 w 370"/>
                <a:gd name="T31" fmla="*/ 328 h 370"/>
                <a:gd name="T32" fmla="*/ 202 w 370"/>
                <a:gd name="T33" fmla="*/ 352 h 370"/>
                <a:gd name="T34" fmla="*/ 210 w 370"/>
                <a:gd name="T35" fmla="*/ 310 h 370"/>
                <a:gd name="T36" fmla="*/ 246 w 370"/>
                <a:gd name="T37" fmla="*/ 298 h 370"/>
                <a:gd name="T38" fmla="*/ 290 w 370"/>
                <a:gd name="T39" fmla="*/ 314 h 370"/>
                <a:gd name="T40" fmla="*/ 292 w 370"/>
                <a:gd name="T41" fmla="*/ 256 h 370"/>
                <a:gd name="T42" fmla="*/ 304 w 370"/>
                <a:gd name="T43" fmla="*/ 234 h 370"/>
                <a:gd name="T44" fmla="*/ 312 w 370"/>
                <a:gd name="T45" fmla="*/ 202 h 370"/>
                <a:gd name="T46" fmla="*/ 312 w 370"/>
                <a:gd name="T47" fmla="*/ 168 h 370"/>
                <a:gd name="T48" fmla="*/ 308 w 370"/>
                <a:gd name="T49" fmla="*/ 148 h 370"/>
                <a:gd name="T50" fmla="*/ 292 w 370"/>
                <a:gd name="T51" fmla="*/ 112 h 370"/>
                <a:gd name="T52" fmla="*/ 290 w 370"/>
                <a:gd name="T53" fmla="*/ 54 h 370"/>
                <a:gd name="T54" fmla="*/ 258 w 370"/>
                <a:gd name="T55" fmla="*/ 78 h 370"/>
                <a:gd name="T56" fmla="*/ 222 w 370"/>
                <a:gd name="T57" fmla="*/ 62 h 370"/>
                <a:gd name="T58" fmla="*/ 202 w 370"/>
                <a:gd name="T59" fmla="*/ 18 h 370"/>
                <a:gd name="T60" fmla="*/ 160 w 370"/>
                <a:gd name="T61" fmla="*/ 58 h 370"/>
                <a:gd name="T62" fmla="*/ 136 w 370"/>
                <a:gd name="T63" fmla="*/ 66 h 370"/>
                <a:gd name="T64" fmla="*/ 106 w 370"/>
                <a:gd name="T65" fmla="*/ 82 h 370"/>
                <a:gd name="T66" fmla="*/ 82 w 370"/>
                <a:gd name="T67" fmla="*/ 106 h 370"/>
                <a:gd name="T68" fmla="*/ 72 w 370"/>
                <a:gd name="T69" fmla="*/ 124 h 370"/>
                <a:gd name="T70" fmla="*/ 58 w 370"/>
                <a:gd name="T71" fmla="*/ 160 h 370"/>
                <a:gd name="T72" fmla="*/ 18 w 370"/>
                <a:gd name="T73" fmla="*/ 202 h 370"/>
                <a:gd name="T74" fmla="*/ 58 w 370"/>
                <a:gd name="T75" fmla="*/ 208 h 370"/>
                <a:gd name="T76" fmla="*/ 72 w 370"/>
                <a:gd name="T77" fmla="*/ 246 h 370"/>
                <a:gd name="T78" fmla="*/ 56 w 370"/>
                <a:gd name="T79" fmla="*/ 290 h 370"/>
                <a:gd name="T80" fmla="*/ 112 w 370"/>
                <a:gd name="T81" fmla="*/ 292 h 370"/>
                <a:gd name="T82" fmla="*/ 136 w 370"/>
                <a:gd name="T83" fmla="*/ 304 h 370"/>
                <a:gd name="T84" fmla="*/ 168 w 370"/>
                <a:gd name="T85" fmla="*/ 312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70" h="370">
                  <a:moveTo>
                    <a:pt x="220" y="370"/>
                  </a:moveTo>
                  <a:lnTo>
                    <a:pt x="150" y="370"/>
                  </a:lnTo>
                  <a:lnTo>
                    <a:pt x="150" y="328"/>
                  </a:lnTo>
                  <a:lnTo>
                    <a:pt x="150" y="328"/>
                  </a:lnTo>
                  <a:lnTo>
                    <a:pt x="128" y="320"/>
                  </a:lnTo>
                  <a:lnTo>
                    <a:pt x="110" y="310"/>
                  </a:lnTo>
                  <a:lnTo>
                    <a:pt x="80" y="340"/>
                  </a:lnTo>
                  <a:lnTo>
                    <a:pt x="30" y="290"/>
                  </a:lnTo>
                  <a:lnTo>
                    <a:pt x="60" y="260"/>
                  </a:lnTo>
                  <a:lnTo>
                    <a:pt x="60" y="260"/>
                  </a:lnTo>
                  <a:lnTo>
                    <a:pt x="50" y="240"/>
                  </a:lnTo>
                  <a:lnTo>
                    <a:pt x="42" y="220"/>
                  </a:lnTo>
                  <a:lnTo>
                    <a:pt x="0" y="220"/>
                  </a:lnTo>
                  <a:lnTo>
                    <a:pt x="0" y="150"/>
                  </a:lnTo>
                  <a:lnTo>
                    <a:pt x="42" y="150"/>
                  </a:lnTo>
                  <a:lnTo>
                    <a:pt x="42" y="150"/>
                  </a:lnTo>
                  <a:lnTo>
                    <a:pt x="50" y="128"/>
                  </a:lnTo>
                  <a:lnTo>
                    <a:pt x="60" y="108"/>
                  </a:lnTo>
                  <a:lnTo>
                    <a:pt x="30" y="78"/>
                  </a:lnTo>
                  <a:lnTo>
                    <a:pt x="80" y="30"/>
                  </a:lnTo>
                  <a:lnTo>
                    <a:pt x="110" y="60"/>
                  </a:lnTo>
                  <a:lnTo>
                    <a:pt x="110" y="60"/>
                  </a:lnTo>
                  <a:lnTo>
                    <a:pt x="128" y="50"/>
                  </a:lnTo>
                  <a:lnTo>
                    <a:pt x="150" y="42"/>
                  </a:lnTo>
                  <a:lnTo>
                    <a:pt x="150" y="0"/>
                  </a:lnTo>
                  <a:lnTo>
                    <a:pt x="220" y="0"/>
                  </a:lnTo>
                  <a:lnTo>
                    <a:pt x="220" y="42"/>
                  </a:lnTo>
                  <a:lnTo>
                    <a:pt x="220" y="42"/>
                  </a:lnTo>
                  <a:lnTo>
                    <a:pt x="242" y="50"/>
                  </a:lnTo>
                  <a:lnTo>
                    <a:pt x="262" y="60"/>
                  </a:lnTo>
                  <a:lnTo>
                    <a:pt x="290" y="30"/>
                  </a:lnTo>
                  <a:lnTo>
                    <a:pt x="340" y="78"/>
                  </a:lnTo>
                  <a:lnTo>
                    <a:pt x="310" y="108"/>
                  </a:lnTo>
                  <a:lnTo>
                    <a:pt x="310" y="108"/>
                  </a:lnTo>
                  <a:lnTo>
                    <a:pt x="320" y="128"/>
                  </a:lnTo>
                  <a:lnTo>
                    <a:pt x="328" y="150"/>
                  </a:lnTo>
                  <a:lnTo>
                    <a:pt x="370" y="150"/>
                  </a:lnTo>
                  <a:lnTo>
                    <a:pt x="370" y="220"/>
                  </a:lnTo>
                  <a:lnTo>
                    <a:pt x="328" y="220"/>
                  </a:lnTo>
                  <a:lnTo>
                    <a:pt x="328" y="220"/>
                  </a:lnTo>
                  <a:lnTo>
                    <a:pt x="320" y="240"/>
                  </a:lnTo>
                  <a:lnTo>
                    <a:pt x="310" y="260"/>
                  </a:lnTo>
                  <a:lnTo>
                    <a:pt x="340" y="290"/>
                  </a:lnTo>
                  <a:lnTo>
                    <a:pt x="290" y="340"/>
                  </a:lnTo>
                  <a:lnTo>
                    <a:pt x="262" y="310"/>
                  </a:lnTo>
                  <a:lnTo>
                    <a:pt x="262" y="310"/>
                  </a:lnTo>
                  <a:lnTo>
                    <a:pt x="242" y="320"/>
                  </a:lnTo>
                  <a:lnTo>
                    <a:pt x="220" y="328"/>
                  </a:lnTo>
                  <a:lnTo>
                    <a:pt x="220" y="370"/>
                  </a:lnTo>
                  <a:close/>
                  <a:moveTo>
                    <a:pt x="168" y="352"/>
                  </a:moveTo>
                  <a:lnTo>
                    <a:pt x="202" y="352"/>
                  </a:lnTo>
                  <a:lnTo>
                    <a:pt x="202" y="312"/>
                  </a:lnTo>
                  <a:lnTo>
                    <a:pt x="210" y="310"/>
                  </a:lnTo>
                  <a:lnTo>
                    <a:pt x="210" y="310"/>
                  </a:lnTo>
                  <a:lnTo>
                    <a:pt x="222" y="308"/>
                  </a:lnTo>
                  <a:lnTo>
                    <a:pt x="234" y="304"/>
                  </a:lnTo>
                  <a:lnTo>
                    <a:pt x="246" y="298"/>
                  </a:lnTo>
                  <a:lnTo>
                    <a:pt x="258" y="292"/>
                  </a:lnTo>
                  <a:lnTo>
                    <a:pt x="264" y="288"/>
                  </a:lnTo>
                  <a:lnTo>
                    <a:pt x="290" y="314"/>
                  </a:lnTo>
                  <a:lnTo>
                    <a:pt x="314" y="290"/>
                  </a:lnTo>
                  <a:lnTo>
                    <a:pt x="288" y="264"/>
                  </a:lnTo>
                  <a:lnTo>
                    <a:pt x="292" y="256"/>
                  </a:lnTo>
                  <a:lnTo>
                    <a:pt x="292" y="256"/>
                  </a:lnTo>
                  <a:lnTo>
                    <a:pt x="298" y="246"/>
                  </a:lnTo>
                  <a:lnTo>
                    <a:pt x="304" y="234"/>
                  </a:lnTo>
                  <a:lnTo>
                    <a:pt x="308" y="222"/>
                  </a:lnTo>
                  <a:lnTo>
                    <a:pt x="312" y="208"/>
                  </a:lnTo>
                  <a:lnTo>
                    <a:pt x="312" y="202"/>
                  </a:lnTo>
                  <a:lnTo>
                    <a:pt x="352" y="202"/>
                  </a:lnTo>
                  <a:lnTo>
                    <a:pt x="352" y="168"/>
                  </a:lnTo>
                  <a:lnTo>
                    <a:pt x="312" y="168"/>
                  </a:lnTo>
                  <a:lnTo>
                    <a:pt x="312" y="160"/>
                  </a:lnTo>
                  <a:lnTo>
                    <a:pt x="312" y="160"/>
                  </a:lnTo>
                  <a:lnTo>
                    <a:pt x="308" y="148"/>
                  </a:lnTo>
                  <a:lnTo>
                    <a:pt x="304" y="136"/>
                  </a:lnTo>
                  <a:lnTo>
                    <a:pt x="298" y="124"/>
                  </a:lnTo>
                  <a:lnTo>
                    <a:pt x="292" y="112"/>
                  </a:lnTo>
                  <a:lnTo>
                    <a:pt x="288" y="106"/>
                  </a:lnTo>
                  <a:lnTo>
                    <a:pt x="314" y="78"/>
                  </a:lnTo>
                  <a:lnTo>
                    <a:pt x="290" y="54"/>
                  </a:lnTo>
                  <a:lnTo>
                    <a:pt x="264" y="82"/>
                  </a:lnTo>
                  <a:lnTo>
                    <a:pt x="258" y="78"/>
                  </a:lnTo>
                  <a:lnTo>
                    <a:pt x="258" y="78"/>
                  </a:lnTo>
                  <a:lnTo>
                    <a:pt x="246" y="72"/>
                  </a:lnTo>
                  <a:lnTo>
                    <a:pt x="234" y="66"/>
                  </a:lnTo>
                  <a:lnTo>
                    <a:pt x="222" y="62"/>
                  </a:lnTo>
                  <a:lnTo>
                    <a:pt x="210" y="58"/>
                  </a:lnTo>
                  <a:lnTo>
                    <a:pt x="202" y="56"/>
                  </a:lnTo>
                  <a:lnTo>
                    <a:pt x="202" y="18"/>
                  </a:lnTo>
                  <a:lnTo>
                    <a:pt x="168" y="18"/>
                  </a:lnTo>
                  <a:lnTo>
                    <a:pt x="168" y="56"/>
                  </a:lnTo>
                  <a:lnTo>
                    <a:pt x="160" y="58"/>
                  </a:lnTo>
                  <a:lnTo>
                    <a:pt x="160" y="58"/>
                  </a:lnTo>
                  <a:lnTo>
                    <a:pt x="148" y="62"/>
                  </a:lnTo>
                  <a:lnTo>
                    <a:pt x="136" y="66"/>
                  </a:lnTo>
                  <a:lnTo>
                    <a:pt x="124" y="72"/>
                  </a:lnTo>
                  <a:lnTo>
                    <a:pt x="112" y="78"/>
                  </a:lnTo>
                  <a:lnTo>
                    <a:pt x="106" y="82"/>
                  </a:lnTo>
                  <a:lnTo>
                    <a:pt x="80" y="54"/>
                  </a:lnTo>
                  <a:lnTo>
                    <a:pt x="56" y="78"/>
                  </a:lnTo>
                  <a:lnTo>
                    <a:pt x="82" y="106"/>
                  </a:lnTo>
                  <a:lnTo>
                    <a:pt x="78" y="112"/>
                  </a:lnTo>
                  <a:lnTo>
                    <a:pt x="78" y="112"/>
                  </a:lnTo>
                  <a:lnTo>
                    <a:pt x="72" y="124"/>
                  </a:lnTo>
                  <a:lnTo>
                    <a:pt x="66" y="136"/>
                  </a:lnTo>
                  <a:lnTo>
                    <a:pt x="62" y="148"/>
                  </a:lnTo>
                  <a:lnTo>
                    <a:pt x="58" y="160"/>
                  </a:lnTo>
                  <a:lnTo>
                    <a:pt x="58" y="168"/>
                  </a:lnTo>
                  <a:lnTo>
                    <a:pt x="18" y="168"/>
                  </a:lnTo>
                  <a:lnTo>
                    <a:pt x="18" y="202"/>
                  </a:lnTo>
                  <a:lnTo>
                    <a:pt x="58" y="202"/>
                  </a:lnTo>
                  <a:lnTo>
                    <a:pt x="58" y="208"/>
                  </a:lnTo>
                  <a:lnTo>
                    <a:pt x="58" y="208"/>
                  </a:lnTo>
                  <a:lnTo>
                    <a:pt x="62" y="222"/>
                  </a:lnTo>
                  <a:lnTo>
                    <a:pt x="66" y="234"/>
                  </a:lnTo>
                  <a:lnTo>
                    <a:pt x="72" y="246"/>
                  </a:lnTo>
                  <a:lnTo>
                    <a:pt x="78" y="256"/>
                  </a:lnTo>
                  <a:lnTo>
                    <a:pt x="82" y="264"/>
                  </a:lnTo>
                  <a:lnTo>
                    <a:pt x="56" y="290"/>
                  </a:lnTo>
                  <a:lnTo>
                    <a:pt x="80" y="314"/>
                  </a:lnTo>
                  <a:lnTo>
                    <a:pt x="106" y="288"/>
                  </a:lnTo>
                  <a:lnTo>
                    <a:pt x="112" y="292"/>
                  </a:lnTo>
                  <a:lnTo>
                    <a:pt x="112" y="292"/>
                  </a:lnTo>
                  <a:lnTo>
                    <a:pt x="124" y="298"/>
                  </a:lnTo>
                  <a:lnTo>
                    <a:pt x="136" y="304"/>
                  </a:lnTo>
                  <a:lnTo>
                    <a:pt x="148" y="308"/>
                  </a:lnTo>
                  <a:lnTo>
                    <a:pt x="160" y="310"/>
                  </a:lnTo>
                  <a:lnTo>
                    <a:pt x="168" y="312"/>
                  </a:lnTo>
                  <a:lnTo>
                    <a:pt x="168" y="35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50000"/>
                </a:spcAft>
                <a:buClr>
                  <a:srgbClr val="FFE600"/>
                </a:buClr>
                <a:buSzPct val="80000"/>
                <a:buFont typeface="Arial" charset="0"/>
                <a:buNone/>
                <a:tabLst/>
                <a:defRPr/>
              </a:pPr>
              <a:endParaRPr kumimoji="0" lang="en-US" sz="900" b="0" i="0" u="none" strike="noStrike" kern="1200" cap="none" spc="0" normalizeH="0" baseline="0" noProof="0">
                <a:ln>
                  <a:noFill/>
                </a:ln>
                <a:solidFill>
                  <a:srgbClr val="000000"/>
                </a:solidFill>
                <a:effectLst/>
                <a:uLnTx/>
                <a:uFillTx/>
                <a:latin typeface="EYInterstate Light" pitchFamily="2" charset="0"/>
                <a:ea typeface="+mn-ea"/>
                <a:cs typeface="+mn-cs"/>
              </a:endParaRPr>
            </a:p>
          </p:txBody>
        </p:sp>
        <p:sp>
          <p:nvSpPr>
            <p:cNvPr id="87" name="Freeform 32">
              <a:extLst>
                <a:ext uri="{FF2B5EF4-FFF2-40B4-BE49-F238E27FC236}">
                  <a16:creationId xmlns:a16="http://schemas.microsoft.com/office/drawing/2014/main" id="{73848B1A-6CEA-4FEA-990A-6B5A93BB6908}"/>
                </a:ext>
              </a:extLst>
            </p:cNvPr>
            <p:cNvSpPr>
              <a:spLocks noEditPoints="1"/>
            </p:cNvSpPr>
            <p:nvPr/>
          </p:nvSpPr>
          <p:spPr bwMode="auto">
            <a:xfrm>
              <a:off x="4731" y="2085"/>
              <a:ext cx="198" cy="196"/>
            </a:xfrm>
            <a:custGeom>
              <a:avLst/>
              <a:gdLst>
                <a:gd name="T0" fmla="*/ 100 w 198"/>
                <a:gd name="T1" fmla="*/ 196 h 196"/>
                <a:gd name="T2" fmla="*/ 60 w 198"/>
                <a:gd name="T3" fmla="*/ 190 h 196"/>
                <a:gd name="T4" fmla="*/ 30 w 198"/>
                <a:gd name="T5" fmla="*/ 168 h 196"/>
                <a:gd name="T6" fmla="*/ 8 w 198"/>
                <a:gd name="T7" fmla="*/ 136 h 196"/>
                <a:gd name="T8" fmla="*/ 0 w 198"/>
                <a:gd name="T9" fmla="*/ 98 h 196"/>
                <a:gd name="T10" fmla="*/ 2 w 198"/>
                <a:gd name="T11" fmla="*/ 78 h 196"/>
                <a:gd name="T12" fmla="*/ 18 w 198"/>
                <a:gd name="T13" fmla="*/ 44 h 196"/>
                <a:gd name="T14" fmla="*/ 44 w 198"/>
                <a:gd name="T15" fmla="*/ 18 h 196"/>
                <a:gd name="T16" fmla="*/ 80 w 198"/>
                <a:gd name="T17" fmla="*/ 2 h 196"/>
                <a:gd name="T18" fmla="*/ 100 w 198"/>
                <a:gd name="T19" fmla="*/ 0 h 196"/>
                <a:gd name="T20" fmla="*/ 138 w 198"/>
                <a:gd name="T21" fmla="*/ 8 h 196"/>
                <a:gd name="T22" fmla="*/ 168 w 198"/>
                <a:gd name="T23" fmla="*/ 30 h 196"/>
                <a:gd name="T24" fmla="*/ 190 w 198"/>
                <a:gd name="T25" fmla="*/ 60 h 196"/>
                <a:gd name="T26" fmla="*/ 198 w 198"/>
                <a:gd name="T27" fmla="*/ 98 h 196"/>
                <a:gd name="T28" fmla="*/ 196 w 198"/>
                <a:gd name="T29" fmla="*/ 118 h 196"/>
                <a:gd name="T30" fmla="*/ 180 w 198"/>
                <a:gd name="T31" fmla="*/ 154 h 196"/>
                <a:gd name="T32" fmla="*/ 154 w 198"/>
                <a:gd name="T33" fmla="*/ 180 h 196"/>
                <a:gd name="T34" fmla="*/ 118 w 198"/>
                <a:gd name="T35" fmla="*/ 194 h 196"/>
                <a:gd name="T36" fmla="*/ 100 w 198"/>
                <a:gd name="T37" fmla="*/ 196 h 196"/>
                <a:gd name="T38" fmla="*/ 100 w 198"/>
                <a:gd name="T39" fmla="*/ 18 h 196"/>
                <a:gd name="T40" fmla="*/ 68 w 198"/>
                <a:gd name="T41" fmla="*/ 24 h 196"/>
                <a:gd name="T42" fmla="*/ 42 w 198"/>
                <a:gd name="T43" fmla="*/ 42 h 196"/>
                <a:gd name="T44" fmla="*/ 26 w 198"/>
                <a:gd name="T45" fmla="*/ 68 h 196"/>
                <a:gd name="T46" fmla="*/ 18 w 198"/>
                <a:gd name="T47" fmla="*/ 98 h 196"/>
                <a:gd name="T48" fmla="*/ 20 w 198"/>
                <a:gd name="T49" fmla="*/ 114 h 196"/>
                <a:gd name="T50" fmla="*/ 32 w 198"/>
                <a:gd name="T51" fmla="*/ 144 h 196"/>
                <a:gd name="T52" fmla="*/ 54 w 198"/>
                <a:gd name="T53" fmla="*/ 166 h 196"/>
                <a:gd name="T54" fmla="*/ 82 w 198"/>
                <a:gd name="T55" fmla="*/ 178 h 196"/>
                <a:gd name="T56" fmla="*/ 100 w 198"/>
                <a:gd name="T57" fmla="*/ 178 h 196"/>
                <a:gd name="T58" fmla="*/ 130 w 198"/>
                <a:gd name="T59" fmla="*/ 172 h 196"/>
                <a:gd name="T60" fmla="*/ 156 w 198"/>
                <a:gd name="T61" fmla="*/ 156 h 196"/>
                <a:gd name="T62" fmla="*/ 174 w 198"/>
                <a:gd name="T63" fmla="*/ 130 h 196"/>
                <a:gd name="T64" fmla="*/ 180 w 198"/>
                <a:gd name="T65" fmla="*/ 98 h 196"/>
                <a:gd name="T66" fmla="*/ 178 w 198"/>
                <a:gd name="T67" fmla="*/ 82 h 196"/>
                <a:gd name="T68" fmla="*/ 166 w 198"/>
                <a:gd name="T69" fmla="*/ 54 h 196"/>
                <a:gd name="T70" fmla="*/ 144 w 198"/>
                <a:gd name="T71" fmla="*/ 32 h 196"/>
                <a:gd name="T72" fmla="*/ 116 w 198"/>
                <a:gd name="T73" fmla="*/ 20 h 196"/>
                <a:gd name="T74" fmla="*/ 100 w 198"/>
                <a:gd name="T75" fmla="*/ 18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98" h="196">
                  <a:moveTo>
                    <a:pt x="100" y="196"/>
                  </a:moveTo>
                  <a:lnTo>
                    <a:pt x="100" y="196"/>
                  </a:lnTo>
                  <a:lnTo>
                    <a:pt x="80" y="194"/>
                  </a:lnTo>
                  <a:lnTo>
                    <a:pt x="60" y="190"/>
                  </a:lnTo>
                  <a:lnTo>
                    <a:pt x="44" y="180"/>
                  </a:lnTo>
                  <a:lnTo>
                    <a:pt x="30" y="168"/>
                  </a:lnTo>
                  <a:lnTo>
                    <a:pt x="18" y="154"/>
                  </a:lnTo>
                  <a:lnTo>
                    <a:pt x="8" y="136"/>
                  </a:lnTo>
                  <a:lnTo>
                    <a:pt x="2" y="118"/>
                  </a:lnTo>
                  <a:lnTo>
                    <a:pt x="0" y="98"/>
                  </a:lnTo>
                  <a:lnTo>
                    <a:pt x="0" y="98"/>
                  </a:lnTo>
                  <a:lnTo>
                    <a:pt x="2" y="78"/>
                  </a:lnTo>
                  <a:lnTo>
                    <a:pt x="8" y="60"/>
                  </a:lnTo>
                  <a:lnTo>
                    <a:pt x="18" y="44"/>
                  </a:lnTo>
                  <a:lnTo>
                    <a:pt x="30" y="30"/>
                  </a:lnTo>
                  <a:lnTo>
                    <a:pt x="44" y="18"/>
                  </a:lnTo>
                  <a:lnTo>
                    <a:pt x="60" y="8"/>
                  </a:lnTo>
                  <a:lnTo>
                    <a:pt x="80" y="2"/>
                  </a:lnTo>
                  <a:lnTo>
                    <a:pt x="100" y="0"/>
                  </a:lnTo>
                  <a:lnTo>
                    <a:pt x="100" y="0"/>
                  </a:lnTo>
                  <a:lnTo>
                    <a:pt x="118" y="2"/>
                  </a:lnTo>
                  <a:lnTo>
                    <a:pt x="138" y="8"/>
                  </a:lnTo>
                  <a:lnTo>
                    <a:pt x="154" y="18"/>
                  </a:lnTo>
                  <a:lnTo>
                    <a:pt x="168" y="30"/>
                  </a:lnTo>
                  <a:lnTo>
                    <a:pt x="180" y="44"/>
                  </a:lnTo>
                  <a:lnTo>
                    <a:pt x="190" y="60"/>
                  </a:lnTo>
                  <a:lnTo>
                    <a:pt x="196" y="78"/>
                  </a:lnTo>
                  <a:lnTo>
                    <a:pt x="198" y="98"/>
                  </a:lnTo>
                  <a:lnTo>
                    <a:pt x="198" y="98"/>
                  </a:lnTo>
                  <a:lnTo>
                    <a:pt x="196" y="118"/>
                  </a:lnTo>
                  <a:lnTo>
                    <a:pt x="190" y="136"/>
                  </a:lnTo>
                  <a:lnTo>
                    <a:pt x="180" y="154"/>
                  </a:lnTo>
                  <a:lnTo>
                    <a:pt x="168" y="168"/>
                  </a:lnTo>
                  <a:lnTo>
                    <a:pt x="154" y="180"/>
                  </a:lnTo>
                  <a:lnTo>
                    <a:pt x="138" y="190"/>
                  </a:lnTo>
                  <a:lnTo>
                    <a:pt x="118" y="194"/>
                  </a:lnTo>
                  <a:lnTo>
                    <a:pt x="100" y="196"/>
                  </a:lnTo>
                  <a:lnTo>
                    <a:pt x="100" y="196"/>
                  </a:lnTo>
                  <a:close/>
                  <a:moveTo>
                    <a:pt x="100" y="18"/>
                  </a:moveTo>
                  <a:lnTo>
                    <a:pt x="100" y="18"/>
                  </a:lnTo>
                  <a:lnTo>
                    <a:pt x="82" y="20"/>
                  </a:lnTo>
                  <a:lnTo>
                    <a:pt x="68" y="24"/>
                  </a:lnTo>
                  <a:lnTo>
                    <a:pt x="54" y="32"/>
                  </a:lnTo>
                  <a:lnTo>
                    <a:pt x="42" y="42"/>
                  </a:lnTo>
                  <a:lnTo>
                    <a:pt x="32" y="54"/>
                  </a:lnTo>
                  <a:lnTo>
                    <a:pt x="26" y="68"/>
                  </a:lnTo>
                  <a:lnTo>
                    <a:pt x="20" y="82"/>
                  </a:lnTo>
                  <a:lnTo>
                    <a:pt x="18" y="98"/>
                  </a:lnTo>
                  <a:lnTo>
                    <a:pt x="18" y="98"/>
                  </a:lnTo>
                  <a:lnTo>
                    <a:pt x="20" y="114"/>
                  </a:lnTo>
                  <a:lnTo>
                    <a:pt x="26" y="130"/>
                  </a:lnTo>
                  <a:lnTo>
                    <a:pt x="32" y="144"/>
                  </a:lnTo>
                  <a:lnTo>
                    <a:pt x="42" y="156"/>
                  </a:lnTo>
                  <a:lnTo>
                    <a:pt x="54" y="166"/>
                  </a:lnTo>
                  <a:lnTo>
                    <a:pt x="68" y="172"/>
                  </a:lnTo>
                  <a:lnTo>
                    <a:pt x="82" y="178"/>
                  </a:lnTo>
                  <a:lnTo>
                    <a:pt x="100" y="178"/>
                  </a:lnTo>
                  <a:lnTo>
                    <a:pt x="100" y="178"/>
                  </a:lnTo>
                  <a:lnTo>
                    <a:pt x="116" y="178"/>
                  </a:lnTo>
                  <a:lnTo>
                    <a:pt x="130" y="172"/>
                  </a:lnTo>
                  <a:lnTo>
                    <a:pt x="144" y="166"/>
                  </a:lnTo>
                  <a:lnTo>
                    <a:pt x="156" y="156"/>
                  </a:lnTo>
                  <a:lnTo>
                    <a:pt x="166" y="144"/>
                  </a:lnTo>
                  <a:lnTo>
                    <a:pt x="174" y="130"/>
                  </a:lnTo>
                  <a:lnTo>
                    <a:pt x="178" y="114"/>
                  </a:lnTo>
                  <a:lnTo>
                    <a:pt x="180" y="98"/>
                  </a:lnTo>
                  <a:lnTo>
                    <a:pt x="180" y="98"/>
                  </a:lnTo>
                  <a:lnTo>
                    <a:pt x="178" y="82"/>
                  </a:lnTo>
                  <a:lnTo>
                    <a:pt x="174" y="68"/>
                  </a:lnTo>
                  <a:lnTo>
                    <a:pt x="166" y="54"/>
                  </a:lnTo>
                  <a:lnTo>
                    <a:pt x="156" y="42"/>
                  </a:lnTo>
                  <a:lnTo>
                    <a:pt x="144" y="32"/>
                  </a:lnTo>
                  <a:lnTo>
                    <a:pt x="130" y="24"/>
                  </a:lnTo>
                  <a:lnTo>
                    <a:pt x="116" y="20"/>
                  </a:lnTo>
                  <a:lnTo>
                    <a:pt x="100" y="18"/>
                  </a:lnTo>
                  <a:lnTo>
                    <a:pt x="100" y="1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50000"/>
                </a:spcAft>
                <a:buClr>
                  <a:srgbClr val="FFE600"/>
                </a:buClr>
                <a:buSzPct val="80000"/>
                <a:buFont typeface="Arial" charset="0"/>
                <a:buNone/>
                <a:tabLst/>
                <a:defRPr/>
              </a:pPr>
              <a:endParaRPr kumimoji="0" lang="en-US" sz="900" b="0" i="0" u="none" strike="noStrike" kern="1200" cap="none" spc="0" normalizeH="0" baseline="0" noProof="0">
                <a:ln>
                  <a:noFill/>
                </a:ln>
                <a:solidFill>
                  <a:srgbClr val="000000"/>
                </a:solidFill>
                <a:effectLst/>
                <a:uLnTx/>
                <a:uFillTx/>
                <a:latin typeface="EYInterstate Light" pitchFamily="2" charset="0"/>
                <a:ea typeface="+mn-ea"/>
                <a:cs typeface="+mn-cs"/>
              </a:endParaRPr>
            </a:p>
          </p:txBody>
        </p:sp>
      </p:grpSp>
      <p:grpSp>
        <p:nvGrpSpPr>
          <p:cNvPr id="88" name="Group 87">
            <a:extLst>
              <a:ext uri="{FF2B5EF4-FFF2-40B4-BE49-F238E27FC236}">
                <a16:creationId xmlns:a16="http://schemas.microsoft.com/office/drawing/2014/main" id="{73469774-2B5D-43E4-BD74-927E5BEC49AB}"/>
              </a:ext>
            </a:extLst>
          </p:cNvPr>
          <p:cNvGrpSpPr/>
          <p:nvPr/>
        </p:nvGrpSpPr>
        <p:grpSpPr>
          <a:xfrm>
            <a:off x="7263575" y="4573287"/>
            <a:ext cx="898885" cy="667156"/>
            <a:chOff x="11681887" y="4573638"/>
            <a:chExt cx="695051" cy="439464"/>
          </a:xfrm>
          <a:solidFill>
            <a:schemeClr val="accent5"/>
          </a:solidFill>
        </p:grpSpPr>
        <p:pic>
          <p:nvPicPr>
            <p:cNvPr id="89" name="Graphic 88" descr="Database">
              <a:extLst>
                <a:ext uri="{FF2B5EF4-FFF2-40B4-BE49-F238E27FC236}">
                  <a16:creationId xmlns:a16="http://schemas.microsoft.com/office/drawing/2014/main" id="{BFA7025C-8569-4081-9DB4-29A2253DDF05}"/>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1681887" y="4573638"/>
              <a:ext cx="365760" cy="365760"/>
            </a:xfrm>
            <a:prstGeom prst="rect">
              <a:avLst/>
            </a:prstGeom>
          </p:spPr>
        </p:pic>
        <p:grpSp>
          <p:nvGrpSpPr>
            <p:cNvPr id="90" name="Group 89">
              <a:extLst>
                <a:ext uri="{FF2B5EF4-FFF2-40B4-BE49-F238E27FC236}">
                  <a16:creationId xmlns:a16="http://schemas.microsoft.com/office/drawing/2014/main" id="{8E6B0C03-7E44-42AC-8216-EE45DDE3009B}"/>
                </a:ext>
              </a:extLst>
            </p:cNvPr>
            <p:cNvGrpSpPr>
              <a:grpSpLocks noChangeAspect="1"/>
            </p:cNvGrpSpPr>
            <p:nvPr/>
          </p:nvGrpSpPr>
          <p:grpSpPr>
            <a:xfrm>
              <a:off x="11965056" y="4647342"/>
              <a:ext cx="411882" cy="365760"/>
              <a:chOff x="5057775" y="3090863"/>
              <a:chExt cx="1219200" cy="1082675"/>
            </a:xfrm>
            <a:grpFill/>
          </p:grpSpPr>
          <p:sp>
            <p:nvSpPr>
              <p:cNvPr id="91" name="Freeform 16">
                <a:extLst>
                  <a:ext uri="{FF2B5EF4-FFF2-40B4-BE49-F238E27FC236}">
                    <a16:creationId xmlns:a16="http://schemas.microsoft.com/office/drawing/2014/main" id="{CB4B5662-3804-4D3B-A2F4-15639F02F9CF}"/>
                  </a:ext>
                </a:extLst>
              </p:cNvPr>
              <p:cNvSpPr>
                <a:spLocks/>
              </p:cNvSpPr>
              <p:nvPr/>
            </p:nvSpPr>
            <p:spPr bwMode="auto">
              <a:xfrm>
                <a:off x="5603875" y="3649663"/>
                <a:ext cx="127000" cy="79375"/>
              </a:xfrm>
              <a:custGeom>
                <a:avLst/>
                <a:gdLst>
                  <a:gd name="T0" fmla="*/ 40 w 80"/>
                  <a:gd name="T1" fmla="*/ 50 h 50"/>
                  <a:gd name="T2" fmla="*/ 40 w 80"/>
                  <a:gd name="T3" fmla="*/ 50 h 50"/>
                  <a:gd name="T4" fmla="*/ 32 w 80"/>
                  <a:gd name="T5" fmla="*/ 48 h 50"/>
                  <a:gd name="T6" fmla="*/ 26 w 80"/>
                  <a:gd name="T7" fmla="*/ 46 h 50"/>
                  <a:gd name="T8" fmla="*/ 18 w 80"/>
                  <a:gd name="T9" fmla="*/ 42 h 50"/>
                  <a:gd name="T10" fmla="*/ 12 w 80"/>
                  <a:gd name="T11" fmla="*/ 38 h 50"/>
                  <a:gd name="T12" fmla="*/ 8 w 80"/>
                  <a:gd name="T13" fmla="*/ 32 h 50"/>
                  <a:gd name="T14" fmla="*/ 4 w 80"/>
                  <a:gd name="T15" fmla="*/ 26 h 50"/>
                  <a:gd name="T16" fmla="*/ 2 w 80"/>
                  <a:gd name="T17" fmla="*/ 18 h 50"/>
                  <a:gd name="T18" fmla="*/ 0 w 80"/>
                  <a:gd name="T19" fmla="*/ 10 h 50"/>
                  <a:gd name="T20" fmla="*/ 0 w 80"/>
                  <a:gd name="T21" fmla="*/ 0 h 50"/>
                  <a:gd name="T22" fmla="*/ 18 w 80"/>
                  <a:gd name="T23" fmla="*/ 0 h 50"/>
                  <a:gd name="T24" fmla="*/ 18 w 80"/>
                  <a:gd name="T25" fmla="*/ 10 h 50"/>
                  <a:gd name="T26" fmla="*/ 18 w 80"/>
                  <a:gd name="T27" fmla="*/ 10 h 50"/>
                  <a:gd name="T28" fmla="*/ 20 w 80"/>
                  <a:gd name="T29" fmla="*/ 18 h 50"/>
                  <a:gd name="T30" fmla="*/ 26 w 80"/>
                  <a:gd name="T31" fmla="*/ 24 h 50"/>
                  <a:gd name="T32" fmla="*/ 32 w 80"/>
                  <a:gd name="T33" fmla="*/ 30 h 50"/>
                  <a:gd name="T34" fmla="*/ 40 w 80"/>
                  <a:gd name="T35" fmla="*/ 32 h 50"/>
                  <a:gd name="T36" fmla="*/ 40 w 80"/>
                  <a:gd name="T37" fmla="*/ 32 h 50"/>
                  <a:gd name="T38" fmla="*/ 48 w 80"/>
                  <a:gd name="T39" fmla="*/ 30 h 50"/>
                  <a:gd name="T40" fmla="*/ 56 w 80"/>
                  <a:gd name="T41" fmla="*/ 24 h 50"/>
                  <a:gd name="T42" fmla="*/ 60 w 80"/>
                  <a:gd name="T43" fmla="*/ 18 h 50"/>
                  <a:gd name="T44" fmla="*/ 62 w 80"/>
                  <a:gd name="T45" fmla="*/ 10 h 50"/>
                  <a:gd name="T46" fmla="*/ 62 w 80"/>
                  <a:gd name="T47" fmla="*/ 0 h 50"/>
                  <a:gd name="T48" fmla="*/ 80 w 80"/>
                  <a:gd name="T49" fmla="*/ 0 h 50"/>
                  <a:gd name="T50" fmla="*/ 80 w 80"/>
                  <a:gd name="T51" fmla="*/ 10 h 50"/>
                  <a:gd name="T52" fmla="*/ 80 w 80"/>
                  <a:gd name="T53" fmla="*/ 10 h 50"/>
                  <a:gd name="T54" fmla="*/ 80 w 80"/>
                  <a:gd name="T55" fmla="*/ 18 h 50"/>
                  <a:gd name="T56" fmla="*/ 76 w 80"/>
                  <a:gd name="T57" fmla="*/ 26 h 50"/>
                  <a:gd name="T58" fmla="*/ 74 w 80"/>
                  <a:gd name="T59" fmla="*/ 32 h 50"/>
                  <a:gd name="T60" fmla="*/ 68 w 80"/>
                  <a:gd name="T61" fmla="*/ 38 h 50"/>
                  <a:gd name="T62" fmla="*/ 62 w 80"/>
                  <a:gd name="T63" fmla="*/ 42 h 50"/>
                  <a:gd name="T64" fmla="*/ 56 w 80"/>
                  <a:gd name="T65" fmla="*/ 46 h 50"/>
                  <a:gd name="T66" fmla="*/ 48 w 80"/>
                  <a:gd name="T67" fmla="*/ 48 h 50"/>
                  <a:gd name="T68" fmla="*/ 40 w 80"/>
                  <a:gd name="T69" fmla="*/ 50 h 50"/>
                  <a:gd name="T70" fmla="*/ 40 w 80"/>
                  <a:gd name="T71"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0" h="50">
                    <a:moveTo>
                      <a:pt x="40" y="50"/>
                    </a:moveTo>
                    <a:lnTo>
                      <a:pt x="40" y="50"/>
                    </a:lnTo>
                    <a:lnTo>
                      <a:pt x="32" y="48"/>
                    </a:lnTo>
                    <a:lnTo>
                      <a:pt x="26" y="46"/>
                    </a:lnTo>
                    <a:lnTo>
                      <a:pt x="18" y="42"/>
                    </a:lnTo>
                    <a:lnTo>
                      <a:pt x="12" y="38"/>
                    </a:lnTo>
                    <a:lnTo>
                      <a:pt x="8" y="32"/>
                    </a:lnTo>
                    <a:lnTo>
                      <a:pt x="4" y="26"/>
                    </a:lnTo>
                    <a:lnTo>
                      <a:pt x="2" y="18"/>
                    </a:lnTo>
                    <a:lnTo>
                      <a:pt x="0" y="10"/>
                    </a:lnTo>
                    <a:lnTo>
                      <a:pt x="0" y="0"/>
                    </a:lnTo>
                    <a:lnTo>
                      <a:pt x="18" y="0"/>
                    </a:lnTo>
                    <a:lnTo>
                      <a:pt x="18" y="10"/>
                    </a:lnTo>
                    <a:lnTo>
                      <a:pt x="18" y="10"/>
                    </a:lnTo>
                    <a:lnTo>
                      <a:pt x="20" y="18"/>
                    </a:lnTo>
                    <a:lnTo>
                      <a:pt x="26" y="24"/>
                    </a:lnTo>
                    <a:lnTo>
                      <a:pt x="32" y="30"/>
                    </a:lnTo>
                    <a:lnTo>
                      <a:pt x="40" y="32"/>
                    </a:lnTo>
                    <a:lnTo>
                      <a:pt x="40" y="32"/>
                    </a:lnTo>
                    <a:lnTo>
                      <a:pt x="48" y="30"/>
                    </a:lnTo>
                    <a:lnTo>
                      <a:pt x="56" y="24"/>
                    </a:lnTo>
                    <a:lnTo>
                      <a:pt x="60" y="18"/>
                    </a:lnTo>
                    <a:lnTo>
                      <a:pt x="62" y="10"/>
                    </a:lnTo>
                    <a:lnTo>
                      <a:pt x="62" y="0"/>
                    </a:lnTo>
                    <a:lnTo>
                      <a:pt x="80" y="0"/>
                    </a:lnTo>
                    <a:lnTo>
                      <a:pt x="80" y="10"/>
                    </a:lnTo>
                    <a:lnTo>
                      <a:pt x="80" y="10"/>
                    </a:lnTo>
                    <a:lnTo>
                      <a:pt x="80" y="18"/>
                    </a:lnTo>
                    <a:lnTo>
                      <a:pt x="76" y="26"/>
                    </a:lnTo>
                    <a:lnTo>
                      <a:pt x="74" y="32"/>
                    </a:lnTo>
                    <a:lnTo>
                      <a:pt x="68" y="38"/>
                    </a:lnTo>
                    <a:lnTo>
                      <a:pt x="62" y="42"/>
                    </a:lnTo>
                    <a:lnTo>
                      <a:pt x="56" y="46"/>
                    </a:lnTo>
                    <a:lnTo>
                      <a:pt x="48" y="48"/>
                    </a:lnTo>
                    <a:lnTo>
                      <a:pt x="40" y="50"/>
                    </a:lnTo>
                    <a:lnTo>
                      <a:pt x="40" y="5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50000"/>
                  </a:spcAft>
                  <a:buClr>
                    <a:srgbClr val="FFE600"/>
                  </a:buClr>
                  <a:buSzPct val="80000"/>
                  <a:buFont typeface="Arial" charset="0"/>
                  <a:buNone/>
                  <a:tabLst/>
                  <a:defRPr/>
                </a:pPr>
                <a:endParaRPr kumimoji="0" lang="en-IN" sz="900" b="0" i="0" u="none" strike="noStrike" kern="1200" cap="none" spc="0" normalizeH="0" baseline="0" noProof="0">
                  <a:ln>
                    <a:noFill/>
                  </a:ln>
                  <a:solidFill>
                    <a:srgbClr val="000000"/>
                  </a:solidFill>
                  <a:effectLst/>
                  <a:uLnTx/>
                  <a:uFillTx/>
                  <a:latin typeface="EYInterstate Light" pitchFamily="2" charset="0"/>
                  <a:ea typeface="+mn-ea"/>
                  <a:cs typeface="+mn-cs"/>
                </a:endParaRPr>
              </a:p>
            </p:txBody>
          </p:sp>
          <p:sp>
            <p:nvSpPr>
              <p:cNvPr id="92" name="Freeform 17">
                <a:extLst>
                  <a:ext uri="{FF2B5EF4-FFF2-40B4-BE49-F238E27FC236}">
                    <a16:creationId xmlns:a16="http://schemas.microsoft.com/office/drawing/2014/main" id="{ED1868C3-00C7-4216-B6B0-C0EA701874CB}"/>
                  </a:ext>
                </a:extLst>
              </p:cNvPr>
              <p:cNvSpPr>
                <a:spLocks/>
              </p:cNvSpPr>
              <p:nvPr/>
            </p:nvSpPr>
            <p:spPr bwMode="auto">
              <a:xfrm>
                <a:off x="5603875" y="3602038"/>
                <a:ext cx="127000" cy="76200"/>
              </a:xfrm>
              <a:custGeom>
                <a:avLst/>
                <a:gdLst>
                  <a:gd name="T0" fmla="*/ 62 w 80"/>
                  <a:gd name="T1" fmla="*/ 48 h 48"/>
                  <a:gd name="T2" fmla="*/ 62 w 80"/>
                  <a:gd name="T3" fmla="*/ 40 h 48"/>
                  <a:gd name="T4" fmla="*/ 62 w 80"/>
                  <a:gd name="T5" fmla="*/ 40 h 48"/>
                  <a:gd name="T6" fmla="*/ 60 w 80"/>
                  <a:gd name="T7" fmla="*/ 32 h 48"/>
                  <a:gd name="T8" fmla="*/ 56 w 80"/>
                  <a:gd name="T9" fmla="*/ 24 h 48"/>
                  <a:gd name="T10" fmla="*/ 48 w 80"/>
                  <a:gd name="T11" fmla="*/ 20 h 48"/>
                  <a:gd name="T12" fmla="*/ 40 w 80"/>
                  <a:gd name="T13" fmla="*/ 18 h 48"/>
                  <a:gd name="T14" fmla="*/ 40 w 80"/>
                  <a:gd name="T15" fmla="*/ 18 h 48"/>
                  <a:gd name="T16" fmla="*/ 32 w 80"/>
                  <a:gd name="T17" fmla="*/ 20 h 48"/>
                  <a:gd name="T18" fmla="*/ 26 w 80"/>
                  <a:gd name="T19" fmla="*/ 24 h 48"/>
                  <a:gd name="T20" fmla="*/ 20 w 80"/>
                  <a:gd name="T21" fmla="*/ 32 h 48"/>
                  <a:gd name="T22" fmla="*/ 18 w 80"/>
                  <a:gd name="T23" fmla="*/ 40 h 48"/>
                  <a:gd name="T24" fmla="*/ 18 w 80"/>
                  <a:gd name="T25" fmla="*/ 48 h 48"/>
                  <a:gd name="T26" fmla="*/ 0 w 80"/>
                  <a:gd name="T27" fmla="*/ 48 h 48"/>
                  <a:gd name="T28" fmla="*/ 0 w 80"/>
                  <a:gd name="T29" fmla="*/ 40 h 48"/>
                  <a:gd name="T30" fmla="*/ 0 w 80"/>
                  <a:gd name="T31" fmla="*/ 40 h 48"/>
                  <a:gd name="T32" fmla="*/ 2 w 80"/>
                  <a:gd name="T33" fmla="*/ 32 h 48"/>
                  <a:gd name="T34" fmla="*/ 4 w 80"/>
                  <a:gd name="T35" fmla="*/ 24 h 48"/>
                  <a:gd name="T36" fmla="*/ 8 w 80"/>
                  <a:gd name="T37" fmla="*/ 18 h 48"/>
                  <a:gd name="T38" fmla="*/ 12 w 80"/>
                  <a:gd name="T39" fmla="*/ 12 h 48"/>
                  <a:gd name="T40" fmla="*/ 18 w 80"/>
                  <a:gd name="T41" fmla="*/ 8 h 48"/>
                  <a:gd name="T42" fmla="*/ 26 w 80"/>
                  <a:gd name="T43" fmla="*/ 4 h 48"/>
                  <a:gd name="T44" fmla="*/ 32 w 80"/>
                  <a:gd name="T45" fmla="*/ 2 h 48"/>
                  <a:gd name="T46" fmla="*/ 40 w 80"/>
                  <a:gd name="T47" fmla="*/ 0 h 48"/>
                  <a:gd name="T48" fmla="*/ 40 w 80"/>
                  <a:gd name="T49" fmla="*/ 0 h 48"/>
                  <a:gd name="T50" fmla="*/ 48 w 80"/>
                  <a:gd name="T51" fmla="*/ 2 h 48"/>
                  <a:gd name="T52" fmla="*/ 56 w 80"/>
                  <a:gd name="T53" fmla="*/ 4 h 48"/>
                  <a:gd name="T54" fmla="*/ 62 w 80"/>
                  <a:gd name="T55" fmla="*/ 8 h 48"/>
                  <a:gd name="T56" fmla="*/ 68 w 80"/>
                  <a:gd name="T57" fmla="*/ 12 h 48"/>
                  <a:gd name="T58" fmla="*/ 74 w 80"/>
                  <a:gd name="T59" fmla="*/ 18 h 48"/>
                  <a:gd name="T60" fmla="*/ 76 w 80"/>
                  <a:gd name="T61" fmla="*/ 24 h 48"/>
                  <a:gd name="T62" fmla="*/ 80 w 80"/>
                  <a:gd name="T63" fmla="*/ 32 h 48"/>
                  <a:gd name="T64" fmla="*/ 80 w 80"/>
                  <a:gd name="T65" fmla="*/ 40 h 48"/>
                  <a:gd name="T66" fmla="*/ 80 w 80"/>
                  <a:gd name="T67" fmla="*/ 48 h 48"/>
                  <a:gd name="T68" fmla="*/ 62 w 80"/>
                  <a:gd name="T69"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0" h="48">
                    <a:moveTo>
                      <a:pt x="62" y="48"/>
                    </a:moveTo>
                    <a:lnTo>
                      <a:pt x="62" y="40"/>
                    </a:lnTo>
                    <a:lnTo>
                      <a:pt x="62" y="40"/>
                    </a:lnTo>
                    <a:lnTo>
                      <a:pt x="60" y="32"/>
                    </a:lnTo>
                    <a:lnTo>
                      <a:pt x="56" y="24"/>
                    </a:lnTo>
                    <a:lnTo>
                      <a:pt x="48" y="20"/>
                    </a:lnTo>
                    <a:lnTo>
                      <a:pt x="40" y="18"/>
                    </a:lnTo>
                    <a:lnTo>
                      <a:pt x="40" y="18"/>
                    </a:lnTo>
                    <a:lnTo>
                      <a:pt x="32" y="20"/>
                    </a:lnTo>
                    <a:lnTo>
                      <a:pt x="26" y="24"/>
                    </a:lnTo>
                    <a:lnTo>
                      <a:pt x="20" y="32"/>
                    </a:lnTo>
                    <a:lnTo>
                      <a:pt x="18" y="40"/>
                    </a:lnTo>
                    <a:lnTo>
                      <a:pt x="18" y="48"/>
                    </a:lnTo>
                    <a:lnTo>
                      <a:pt x="0" y="48"/>
                    </a:lnTo>
                    <a:lnTo>
                      <a:pt x="0" y="40"/>
                    </a:lnTo>
                    <a:lnTo>
                      <a:pt x="0" y="40"/>
                    </a:lnTo>
                    <a:lnTo>
                      <a:pt x="2" y="32"/>
                    </a:lnTo>
                    <a:lnTo>
                      <a:pt x="4" y="24"/>
                    </a:lnTo>
                    <a:lnTo>
                      <a:pt x="8" y="18"/>
                    </a:lnTo>
                    <a:lnTo>
                      <a:pt x="12" y="12"/>
                    </a:lnTo>
                    <a:lnTo>
                      <a:pt x="18" y="8"/>
                    </a:lnTo>
                    <a:lnTo>
                      <a:pt x="26" y="4"/>
                    </a:lnTo>
                    <a:lnTo>
                      <a:pt x="32" y="2"/>
                    </a:lnTo>
                    <a:lnTo>
                      <a:pt x="40" y="0"/>
                    </a:lnTo>
                    <a:lnTo>
                      <a:pt x="40" y="0"/>
                    </a:lnTo>
                    <a:lnTo>
                      <a:pt x="48" y="2"/>
                    </a:lnTo>
                    <a:lnTo>
                      <a:pt x="56" y="4"/>
                    </a:lnTo>
                    <a:lnTo>
                      <a:pt x="62" y="8"/>
                    </a:lnTo>
                    <a:lnTo>
                      <a:pt x="68" y="12"/>
                    </a:lnTo>
                    <a:lnTo>
                      <a:pt x="74" y="18"/>
                    </a:lnTo>
                    <a:lnTo>
                      <a:pt x="76" y="24"/>
                    </a:lnTo>
                    <a:lnTo>
                      <a:pt x="80" y="32"/>
                    </a:lnTo>
                    <a:lnTo>
                      <a:pt x="80" y="40"/>
                    </a:lnTo>
                    <a:lnTo>
                      <a:pt x="80" y="48"/>
                    </a:lnTo>
                    <a:lnTo>
                      <a:pt x="62"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50000"/>
                  </a:spcAft>
                  <a:buClr>
                    <a:srgbClr val="FFE600"/>
                  </a:buClr>
                  <a:buSzPct val="80000"/>
                  <a:buFont typeface="Arial" charset="0"/>
                  <a:buNone/>
                  <a:tabLst/>
                  <a:defRPr/>
                </a:pPr>
                <a:endParaRPr kumimoji="0" lang="en-IN" sz="900" b="0" i="0" u="none" strike="noStrike" kern="1200" cap="none" spc="0" normalizeH="0" baseline="0" noProof="0">
                  <a:ln>
                    <a:noFill/>
                  </a:ln>
                  <a:solidFill>
                    <a:srgbClr val="000000"/>
                  </a:solidFill>
                  <a:effectLst/>
                  <a:uLnTx/>
                  <a:uFillTx/>
                  <a:latin typeface="EYInterstate Light" pitchFamily="2" charset="0"/>
                  <a:ea typeface="+mn-ea"/>
                  <a:cs typeface="+mn-cs"/>
                </a:endParaRPr>
              </a:p>
            </p:txBody>
          </p:sp>
          <p:sp>
            <p:nvSpPr>
              <p:cNvPr id="93" name="Rectangle 18">
                <a:extLst>
                  <a:ext uri="{FF2B5EF4-FFF2-40B4-BE49-F238E27FC236}">
                    <a16:creationId xmlns:a16="http://schemas.microsoft.com/office/drawing/2014/main" id="{32D75A13-22E1-4277-B67D-0D8BA33718AA}"/>
                  </a:ext>
                </a:extLst>
              </p:cNvPr>
              <p:cNvSpPr>
                <a:spLocks noChangeArrowheads="1"/>
              </p:cNvSpPr>
              <p:nvPr/>
            </p:nvSpPr>
            <p:spPr bwMode="auto">
              <a:xfrm>
                <a:off x="5654675" y="3700463"/>
                <a:ext cx="28575" cy="635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50000"/>
                  </a:spcAft>
                  <a:buClr>
                    <a:srgbClr val="FFE600"/>
                  </a:buClr>
                  <a:buSzPct val="80000"/>
                  <a:buFont typeface="Arial" charset="0"/>
                  <a:buNone/>
                  <a:tabLst/>
                  <a:defRPr/>
                </a:pPr>
                <a:endParaRPr kumimoji="0" lang="en-IN" sz="900" b="0" i="0" u="none" strike="noStrike" kern="1200" cap="none" spc="0" normalizeH="0" baseline="0" noProof="0">
                  <a:ln>
                    <a:noFill/>
                  </a:ln>
                  <a:solidFill>
                    <a:srgbClr val="000000"/>
                  </a:solidFill>
                  <a:effectLst/>
                  <a:uLnTx/>
                  <a:uFillTx/>
                  <a:latin typeface="EYInterstate Light" pitchFamily="2" charset="0"/>
                  <a:ea typeface="+mn-ea"/>
                  <a:cs typeface="+mn-cs"/>
                </a:endParaRPr>
              </a:p>
            </p:txBody>
          </p:sp>
          <p:sp>
            <p:nvSpPr>
              <p:cNvPr id="94" name="Rectangle 19">
                <a:extLst>
                  <a:ext uri="{FF2B5EF4-FFF2-40B4-BE49-F238E27FC236}">
                    <a16:creationId xmlns:a16="http://schemas.microsoft.com/office/drawing/2014/main" id="{D6262141-FCA9-4F0D-A02C-0095545CB150}"/>
                  </a:ext>
                </a:extLst>
              </p:cNvPr>
              <p:cNvSpPr>
                <a:spLocks noChangeArrowheads="1"/>
              </p:cNvSpPr>
              <p:nvPr/>
            </p:nvSpPr>
            <p:spPr bwMode="auto">
              <a:xfrm>
                <a:off x="5213350" y="3748088"/>
                <a:ext cx="28575" cy="635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50000"/>
                  </a:spcAft>
                  <a:buClr>
                    <a:srgbClr val="FFE600"/>
                  </a:buClr>
                  <a:buSzPct val="80000"/>
                  <a:buFont typeface="Arial" charset="0"/>
                  <a:buNone/>
                  <a:tabLst/>
                  <a:defRPr/>
                </a:pPr>
                <a:endParaRPr kumimoji="0" lang="en-IN" sz="900" b="0" i="0" u="none" strike="noStrike" kern="1200" cap="none" spc="0" normalizeH="0" baseline="0" noProof="0">
                  <a:ln>
                    <a:noFill/>
                  </a:ln>
                  <a:solidFill>
                    <a:srgbClr val="000000"/>
                  </a:solidFill>
                  <a:effectLst/>
                  <a:uLnTx/>
                  <a:uFillTx/>
                  <a:latin typeface="EYInterstate Light" pitchFamily="2" charset="0"/>
                  <a:ea typeface="+mn-ea"/>
                  <a:cs typeface="+mn-cs"/>
                </a:endParaRPr>
              </a:p>
            </p:txBody>
          </p:sp>
          <p:sp>
            <p:nvSpPr>
              <p:cNvPr id="95" name="Rectangle 20">
                <a:extLst>
                  <a:ext uri="{FF2B5EF4-FFF2-40B4-BE49-F238E27FC236}">
                    <a16:creationId xmlns:a16="http://schemas.microsoft.com/office/drawing/2014/main" id="{A9060816-E046-4055-9048-C8F515A0E652}"/>
                  </a:ext>
                </a:extLst>
              </p:cNvPr>
              <p:cNvSpPr>
                <a:spLocks noChangeArrowheads="1"/>
              </p:cNvSpPr>
              <p:nvPr/>
            </p:nvSpPr>
            <p:spPr bwMode="auto">
              <a:xfrm>
                <a:off x="6092825" y="3748088"/>
                <a:ext cx="28575" cy="635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50000"/>
                  </a:spcAft>
                  <a:buClr>
                    <a:srgbClr val="FFE600"/>
                  </a:buClr>
                  <a:buSzPct val="80000"/>
                  <a:buFont typeface="Arial" charset="0"/>
                  <a:buNone/>
                  <a:tabLst/>
                  <a:defRPr/>
                </a:pPr>
                <a:endParaRPr kumimoji="0" lang="en-IN" sz="900" b="0" i="0" u="none" strike="noStrike" kern="1200" cap="none" spc="0" normalizeH="0" baseline="0" noProof="0">
                  <a:ln>
                    <a:noFill/>
                  </a:ln>
                  <a:solidFill>
                    <a:srgbClr val="000000"/>
                  </a:solidFill>
                  <a:effectLst/>
                  <a:uLnTx/>
                  <a:uFillTx/>
                  <a:latin typeface="EYInterstate Light" pitchFamily="2" charset="0"/>
                  <a:ea typeface="+mn-ea"/>
                  <a:cs typeface="+mn-cs"/>
                </a:endParaRPr>
              </a:p>
            </p:txBody>
          </p:sp>
          <p:sp>
            <p:nvSpPr>
              <p:cNvPr id="96" name="Rectangle 21">
                <a:extLst>
                  <a:ext uri="{FF2B5EF4-FFF2-40B4-BE49-F238E27FC236}">
                    <a16:creationId xmlns:a16="http://schemas.microsoft.com/office/drawing/2014/main" id="{78ACF50E-2B5C-4D05-B29C-4D1156B22061}"/>
                  </a:ext>
                </a:extLst>
              </p:cNvPr>
              <p:cNvSpPr>
                <a:spLocks noChangeArrowheads="1"/>
              </p:cNvSpPr>
              <p:nvPr/>
            </p:nvSpPr>
            <p:spPr bwMode="auto">
              <a:xfrm>
                <a:off x="5654675" y="3748088"/>
                <a:ext cx="28575" cy="635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50000"/>
                  </a:spcAft>
                  <a:buClr>
                    <a:srgbClr val="FFE600"/>
                  </a:buClr>
                  <a:buSzPct val="80000"/>
                  <a:buFont typeface="Arial" charset="0"/>
                  <a:buNone/>
                  <a:tabLst/>
                  <a:defRPr/>
                </a:pPr>
                <a:endParaRPr kumimoji="0" lang="en-IN" sz="900" b="0" i="0" u="none" strike="noStrike" kern="1200" cap="none" spc="0" normalizeH="0" baseline="0" noProof="0">
                  <a:ln>
                    <a:noFill/>
                  </a:ln>
                  <a:solidFill>
                    <a:srgbClr val="000000"/>
                  </a:solidFill>
                  <a:effectLst/>
                  <a:uLnTx/>
                  <a:uFillTx/>
                  <a:latin typeface="EYInterstate Light" pitchFamily="2" charset="0"/>
                  <a:ea typeface="+mn-ea"/>
                  <a:cs typeface="+mn-cs"/>
                </a:endParaRPr>
              </a:p>
            </p:txBody>
          </p:sp>
          <p:sp>
            <p:nvSpPr>
              <p:cNvPr id="97" name="Rectangle 22">
                <a:extLst>
                  <a:ext uri="{FF2B5EF4-FFF2-40B4-BE49-F238E27FC236}">
                    <a16:creationId xmlns:a16="http://schemas.microsoft.com/office/drawing/2014/main" id="{C23AC71B-7141-4768-8D06-1DD292146B28}"/>
                  </a:ext>
                </a:extLst>
              </p:cNvPr>
              <p:cNvSpPr>
                <a:spLocks noChangeArrowheads="1"/>
              </p:cNvSpPr>
              <p:nvPr/>
            </p:nvSpPr>
            <p:spPr bwMode="auto">
              <a:xfrm>
                <a:off x="5213350" y="3748088"/>
                <a:ext cx="908050" cy="285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50000"/>
                  </a:spcAft>
                  <a:buClr>
                    <a:srgbClr val="FFE600"/>
                  </a:buClr>
                  <a:buSzPct val="80000"/>
                  <a:buFont typeface="Arial" charset="0"/>
                  <a:buNone/>
                  <a:tabLst/>
                  <a:defRPr/>
                </a:pPr>
                <a:endParaRPr kumimoji="0" lang="en-IN" sz="900" b="0" i="0" u="none" strike="noStrike" kern="1200" cap="none" spc="0" normalizeH="0" baseline="0" noProof="0">
                  <a:ln>
                    <a:noFill/>
                  </a:ln>
                  <a:solidFill>
                    <a:srgbClr val="000000"/>
                  </a:solidFill>
                  <a:effectLst/>
                  <a:uLnTx/>
                  <a:uFillTx/>
                  <a:latin typeface="EYInterstate Light" pitchFamily="2" charset="0"/>
                  <a:ea typeface="+mn-ea"/>
                  <a:cs typeface="+mn-cs"/>
                </a:endParaRPr>
              </a:p>
            </p:txBody>
          </p:sp>
          <p:sp>
            <p:nvSpPr>
              <p:cNvPr id="98" name="Freeform 23">
                <a:extLst>
                  <a:ext uri="{FF2B5EF4-FFF2-40B4-BE49-F238E27FC236}">
                    <a16:creationId xmlns:a16="http://schemas.microsoft.com/office/drawing/2014/main" id="{1463949D-469E-4897-9122-D8777C63BF7F}"/>
                  </a:ext>
                </a:extLst>
              </p:cNvPr>
              <p:cNvSpPr>
                <a:spLocks/>
              </p:cNvSpPr>
              <p:nvPr/>
            </p:nvSpPr>
            <p:spPr bwMode="auto">
              <a:xfrm>
                <a:off x="5210175" y="3090863"/>
                <a:ext cx="914400" cy="587375"/>
              </a:xfrm>
              <a:custGeom>
                <a:avLst/>
                <a:gdLst>
                  <a:gd name="T0" fmla="*/ 576 w 576"/>
                  <a:gd name="T1" fmla="*/ 370 h 370"/>
                  <a:gd name="T2" fmla="*/ 310 w 576"/>
                  <a:gd name="T3" fmla="*/ 370 h 370"/>
                  <a:gd name="T4" fmla="*/ 310 w 576"/>
                  <a:gd name="T5" fmla="*/ 352 h 370"/>
                  <a:gd name="T6" fmla="*/ 558 w 576"/>
                  <a:gd name="T7" fmla="*/ 352 h 370"/>
                  <a:gd name="T8" fmla="*/ 558 w 576"/>
                  <a:gd name="T9" fmla="*/ 72 h 370"/>
                  <a:gd name="T10" fmla="*/ 208 w 576"/>
                  <a:gd name="T11" fmla="*/ 72 h 370"/>
                  <a:gd name="T12" fmla="*/ 152 w 576"/>
                  <a:gd name="T13" fmla="*/ 18 h 370"/>
                  <a:gd name="T14" fmla="*/ 18 w 576"/>
                  <a:gd name="T15" fmla="*/ 18 h 370"/>
                  <a:gd name="T16" fmla="*/ 18 w 576"/>
                  <a:gd name="T17" fmla="*/ 352 h 370"/>
                  <a:gd name="T18" fmla="*/ 266 w 576"/>
                  <a:gd name="T19" fmla="*/ 352 h 370"/>
                  <a:gd name="T20" fmla="*/ 266 w 576"/>
                  <a:gd name="T21" fmla="*/ 370 h 370"/>
                  <a:gd name="T22" fmla="*/ 0 w 576"/>
                  <a:gd name="T23" fmla="*/ 370 h 370"/>
                  <a:gd name="T24" fmla="*/ 0 w 576"/>
                  <a:gd name="T25" fmla="*/ 0 h 370"/>
                  <a:gd name="T26" fmla="*/ 160 w 576"/>
                  <a:gd name="T27" fmla="*/ 0 h 370"/>
                  <a:gd name="T28" fmla="*/ 216 w 576"/>
                  <a:gd name="T29" fmla="*/ 54 h 370"/>
                  <a:gd name="T30" fmla="*/ 576 w 576"/>
                  <a:gd name="T31" fmla="*/ 54 h 370"/>
                  <a:gd name="T32" fmla="*/ 576 w 576"/>
                  <a:gd name="T33" fmla="*/ 370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76" h="370">
                    <a:moveTo>
                      <a:pt x="576" y="370"/>
                    </a:moveTo>
                    <a:lnTo>
                      <a:pt x="310" y="370"/>
                    </a:lnTo>
                    <a:lnTo>
                      <a:pt x="310" y="352"/>
                    </a:lnTo>
                    <a:lnTo>
                      <a:pt x="558" y="352"/>
                    </a:lnTo>
                    <a:lnTo>
                      <a:pt x="558" y="72"/>
                    </a:lnTo>
                    <a:lnTo>
                      <a:pt x="208" y="72"/>
                    </a:lnTo>
                    <a:lnTo>
                      <a:pt x="152" y="18"/>
                    </a:lnTo>
                    <a:lnTo>
                      <a:pt x="18" y="18"/>
                    </a:lnTo>
                    <a:lnTo>
                      <a:pt x="18" y="352"/>
                    </a:lnTo>
                    <a:lnTo>
                      <a:pt x="266" y="352"/>
                    </a:lnTo>
                    <a:lnTo>
                      <a:pt x="266" y="370"/>
                    </a:lnTo>
                    <a:lnTo>
                      <a:pt x="0" y="370"/>
                    </a:lnTo>
                    <a:lnTo>
                      <a:pt x="0" y="0"/>
                    </a:lnTo>
                    <a:lnTo>
                      <a:pt x="160" y="0"/>
                    </a:lnTo>
                    <a:lnTo>
                      <a:pt x="216" y="54"/>
                    </a:lnTo>
                    <a:lnTo>
                      <a:pt x="576" y="54"/>
                    </a:lnTo>
                    <a:lnTo>
                      <a:pt x="576" y="3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50000"/>
                  </a:spcAft>
                  <a:buClr>
                    <a:srgbClr val="FFE600"/>
                  </a:buClr>
                  <a:buSzPct val="80000"/>
                  <a:buFont typeface="Arial" charset="0"/>
                  <a:buNone/>
                  <a:tabLst/>
                  <a:defRPr/>
                </a:pPr>
                <a:endParaRPr kumimoji="0" lang="en-IN" sz="900" b="0" i="0" u="none" strike="noStrike" kern="1200" cap="none" spc="0" normalizeH="0" baseline="0" noProof="0">
                  <a:ln>
                    <a:noFill/>
                  </a:ln>
                  <a:solidFill>
                    <a:srgbClr val="000000"/>
                  </a:solidFill>
                  <a:effectLst/>
                  <a:uLnTx/>
                  <a:uFillTx/>
                  <a:latin typeface="EYInterstate Light" pitchFamily="2" charset="0"/>
                  <a:ea typeface="+mn-ea"/>
                  <a:cs typeface="+mn-cs"/>
                </a:endParaRPr>
              </a:p>
            </p:txBody>
          </p:sp>
          <p:sp>
            <p:nvSpPr>
              <p:cNvPr id="99" name="Rectangle 24">
                <a:extLst>
                  <a:ext uri="{FF2B5EF4-FFF2-40B4-BE49-F238E27FC236}">
                    <a16:creationId xmlns:a16="http://schemas.microsoft.com/office/drawing/2014/main" id="{0D918DA2-3589-4FE3-A5D3-7C3F5B1A987E}"/>
                  </a:ext>
                </a:extLst>
              </p:cNvPr>
              <p:cNvSpPr>
                <a:spLocks noChangeArrowheads="1"/>
              </p:cNvSpPr>
              <p:nvPr/>
            </p:nvSpPr>
            <p:spPr bwMode="auto">
              <a:xfrm>
                <a:off x="5280025" y="3297238"/>
                <a:ext cx="774700" cy="285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50000"/>
                  </a:spcAft>
                  <a:buClr>
                    <a:srgbClr val="FFE600"/>
                  </a:buClr>
                  <a:buSzPct val="80000"/>
                  <a:buFont typeface="Arial" charset="0"/>
                  <a:buNone/>
                  <a:tabLst/>
                  <a:defRPr/>
                </a:pPr>
                <a:endParaRPr kumimoji="0" lang="en-IN" sz="900" b="0" i="0" u="none" strike="noStrike" kern="1200" cap="none" spc="0" normalizeH="0" baseline="0" noProof="0">
                  <a:ln>
                    <a:noFill/>
                  </a:ln>
                  <a:solidFill>
                    <a:srgbClr val="000000"/>
                  </a:solidFill>
                  <a:effectLst/>
                  <a:uLnTx/>
                  <a:uFillTx/>
                  <a:latin typeface="EYInterstate Light" pitchFamily="2" charset="0"/>
                  <a:ea typeface="+mn-ea"/>
                  <a:cs typeface="+mn-cs"/>
                </a:endParaRPr>
              </a:p>
            </p:txBody>
          </p:sp>
          <p:sp>
            <p:nvSpPr>
              <p:cNvPr id="100" name="Freeform 25">
                <a:extLst>
                  <a:ext uri="{FF2B5EF4-FFF2-40B4-BE49-F238E27FC236}">
                    <a16:creationId xmlns:a16="http://schemas.microsoft.com/office/drawing/2014/main" id="{E2C29B9E-23AC-4FA9-8D28-7636DD668DDD}"/>
                  </a:ext>
                </a:extLst>
              </p:cNvPr>
              <p:cNvSpPr>
                <a:spLocks noEditPoints="1"/>
              </p:cNvSpPr>
              <p:nvPr/>
            </p:nvSpPr>
            <p:spPr bwMode="auto">
              <a:xfrm>
                <a:off x="5057775" y="3910013"/>
                <a:ext cx="339725" cy="263525"/>
              </a:xfrm>
              <a:custGeom>
                <a:avLst/>
                <a:gdLst>
                  <a:gd name="T0" fmla="*/ 214 w 214"/>
                  <a:gd name="T1" fmla="*/ 166 h 166"/>
                  <a:gd name="T2" fmla="*/ 0 w 214"/>
                  <a:gd name="T3" fmla="*/ 166 h 166"/>
                  <a:gd name="T4" fmla="*/ 0 w 214"/>
                  <a:gd name="T5" fmla="*/ 0 h 166"/>
                  <a:gd name="T6" fmla="*/ 70 w 214"/>
                  <a:gd name="T7" fmla="*/ 0 h 166"/>
                  <a:gd name="T8" fmla="*/ 108 w 214"/>
                  <a:gd name="T9" fmla="*/ 36 h 166"/>
                  <a:gd name="T10" fmla="*/ 214 w 214"/>
                  <a:gd name="T11" fmla="*/ 36 h 166"/>
                  <a:gd name="T12" fmla="*/ 214 w 214"/>
                  <a:gd name="T13" fmla="*/ 166 h 166"/>
                  <a:gd name="T14" fmla="*/ 18 w 214"/>
                  <a:gd name="T15" fmla="*/ 148 h 166"/>
                  <a:gd name="T16" fmla="*/ 196 w 214"/>
                  <a:gd name="T17" fmla="*/ 148 h 166"/>
                  <a:gd name="T18" fmla="*/ 196 w 214"/>
                  <a:gd name="T19" fmla="*/ 54 h 166"/>
                  <a:gd name="T20" fmla="*/ 100 w 214"/>
                  <a:gd name="T21" fmla="*/ 54 h 166"/>
                  <a:gd name="T22" fmla="*/ 62 w 214"/>
                  <a:gd name="T23" fmla="*/ 18 h 166"/>
                  <a:gd name="T24" fmla="*/ 18 w 214"/>
                  <a:gd name="T25" fmla="*/ 18 h 166"/>
                  <a:gd name="T26" fmla="*/ 18 w 214"/>
                  <a:gd name="T27" fmla="*/ 148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4" h="166">
                    <a:moveTo>
                      <a:pt x="214" y="166"/>
                    </a:moveTo>
                    <a:lnTo>
                      <a:pt x="0" y="166"/>
                    </a:lnTo>
                    <a:lnTo>
                      <a:pt x="0" y="0"/>
                    </a:lnTo>
                    <a:lnTo>
                      <a:pt x="70" y="0"/>
                    </a:lnTo>
                    <a:lnTo>
                      <a:pt x="108" y="36"/>
                    </a:lnTo>
                    <a:lnTo>
                      <a:pt x="214" y="36"/>
                    </a:lnTo>
                    <a:lnTo>
                      <a:pt x="214" y="166"/>
                    </a:lnTo>
                    <a:close/>
                    <a:moveTo>
                      <a:pt x="18" y="148"/>
                    </a:moveTo>
                    <a:lnTo>
                      <a:pt x="196" y="148"/>
                    </a:lnTo>
                    <a:lnTo>
                      <a:pt x="196" y="54"/>
                    </a:lnTo>
                    <a:lnTo>
                      <a:pt x="100" y="54"/>
                    </a:lnTo>
                    <a:lnTo>
                      <a:pt x="62" y="18"/>
                    </a:lnTo>
                    <a:lnTo>
                      <a:pt x="18" y="18"/>
                    </a:lnTo>
                    <a:lnTo>
                      <a:pt x="18" y="1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50000"/>
                  </a:spcAft>
                  <a:buClr>
                    <a:srgbClr val="FFE600"/>
                  </a:buClr>
                  <a:buSzPct val="80000"/>
                  <a:buFont typeface="Arial" charset="0"/>
                  <a:buNone/>
                  <a:tabLst/>
                  <a:defRPr/>
                </a:pPr>
                <a:endParaRPr kumimoji="0" lang="en-IN" sz="900" b="0" i="0" u="none" strike="noStrike" kern="1200" cap="none" spc="0" normalizeH="0" baseline="0" noProof="0">
                  <a:ln>
                    <a:noFill/>
                  </a:ln>
                  <a:solidFill>
                    <a:srgbClr val="000000"/>
                  </a:solidFill>
                  <a:effectLst/>
                  <a:uLnTx/>
                  <a:uFillTx/>
                  <a:latin typeface="EYInterstate Light" pitchFamily="2" charset="0"/>
                  <a:ea typeface="+mn-ea"/>
                  <a:cs typeface="+mn-cs"/>
                </a:endParaRPr>
              </a:p>
            </p:txBody>
          </p:sp>
          <p:sp>
            <p:nvSpPr>
              <p:cNvPr id="101" name="Freeform 26">
                <a:extLst>
                  <a:ext uri="{FF2B5EF4-FFF2-40B4-BE49-F238E27FC236}">
                    <a16:creationId xmlns:a16="http://schemas.microsoft.com/office/drawing/2014/main" id="{08B35750-09C1-46B8-B2DB-A31A016231F5}"/>
                  </a:ext>
                </a:extLst>
              </p:cNvPr>
              <p:cNvSpPr>
                <a:spLocks noEditPoints="1"/>
              </p:cNvSpPr>
              <p:nvPr/>
            </p:nvSpPr>
            <p:spPr bwMode="auto">
              <a:xfrm>
                <a:off x="5499100" y="3910013"/>
                <a:ext cx="339725" cy="263525"/>
              </a:xfrm>
              <a:custGeom>
                <a:avLst/>
                <a:gdLst>
                  <a:gd name="T0" fmla="*/ 214 w 214"/>
                  <a:gd name="T1" fmla="*/ 166 h 166"/>
                  <a:gd name="T2" fmla="*/ 0 w 214"/>
                  <a:gd name="T3" fmla="*/ 166 h 166"/>
                  <a:gd name="T4" fmla="*/ 0 w 214"/>
                  <a:gd name="T5" fmla="*/ 0 h 166"/>
                  <a:gd name="T6" fmla="*/ 68 w 214"/>
                  <a:gd name="T7" fmla="*/ 0 h 166"/>
                  <a:gd name="T8" fmla="*/ 106 w 214"/>
                  <a:gd name="T9" fmla="*/ 36 h 166"/>
                  <a:gd name="T10" fmla="*/ 214 w 214"/>
                  <a:gd name="T11" fmla="*/ 36 h 166"/>
                  <a:gd name="T12" fmla="*/ 214 w 214"/>
                  <a:gd name="T13" fmla="*/ 166 h 166"/>
                  <a:gd name="T14" fmla="*/ 18 w 214"/>
                  <a:gd name="T15" fmla="*/ 148 h 166"/>
                  <a:gd name="T16" fmla="*/ 196 w 214"/>
                  <a:gd name="T17" fmla="*/ 148 h 166"/>
                  <a:gd name="T18" fmla="*/ 196 w 214"/>
                  <a:gd name="T19" fmla="*/ 54 h 166"/>
                  <a:gd name="T20" fmla="*/ 100 w 214"/>
                  <a:gd name="T21" fmla="*/ 54 h 166"/>
                  <a:gd name="T22" fmla="*/ 62 w 214"/>
                  <a:gd name="T23" fmla="*/ 18 h 166"/>
                  <a:gd name="T24" fmla="*/ 18 w 214"/>
                  <a:gd name="T25" fmla="*/ 18 h 166"/>
                  <a:gd name="T26" fmla="*/ 18 w 214"/>
                  <a:gd name="T27" fmla="*/ 148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4" h="166">
                    <a:moveTo>
                      <a:pt x="214" y="166"/>
                    </a:moveTo>
                    <a:lnTo>
                      <a:pt x="0" y="166"/>
                    </a:lnTo>
                    <a:lnTo>
                      <a:pt x="0" y="0"/>
                    </a:lnTo>
                    <a:lnTo>
                      <a:pt x="68" y="0"/>
                    </a:lnTo>
                    <a:lnTo>
                      <a:pt x="106" y="36"/>
                    </a:lnTo>
                    <a:lnTo>
                      <a:pt x="214" y="36"/>
                    </a:lnTo>
                    <a:lnTo>
                      <a:pt x="214" y="166"/>
                    </a:lnTo>
                    <a:close/>
                    <a:moveTo>
                      <a:pt x="18" y="148"/>
                    </a:moveTo>
                    <a:lnTo>
                      <a:pt x="196" y="148"/>
                    </a:lnTo>
                    <a:lnTo>
                      <a:pt x="196" y="54"/>
                    </a:lnTo>
                    <a:lnTo>
                      <a:pt x="100" y="54"/>
                    </a:lnTo>
                    <a:lnTo>
                      <a:pt x="62" y="18"/>
                    </a:lnTo>
                    <a:lnTo>
                      <a:pt x="18" y="18"/>
                    </a:lnTo>
                    <a:lnTo>
                      <a:pt x="18" y="1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50000"/>
                  </a:spcAft>
                  <a:buClr>
                    <a:srgbClr val="FFE600"/>
                  </a:buClr>
                  <a:buSzPct val="80000"/>
                  <a:buFont typeface="Arial" charset="0"/>
                  <a:buNone/>
                  <a:tabLst/>
                  <a:defRPr/>
                </a:pPr>
                <a:endParaRPr kumimoji="0" lang="en-IN" sz="900" b="0" i="0" u="none" strike="noStrike" kern="1200" cap="none" spc="0" normalizeH="0" baseline="0" noProof="0">
                  <a:ln>
                    <a:noFill/>
                  </a:ln>
                  <a:solidFill>
                    <a:srgbClr val="000000"/>
                  </a:solidFill>
                  <a:effectLst/>
                  <a:uLnTx/>
                  <a:uFillTx/>
                  <a:latin typeface="EYInterstate Light" pitchFamily="2" charset="0"/>
                  <a:ea typeface="+mn-ea"/>
                  <a:cs typeface="+mn-cs"/>
                </a:endParaRPr>
              </a:p>
            </p:txBody>
          </p:sp>
          <p:sp>
            <p:nvSpPr>
              <p:cNvPr id="102" name="Freeform 27">
                <a:extLst>
                  <a:ext uri="{FF2B5EF4-FFF2-40B4-BE49-F238E27FC236}">
                    <a16:creationId xmlns:a16="http://schemas.microsoft.com/office/drawing/2014/main" id="{1ED5193F-21FB-4ED0-B391-B18D4F6F1FAC}"/>
                  </a:ext>
                </a:extLst>
              </p:cNvPr>
              <p:cNvSpPr>
                <a:spLocks noEditPoints="1"/>
              </p:cNvSpPr>
              <p:nvPr/>
            </p:nvSpPr>
            <p:spPr bwMode="auto">
              <a:xfrm>
                <a:off x="5937250" y="3910013"/>
                <a:ext cx="339725" cy="263525"/>
              </a:xfrm>
              <a:custGeom>
                <a:avLst/>
                <a:gdLst>
                  <a:gd name="T0" fmla="*/ 214 w 214"/>
                  <a:gd name="T1" fmla="*/ 166 h 166"/>
                  <a:gd name="T2" fmla="*/ 0 w 214"/>
                  <a:gd name="T3" fmla="*/ 166 h 166"/>
                  <a:gd name="T4" fmla="*/ 0 w 214"/>
                  <a:gd name="T5" fmla="*/ 0 h 166"/>
                  <a:gd name="T6" fmla="*/ 70 w 214"/>
                  <a:gd name="T7" fmla="*/ 0 h 166"/>
                  <a:gd name="T8" fmla="*/ 106 w 214"/>
                  <a:gd name="T9" fmla="*/ 36 h 166"/>
                  <a:gd name="T10" fmla="*/ 214 w 214"/>
                  <a:gd name="T11" fmla="*/ 36 h 166"/>
                  <a:gd name="T12" fmla="*/ 214 w 214"/>
                  <a:gd name="T13" fmla="*/ 166 h 166"/>
                  <a:gd name="T14" fmla="*/ 18 w 214"/>
                  <a:gd name="T15" fmla="*/ 148 h 166"/>
                  <a:gd name="T16" fmla="*/ 196 w 214"/>
                  <a:gd name="T17" fmla="*/ 148 h 166"/>
                  <a:gd name="T18" fmla="*/ 196 w 214"/>
                  <a:gd name="T19" fmla="*/ 54 h 166"/>
                  <a:gd name="T20" fmla="*/ 100 w 214"/>
                  <a:gd name="T21" fmla="*/ 54 h 166"/>
                  <a:gd name="T22" fmla="*/ 62 w 214"/>
                  <a:gd name="T23" fmla="*/ 18 h 166"/>
                  <a:gd name="T24" fmla="*/ 18 w 214"/>
                  <a:gd name="T25" fmla="*/ 18 h 166"/>
                  <a:gd name="T26" fmla="*/ 18 w 214"/>
                  <a:gd name="T27" fmla="*/ 148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4" h="166">
                    <a:moveTo>
                      <a:pt x="214" y="166"/>
                    </a:moveTo>
                    <a:lnTo>
                      <a:pt x="0" y="166"/>
                    </a:lnTo>
                    <a:lnTo>
                      <a:pt x="0" y="0"/>
                    </a:lnTo>
                    <a:lnTo>
                      <a:pt x="70" y="0"/>
                    </a:lnTo>
                    <a:lnTo>
                      <a:pt x="106" y="36"/>
                    </a:lnTo>
                    <a:lnTo>
                      <a:pt x="214" y="36"/>
                    </a:lnTo>
                    <a:lnTo>
                      <a:pt x="214" y="166"/>
                    </a:lnTo>
                    <a:close/>
                    <a:moveTo>
                      <a:pt x="18" y="148"/>
                    </a:moveTo>
                    <a:lnTo>
                      <a:pt x="196" y="148"/>
                    </a:lnTo>
                    <a:lnTo>
                      <a:pt x="196" y="54"/>
                    </a:lnTo>
                    <a:lnTo>
                      <a:pt x="100" y="54"/>
                    </a:lnTo>
                    <a:lnTo>
                      <a:pt x="62" y="18"/>
                    </a:lnTo>
                    <a:lnTo>
                      <a:pt x="18" y="18"/>
                    </a:lnTo>
                    <a:lnTo>
                      <a:pt x="18" y="1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50000"/>
                  </a:spcAft>
                  <a:buClr>
                    <a:srgbClr val="FFE600"/>
                  </a:buClr>
                  <a:buSzPct val="80000"/>
                  <a:buFont typeface="Arial" charset="0"/>
                  <a:buNone/>
                  <a:tabLst/>
                  <a:defRPr/>
                </a:pPr>
                <a:endParaRPr kumimoji="0" lang="en-IN" sz="900" b="0" i="0" u="none" strike="noStrike" kern="1200" cap="none" spc="0" normalizeH="0" baseline="0" noProof="0">
                  <a:ln>
                    <a:noFill/>
                  </a:ln>
                  <a:solidFill>
                    <a:srgbClr val="000000"/>
                  </a:solidFill>
                  <a:effectLst/>
                  <a:uLnTx/>
                  <a:uFillTx/>
                  <a:latin typeface="EYInterstate Light" pitchFamily="2" charset="0"/>
                  <a:ea typeface="+mn-ea"/>
                  <a:cs typeface="+mn-cs"/>
                </a:endParaRPr>
              </a:p>
            </p:txBody>
          </p:sp>
        </p:grpSp>
      </p:grpSp>
      <p:grpSp>
        <p:nvGrpSpPr>
          <p:cNvPr id="115" name="Group 4">
            <a:extLst>
              <a:ext uri="{FF2B5EF4-FFF2-40B4-BE49-F238E27FC236}">
                <a16:creationId xmlns:a16="http://schemas.microsoft.com/office/drawing/2014/main" id="{647FEDF8-BD09-48F0-8958-A6A907D1D006}"/>
              </a:ext>
            </a:extLst>
          </p:cNvPr>
          <p:cNvGrpSpPr>
            <a:grpSpLocks noChangeAspect="1"/>
          </p:cNvGrpSpPr>
          <p:nvPr/>
        </p:nvGrpSpPr>
        <p:grpSpPr bwMode="auto">
          <a:xfrm>
            <a:off x="7477141" y="5776755"/>
            <a:ext cx="471754" cy="606330"/>
            <a:chOff x="1895" y="869"/>
            <a:chExt cx="638" cy="820"/>
          </a:xfrm>
          <a:solidFill>
            <a:schemeClr val="accent5"/>
          </a:solidFill>
        </p:grpSpPr>
        <p:sp>
          <p:nvSpPr>
            <p:cNvPr id="116" name="Freeform 5">
              <a:extLst>
                <a:ext uri="{FF2B5EF4-FFF2-40B4-BE49-F238E27FC236}">
                  <a16:creationId xmlns:a16="http://schemas.microsoft.com/office/drawing/2014/main" id="{4DDC8F8C-00B2-4C90-A583-D7C4201853B2}"/>
                </a:ext>
              </a:extLst>
            </p:cNvPr>
            <p:cNvSpPr>
              <a:spLocks noEditPoints="1"/>
            </p:cNvSpPr>
            <p:nvPr/>
          </p:nvSpPr>
          <p:spPr bwMode="auto">
            <a:xfrm>
              <a:off x="2045" y="869"/>
              <a:ext cx="338" cy="136"/>
            </a:xfrm>
            <a:custGeom>
              <a:avLst/>
              <a:gdLst>
                <a:gd name="T0" fmla="*/ 338 w 338"/>
                <a:gd name="T1" fmla="*/ 136 h 136"/>
                <a:gd name="T2" fmla="*/ 0 w 338"/>
                <a:gd name="T3" fmla="*/ 136 h 136"/>
                <a:gd name="T4" fmla="*/ 0 w 338"/>
                <a:gd name="T5" fmla="*/ 0 h 136"/>
                <a:gd name="T6" fmla="*/ 338 w 338"/>
                <a:gd name="T7" fmla="*/ 0 h 136"/>
                <a:gd name="T8" fmla="*/ 338 w 338"/>
                <a:gd name="T9" fmla="*/ 136 h 136"/>
                <a:gd name="T10" fmla="*/ 18 w 338"/>
                <a:gd name="T11" fmla="*/ 118 h 136"/>
                <a:gd name="T12" fmla="*/ 320 w 338"/>
                <a:gd name="T13" fmla="*/ 118 h 136"/>
                <a:gd name="T14" fmla="*/ 320 w 338"/>
                <a:gd name="T15" fmla="*/ 18 h 136"/>
                <a:gd name="T16" fmla="*/ 18 w 338"/>
                <a:gd name="T17" fmla="*/ 18 h 136"/>
                <a:gd name="T18" fmla="*/ 18 w 338"/>
                <a:gd name="T19" fmla="*/ 11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8" h="136">
                  <a:moveTo>
                    <a:pt x="338" y="136"/>
                  </a:moveTo>
                  <a:lnTo>
                    <a:pt x="0" y="136"/>
                  </a:lnTo>
                  <a:lnTo>
                    <a:pt x="0" y="0"/>
                  </a:lnTo>
                  <a:lnTo>
                    <a:pt x="338" y="0"/>
                  </a:lnTo>
                  <a:lnTo>
                    <a:pt x="338" y="136"/>
                  </a:lnTo>
                  <a:close/>
                  <a:moveTo>
                    <a:pt x="18" y="118"/>
                  </a:moveTo>
                  <a:lnTo>
                    <a:pt x="320" y="118"/>
                  </a:lnTo>
                  <a:lnTo>
                    <a:pt x="320" y="18"/>
                  </a:lnTo>
                  <a:lnTo>
                    <a:pt x="18" y="18"/>
                  </a:lnTo>
                  <a:lnTo>
                    <a:pt x="18" y="1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50000"/>
                </a:spcAft>
                <a:buClr>
                  <a:srgbClr val="FFE600"/>
                </a:buClr>
                <a:buSzPct val="80000"/>
                <a:buFont typeface="Arial" charset="0"/>
                <a:buNone/>
                <a:tabLst/>
                <a:defRPr/>
              </a:pPr>
              <a:endParaRPr kumimoji="0" lang="en-US" sz="900" b="0" i="0" u="none" strike="noStrike" kern="1200" cap="none" spc="0" normalizeH="0" baseline="0" noProof="0">
                <a:ln>
                  <a:noFill/>
                </a:ln>
                <a:solidFill>
                  <a:srgbClr val="000000"/>
                </a:solidFill>
                <a:effectLst/>
                <a:uLnTx/>
                <a:uFillTx/>
                <a:latin typeface="EYInterstate Light" pitchFamily="2" charset="0"/>
                <a:ea typeface="+mn-ea"/>
                <a:cs typeface="+mn-cs"/>
              </a:endParaRPr>
            </a:p>
          </p:txBody>
        </p:sp>
        <p:sp>
          <p:nvSpPr>
            <p:cNvPr id="117" name="Freeform 6">
              <a:extLst>
                <a:ext uri="{FF2B5EF4-FFF2-40B4-BE49-F238E27FC236}">
                  <a16:creationId xmlns:a16="http://schemas.microsoft.com/office/drawing/2014/main" id="{062A7B5A-54ED-4381-80E0-8FA4BC16D684}"/>
                </a:ext>
              </a:extLst>
            </p:cNvPr>
            <p:cNvSpPr>
              <a:spLocks/>
            </p:cNvSpPr>
            <p:nvPr/>
          </p:nvSpPr>
          <p:spPr bwMode="auto">
            <a:xfrm>
              <a:off x="1895" y="927"/>
              <a:ext cx="638" cy="762"/>
            </a:xfrm>
            <a:custGeom>
              <a:avLst/>
              <a:gdLst>
                <a:gd name="T0" fmla="*/ 638 w 638"/>
                <a:gd name="T1" fmla="*/ 762 h 762"/>
                <a:gd name="T2" fmla="*/ 0 w 638"/>
                <a:gd name="T3" fmla="*/ 762 h 762"/>
                <a:gd name="T4" fmla="*/ 0 w 638"/>
                <a:gd name="T5" fmla="*/ 0 h 762"/>
                <a:gd name="T6" fmla="*/ 160 w 638"/>
                <a:gd name="T7" fmla="*/ 0 h 762"/>
                <a:gd name="T8" fmla="*/ 160 w 638"/>
                <a:gd name="T9" fmla="*/ 18 h 762"/>
                <a:gd name="T10" fmla="*/ 18 w 638"/>
                <a:gd name="T11" fmla="*/ 18 h 762"/>
                <a:gd name="T12" fmla="*/ 18 w 638"/>
                <a:gd name="T13" fmla="*/ 744 h 762"/>
                <a:gd name="T14" fmla="*/ 620 w 638"/>
                <a:gd name="T15" fmla="*/ 744 h 762"/>
                <a:gd name="T16" fmla="*/ 620 w 638"/>
                <a:gd name="T17" fmla="*/ 18 h 762"/>
                <a:gd name="T18" fmla="*/ 480 w 638"/>
                <a:gd name="T19" fmla="*/ 18 h 762"/>
                <a:gd name="T20" fmla="*/ 480 w 638"/>
                <a:gd name="T21" fmla="*/ 0 h 762"/>
                <a:gd name="T22" fmla="*/ 638 w 638"/>
                <a:gd name="T23" fmla="*/ 0 h 762"/>
                <a:gd name="T24" fmla="*/ 638 w 638"/>
                <a:gd name="T25" fmla="*/ 762 h 7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38" h="762">
                  <a:moveTo>
                    <a:pt x="638" y="762"/>
                  </a:moveTo>
                  <a:lnTo>
                    <a:pt x="0" y="762"/>
                  </a:lnTo>
                  <a:lnTo>
                    <a:pt x="0" y="0"/>
                  </a:lnTo>
                  <a:lnTo>
                    <a:pt x="160" y="0"/>
                  </a:lnTo>
                  <a:lnTo>
                    <a:pt x="160" y="18"/>
                  </a:lnTo>
                  <a:lnTo>
                    <a:pt x="18" y="18"/>
                  </a:lnTo>
                  <a:lnTo>
                    <a:pt x="18" y="744"/>
                  </a:lnTo>
                  <a:lnTo>
                    <a:pt x="620" y="744"/>
                  </a:lnTo>
                  <a:lnTo>
                    <a:pt x="620" y="18"/>
                  </a:lnTo>
                  <a:lnTo>
                    <a:pt x="480" y="18"/>
                  </a:lnTo>
                  <a:lnTo>
                    <a:pt x="480" y="0"/>
                  </a:lnTo>
                  <a:lnTo>
                    <a:pt x="638" y="0"/>
                  </a:lnTo>
                  <a:lnTo>
                    <a:pt x="638" y="7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50000"/>
                </a:spcAft>
                <a:buClr>
                  <a:srgbClr val="FFE600"/>
                </a:buClr>
                <a:buSzPct val="80000"/>
                <a:buFont typeface="Arial" charset="0"/>
                <a:buNone/>
                <a:tabLst/>
                <a:defRPr/>
              </a:pPr>
              <a:endParaRPr kumimoji="0" lang="en-US" sz="900" b="0" i="0" u="none" strike="noStrike" kern="1200" cap="none" spc="0" normalizeH="0" baseline="0" noProof="0">
                <a:ln>
                  <a:noFill/>
                </a:ln>
                <a:solidFill>
                  <a:srgbClr val="000000"/>
                </a:solidFill>
                <a:effectLst/>
                <a:uLnTx/>
                <a:uFillTx/>
                <a:latin typeface="EYInterstate Light" pitchFamily="2" charset="0"/>
                <a:ea typeface="+mn-ea"/>
                <a:cs typeface="+mn-cs"/>
              </a:endParaRPr>
            </a:p>
          </p:txBody>
        </p:sp>
        <p:sp>
          <p:nvSpPr>
            <p:cNvPr id="118" name="Rectangle 7">
              <a:extLst>
                <a:ext uri="{FF2B5EF4-FFF2-40B4-BE49-F238E27FC236}">
                  <a16:creationId xmlns:a16="http://schemas.microsoft.com/office/drawing/2014/main" id="{39C0B2AD-CAFD-4D13-9862-F546922FE11E}"/>
                </a:ext>
              </a:extLst>
            </p:cNvPr>
            <p:cNvSpPr>
              <a:spLocks noChangeArrowheads="1"/>
            </p:cNvSpPr>
            <p:nvPr/>
          </p:nvSpPr>
          <p:spPr bwMode="auto">
            <a:xfrm>
              <a:off x="2139" y="927"/>
              <a:ext cx="150"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50000"/>
                </a:spcAft>
                <a:buClr>
                  <a:srgbClr val="FFE600"/>
                </a:buClr>
                <a:buSzPct val="80000"/>
                <a:buFont typeface="Arial" charset="0"/>
                <a:buNone/>
                <a:tabLst/>
                <a:defRPr/>
              </a:pPr>
              <a:endParaRPr kumimoji="0" lang="en-US" sz="900" b="0" i="0" u="none" strike="noStrike" kern="1200" cap="none" spc="0" normalizeH="0" baseline="0" noProof="0">
                <a:ln>
                  <a:noFill/>
                </a:ln>
                <a:solidFill>
                  <a:srgbClr val="000000"/>
                </a:solidFill>
                <a:effectLst/>
                <a:uLnTx/>
                <a:uFillTx/>
                <a:latin typeface="EYInterstate Light" pitchFamily="2" charset="0"/>
                <a:ea typeface="+mn-ea"/>
                <a:cs typeface="+mn-cs"/>
              </a:endParaRPr>
            </a:p>
          </p:txBody>
        </p:sp>
        <p:sp>
          <p:nvSpPr>
            <p:cNvPr id="119" name="Freeform 8">
              <a:extLst>
                <a:ext uri="{FF2B5EF4-FFF2-40B4-BE49-F238E27FC236}">
                  <a16:creationId xmlns:a16="http://schemas.microsoft.com/office/drawing/2014/main" id="{A096CE6E-C202-4EC3-A099-37B8D377D740}"/>
                </a:ext>
              </a:extLst>
            </p:cNvPr>
            <p:cNvSpPr>
              <a:spLocks noEditPoints="1"/>
            </p:cNvSpPr>
            <p:nvPr/>
          </p:nvSpPr>
          <p:spPr bwMode="auto">
            <a:xfrm>
              <a:off x="2023" y="1137"/>
              <a:ext cx="98" cy="98"/>
            </a:xfrm>
            <a:custGeom>
              <a:avLst/>
              <a:gdLst>
                <a:gd name="T0" fmla="*/ 48 w 98"/>
                <a:gd name="T1" fmla="*/ 98 h 98"/>
                <a:gd name="T2" fmla="*/ 30 w 98"/>
                <a:gd name="T3" fmla="*/ 94 h 98"/>
                <a:gd name="T4" fmla="*/ 14 w 98"/>
                <a:gd name="T5" fmla="*/ 84 h 98"/>
                <a:gd name="T6" fmla="*/ 4 w 98"/>
                <a:gd name="T7" fmla="*/ 68 h 98"/>
                <a:gd name="T8" fmla="*/ 0 w 98"/>
                <a:gd name="T9" fmla="*/ 50 h 98"/>
                <a:gd name="T10" fmla="*/ 0 w 98"/>
                <a:gd name="T11" fmla="*/ 40 h 98"/>
                <a:gd name="T12" fmla="*/ 8 w 98"/>
                <a:gd name="T13" fmla="*/ 22 h 98"/>
                <a:gd name="T14" fmla="*/ 22 w 98"/>
                <a:gd name="T15" fmla="*/ 8 h 98"/>
                <a:gd name="T16" fmla="*/ 38 w 98"/>
                <a:gd name="T17" fmla="*/ 2 h 98"/>
                <a:gd name="T18" fmla="*/ 48 w 98"/>
                <a:gd name="T19" fmla="*/ 0 h 98"/>
                <a:gd name="T20" fmla="*/ 68 w 98"/>
                <a:gd name="T21" fmla="*/ 4 h 98"/>
                <a:gd name="T22" fmla="*/ 84 w 98"/>
                <a:gd name="T23" fmla="*/ 14 h 98"/>
                <a:gd name="T24" fmla="*/ 94 w 98"/>
                <a:gd name="T25" fmla="*/ 30 h 98"/>
                <a:gd name="T26" fmla="*/ 98 w 98"/>
                <a:gd name="T27" fmla="*/ 50 h 98"/>
                <a:gd name="T28" fmla="*/ 96 w 98"/>
                <a:gd name="T29" fmla="*/ 60 h 98"/>
                <a:gd name="T30" fmla="*/ 88 w 98"/>
                <a:gd name="T31" fmla="*/ 76 h 98"/>
                <a:gd name="T32" fmla="*/ 76 w 98"/>
                <a:gd name="T33" fmla="*/ 90 h 98"/>
                <a:gd name="T34" fmla="*/ 58 w 98"/>
                <a:gd name="T35" fmla="*/ 96 h 98"/>
                <a:gd name="T36" fmla="*/ 48 w 98"/>
                <a:gd name="T37" fmla="*/ 98 h 98"/>
                <a:gd name="T38" fmla="*/ 48 w 98"/>
                <a:gd name="T39" fmla="*/ 18 h 98"/>
                <a:gd name="T40" fmla="*/ 36 w 98"/>
                <a:gd name="T41" fmla="*/ 20 h 98"/>
                <a:gd name="T42" fmla="*/ 20 w 98"/>
                <a:gd name="T43" fmla="*/ 38 h 98"/>
                <a:gd name="T44" fmla="*/ 18 w 98"/>
                <a:gd name="T45" fmla="*/ 50 h 98"/>
                <a:gd name="T46" fmla="*/ 18 w 98"/>
                <a:gd name="T47" fmla="*/ 56 h 98"/>
                <a:gd name="T48" fmla="*/ 26 w 98"/>
                <a:gd name="T49" fmla="*/ 70 h 98"/>
                <a:gd name="T50" fmla="*/ 42 w 98"/>
                <a:gd name="T51" fmla="*/ 80 h 98"/>
                <a:gd name="T52" fmla="*/ 48 w 98"/>
                <a:gd name="T53" fmla="*/ 80 h 98"/>
                <a:gd name="T54" fmla="*/ 60 w 98"/>
                <a:gd name="T55" fmla="*/ 78 h 98"/>
                <a:gd name="T56" fmla="*/ 76 w 98"/>
                <a:gd name="T57" fmla="*/ 62 h 98"/>
                <a:gd name="T58" fmla="*/ 80 w 98"/>
                <a:gd name="T59" fmla="*/ 50 h 98"/>
                <a:gd name="T60" fmla="*/ 78 w 98"/>
                <a:gd name="T61" fmla="*/ 44 h 98"/>
                <a:gd name="T62" fmla="*/ 70 w 98"/>
                <a:gd name="T63" fmla="*/ 28 h 98"/>
                <a:gd name="T64" fmla="*/ 54 w 98"/>
                <a:gd name="T65" fmla="*/ 20 h 98"/>
                <a:gd name="T66" fmla="*/ 48 w 98"/>
                <a:gd name="T67" fmla="*/ 18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8" h="98">
                  <a:moveTo>
                    <a:pt x="48" y="98"/>
                  </a:moveTo>
                  <a:lnTo>
                    <a:pt x="48" y="98"/>
                  </a:lnTo>
                  <a:lnTo>
                    <a:pt x="38" y="96"/>
                  </a:lnTo>
                  <a:lnTo>
                    <a:pt x="30" y="94"/>
                  </a:lnTo>
                  <a:lnTo>
                    <a:pt x="22" y="90"/>
                  </a:lnTo>
                  <a:lnTo>
                    <a:pt x="14" y="84"/>
                  </a:lnTo>
                  <a:lnTo>
                    <a:pt x="8" y="76"/>
                  </a:lnTo>
                  <a:lnTo>
                    <a:pt x="4" y="68"/>
                  </a:lnTo>
                  <a:lnTo>
                    <a:pt x="0" y="60"/>
                  </a:lnTo>
                  <a:lnTo>
                    <a:pt x="0" y="50"/>
                  </a:lnTo>
                  <a:lnTo>
                    <a:pt x="0" y="50"/>
                  </a:lnTo>
                  <a:lnTo>
                    <a:pt x="0" y="40"/>
                  </a:lnTo>
                  <a:lnTo>
                    <a:pt x="4" y="30"/>
                  </a:lnTo>
                  <a:lnTo>
                    <a:pt x="8" y="22"/>
                  </a:lnTo>
                  <a:lnTo>
                    <a:pt x="14" y="14"/>
                  </a:lnTo>
                  <a:lnTo>
                    <a:pt x="22" y="8"/>
                  </a:lnTo>
                  <a:lnTo>
                    <a:pt x="30" y="4"/>
                  </a:lnTo>
                  <a:lnTo>
                    <a:pt x="38" y="2"/>
                  </a:lnTo>
                  <a:lnTo>
                    <a:pt x="48" y="0"/>
                  </a:lnTo>
                  <a:lnTo>
                    <a:pt x="48" y="0"/>
                  </a:lnTo>
                  <a:lnTo>
                    <a:pt x="58" y="2"/>
                  </a:lnTo>
                  <a:lnTo>
                    <a:pt x="68" y="4"/>
                  </a:lnTo>
                  <a:lnTo>
                    <a:pt x="76" y="8"/>
                  </a:lnTo>
                  <a:lnTo>
                    <a:pt x="84" y="14"/>
                  </a:lnTo>
                  <a:lnTo>
                    <a:pt x="88" y="22"/>
                  </a:lnTo>
                  <a:lnTo>
                    <a:pt x="94" y="30"/>
                  </a:lnTo>
                  <a:lnTo>
                    <a:pt x="96" y="40"/>
                  </a:lnTo>
                  <a:lnTo>
                    <a:pt x="98" y="50"/>
                  </a:lnTo>
                  <a:lnTo>
                    <a:pt x="98" y="50"/>
                  </a:lnTo>
                  <a:lnTo>
                    <a:pt x="96" y="60"/>
                  </a:lnTo>
                  <a:lnTo>
                    <a:pt x="94" y="68"/>
                  </a:lnTo>
                  <a:lnTo>
                    <a:pt x="88" y="76"/>
                  </a:lnTo>
                  <a:lnTo>
                    <a:pt x="84" y="84"/>
                  </a:lnTo>
                  <a:lnTo>
                    <a:pt x="76" y="90"/>
                  </a:lnTo>
                  <a:lnTo>
                    <a:pt x="68" y="94"/>
                  </a:lnTo>
                  <a:lnTo>
                    <a:pt x="58" y="96"/>
                  </a:lnTo>
                  <a:lnTo>
                    <a:pt x="48" y="98"/>
                  </a:lnTo>
                  <a:lnTo>
                    <a:pt x="48" y="98"/>
                  </a:lnTo>
                  <a:close/>
                  <a:moveTo>
                    <a:pt x="48" y="18"/>
                  </a:moveTo>
                  <a:lnTo>
                    <a:pt x="48" y="18"/>
                  </a:lnTo>
                  <a:lnTo>
                    <a:pt x="42" y="20"/>
                  </a:lnTo>
                  <a:lnTo>
                    <a:pt x="36" y="20"/>
                  </a:lnTo>
                  <a:lnTo>
                    <a:pt x="26" y="28"/>
                  </a:lnTo>
                  <a:lnTo>
                    <a:pt x="20" y="38"/>
                  </a:lnTo>
                  <a:lnTo>
                    <a:pt x="18" y="44"/>
                  </a:lnTo>
                  <a:lnTo>
                    <a:pt x="18" y="50"/>
                  </a:lnTo>
                  <a:lnTo>
                    <a:pt x="18" y="50"/>
                  </a:lnTo>
                  <a:lnTo>
                    <a:pt x="18" y="56"/>
                  </a:lnTo>
                  <a:lnTo>
                    <a:pt x="20" y="62"/>
                  </a:lnTo>
                  <a:lnTo>
                    <a:pt x="26" y="70"/>
                  </a:lnTo>
                  <a:lnTo>
                    <a:pt x="36" y="78"/>
                  </a:lnTo>
                  <a:lnTo>
                    <a:pt x="42" y="80"/>
                  </a:lnTo>
                  <a:lnTo>
                    <a:pt x="48" y="80"/>
                  </a:lnTo>
                  <a:lnTo>
                    <a:pt x="48" y="80"/>
                  </a:lnTo>
                  <a:lnTo>
                    <a:pt x="54" y="80"/>
                  </a:lnTo>
                  <a:lnTo>
                    <a:pt x="60" y="78"/>
                  </a:lnTo>
                  <a:lnTo>
                    <a:pt x="70" y="70"/>
                  </a:lnTo>
                  <a:lnTo>
                    <a:pt x="76" y="62"/>
                  </a:lnTo>
                  <a:lnTo>
                    <a:pt x="78" y="56"/>
                  </a:lnTo>
                  <a:lnTo>
                    <a:pt x="80" y="50"/>
                  </a:lnTo>
                  <a:lnTo>
                    <a:pt x="80" y="50"/>
                  </a:lnTo>
                  <a:lnTo>
                    <a:pt x="78" y="44"/>
                  </a:lnTo>
                  <a:lnTo>
                    <a:pt x="76" y="38"/>
                  </a:lnTo>
                  <a:lnTo>
                    <a:pt x="70" y="28"/>
                  </a:lnTo>
                  <a:lnTo>
                    <a:pt x="60" y="20"/>
                  </a:lnTo>
                  <a:lnTo>
                    <a:pt x="54" y="20"/>
                  </a:lnTo>
                  <a:lnTo>
                    <a:pt x="48" y="18"/>
                  </a:lnTo>
                  <a:lnTo>
                    <a:pt x="48"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50000"/>
                </a:spcAft>
                <a:buClr>
                  <a:srgbClr val="FFE600"/>
                </a:buClr>
                <a:buSzPct val="80000"/>
                <a:buFont typeface="Arial" charset="0"/>
                <a:buNone/>
                <a:tabLst/>
                <a:defRPr/>
              </a:pPr>
              <a:endParaRPr kumimoji="0" lang="en-US" sz="900" b="0" i="0" u="none" strike="noStrike" kern="1200" cap="none" spc="0" normalizeH="0" baseline="0" noProof="0">
                <a:ln>
                  <a:noFill/>
                </a:ln>
                <a:solidFill>
                  <a:srgbClr val="000000"/>
                </a:solidFill>
                <a:effectLst/>
                <a:uLnTx/>
                <a:uFillTx/>
                <a:latin typeface="EYInterstate Light" pitchFamily="2" charset="0"/>
                <a:ea typeface="+mn-ea"/>
                <a:cs typeface="+mn-cs"/>
              </a:endParaRPr>
            </a:p>
          </p:txBody>
        </p:sp>
        <p:sp>
          <p:nvSpPr>
            <p:cNvPr id="120" name="Freeform 9">
              <a:extLst>
                <a:ext uri="{FF2B5EF4-FFF2-40B4-BE49-F238E27FC236}">
                  <a16:creationId xmlns:a16="http://schemas.microsoft.com/office/drawing/2014/main" id="{6AA3A7AA-DCE2-42AC-BCE6-096772BF0FE5}"/>
                </a:ext>
              </a:extLst>
            </p:cNvPr>
            <p:cNvSpPr>
              <a:spLocks noEditPoints="1"/>
            </p:cNvSpPr>
            <p:nvPr/>
          </p:nvSpPr>
          <p:spPr bwMode="auto">
            <a:xfrm>
              <a:off x="2091" y="1419"/>
              <a:ext cx="96" cy="98"/>
            </a:xfrm>
            <a:custGeom>
              <a:avLst/>
              <a:gdLst>
                <a:gd name="T0" fmla="*/ 48 w 96"/>
                <a:gd name="T1" fmla="*/ 98 h 98"/>
                <a:gd name="T2" fmla="*/ 28 w 96"/>
                <a:gd name="T3" fmla="*/ 94 h 98"/>
                <a:gd name="T4" fmla="*/ 14 w 96"/>
                <a:gd name="T5" fmla="*/ 84 h 98"/>
                <a:gd name="T6" fmla="*/ 2 w 96"/>
                <a:gd name="T7" fmla="*/ 68 h 98"/>
                <a:gd name="T8" fmla="*/ 0 w 96"/>
                <a:gd name="T9" fmla="*/ 50 h 98"/>
                <a:gd name="T10" fmla="*/ 0 w 96"/>
                <a:gd name="T11" fmla="*/ 40 h 98"/>
                <a:gd name="T12" fmla="*/ 8 w 96"/>
                <a:gd name="T13" fmla="*/ 22 h 98"/>
                <a:gd name="T14" fmla="*/ 20 w 96"/>
                <a:gd name="T15" fmla="*/ 10 h 98"/>
                <a:gd name="T16" fmla="*/ 38 w 96"/>
                <a:gd name="T17" fmla="*/ 2 h 98"/>
                <a:gd name="T18" fmla="*/ 48 w 96"/>
                <a:gd name="T19" fmla="*/ 0 h 98"/>
                <a:gd name="T20" fmla="*/ 66 w 96"/>
                <a:gd name="T21" fmla="*/ 4 h 98"/>
                <a:gd name="T22" fmla="*/ 82 w 96"/>
                <a:gd name="T23" fmla="*/ 14 h 98"/>
                <a:gd name="T24" fmla="*/ 92 w 96"/>
                <a:gd name="T25" fmla="*/ 30 h 98"/>
                <a:gd name="T26" fmla="*/ 96 w 96"/>
                <a:gd name="T27" fmla="*/ 50 h 98"/>
                <a:gd name="T28" fmla="*/ 96 w 96"/>
                <a:gd name="T29" fmla="*/ 60 h 98"/>
                <a:gd name="T30" fmla="*/ 88 w 96"/>
                <a:gd name="T31" fmla="*/ 76 h 98"/>
                <a:gd name="T32" fmla="*/ 74 w 96"/>
                <a:gd name="T33" fmla="*/ 90 h 98"/>
                <a:gd name="T34" fmla="*/ 58 w 96"/>
                <a:gd name="T35" fmla="*/ 98 h 98"/>
                <a:gd name="T36" fmla="*/ 48 w 96"/>
                <a:gd name="T37" fmla="*/ 98 h 98"/>
                <a:gd name="T38" fmla="*/ 48 w 96"/>
                <a:gd name="T39" fmla="*/ 18 h 98"/>
                <a:gd name="T40" fmla="*/ 36 w 96"/>
                <a:gd name="T41" fmla="*/ 22 h 98"/>
                <a:gd name="T42" fmla="*/ 20 w 96"/>
                <a:gd name="T43" fmla="*/ 38 h 98"/>
                <a:gd name="T44" fmla="*/ 18 w 96"/>
                <a:gd name="T45" fmla="*/ 50 h 98"/>
                <a:gd name="T46" fmla="*/ 18 w 96"/>
                <a:gd name="T47" fmla="*/ 56 h 98"/>
                <a:gd name="T48" fmla="*/ 26 w 96"/>
                <a:gd name="T49" fmla="*/ 72 h 98"/>
                <a:gd name="T50" fmla="*/ 42 w 96"/>
                <a:gd name="T51" fmla="*/ 80 h 98"/>
                <a:gd name="T52" fmla="*/ 48 w 96"/>
                <a:gd name="T53" fmla="*/ 80 h 98"/>
                <a:gd name="T54" fmla="*/ 60 w 96"/>
                <a:gd name="T55" fmla="*/ 78 h 98"/>
                <a:gd name="T56" fmla="*/ 76 w 96"/>
                <a:gd name="T57" fmla="*/ 62 h 98"/>
                <a:gd name="T58" fmla="*/ 78 w 96"/>
                <a:gd name="T59" fmla="*/ 50 h 98"/>
                <a:gd name="T60" fmla="*/ 78 w 96"/>
                <a:gd name="T61" fmla="*/ 44 h 98"/>
                <a:gd name="T62" fmla="*/ 70 w 96"/>
                <a:gd name="T63" fmla="*/ 28 h 98"/>
                <a:gd name="T64" fmla="*/ 54 w 96"/>
                <a:gd name="T65" fmla="*/ 20 h 98"/>
                <a:gd name="T66" fmla="*/ 48 w 96"/>
                <a:gd name="T67" fmla="*/ 18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6" h="98">
                  <a:moveTo>
                    <a:pt x="48" y="98"/>
                  </a:moveTo>
                  <a:lnTo>
                    <a:pt x="48" y="98"/>
                  </a:lnTo>
                  <a:lnTo>
                    <a:pt x="38" y="98"/>
                  </a:lnTo>
                  <a:lnTo>
                    <a:pt x="28" y="94"/>
                  </a:lnTo>
                  <a:lnTo>
                    <a:pt x="20" y="90"/>
                  </a:lnTo>
                  <a:lnTo>
                    <a:pt x="14" y="84"/>
                  </a:lnTo>
                  <a:lnTo>
                    <a:pt x="8" y="76"/>
                  </a:lnTo>
                  <a:lnTo>
                    <a:pt x="2" y="68"/>
                  </a:lnTo>
                  <a:lnTo>
                    <a:pt x="0" y="60"/>
                  </a:lnTo>
                  <a:lnTo>
                    <a:pt x="0" y="50"/>
                  </a:lnTo>
                  <a:lnTo>
                    <a:pt x="0" y="50"/>
                  </a:lnTo>
                  <a:lnTo>
                    <a:pt x="0" y="40"/>
                  </a:lnTo>
                  <a:lnTo>
                    <a:pt x="2" y="30"/>
                  </a:lnTo>
                  <a:lnTo>
                    <a:pt x="8" y="22"/>
                  </a:lnTo>
                  <a:lnTo>
                    <a:pt x="14" y="14"/>
                  </a:lnTo>
                  <a:lnTo>
                    <a:pt x="20" y="10"/>
                  </a:lnTo>
                  <a:lnTo>
                    <a:pt x="28" y="4"/>
                  </a:lnTo>
                  <a:lnTo>
                    <a:pt x="38" y="2"/>
                  </a:lnTo>
                  <a:lnTo>
                    <a:pt x="48" y="0"/>
                  </a:lnTo>
                  <a:lnTo>
                    <a:pt x="48" y="0"/>
                  </a:lnTo>
                  <a:lnTo>
                    <a:pt x="58" y="2"/>
                  </a:lnTo>
                  <a:lnTo>
                    <a:pt x="66" y="4"/>
                  </a:lnTo>
                  <a:lnTo>
                    <a:pt x="74" y="10"/>
                  </a:lnTo>
                  <a:lnTo>
                    <a:pt x="82" y="14"/>
                  </a:lnTo>
                  <a:lnTo>
                    <a:pt x="88" y="22"/>
                  </a:lnTo>
                  <a:lnTo>
                    <a:pt x="92" y="30"/>
                  </a:lnTo>
                  <a:lnTo>
                    <a:pt x="96" y="40"/>
                  </a:lnTo>
                  <a:lnTo>
                    <a:pt x="96" y="50"/>
                  </a:lnTo>
                  <a:lnTo>
                    <a:pt x="96" y="50"/>
                  </a:lnTo>
                  <a:lnTo>
                    <a:pt x="96" y="60"/>
                  </a:lnTo>
                  <a:lnTo>
                    <a:pt x="92" y="68"/>
                  </a:lnTo>
                  <a:lnTo>
                    <a:pt x="88" y="76"/>
                  </a:lnTo>
                  <a:lnTo>
                    <a:pt x="82" y="84"/>
                  </a:lnTo>
                  <a:lnTo>
                    <a:pt x="74" y="90"/>
                  </a:lnTo>
                  <a:lnTo>
                    <a:pt x="66" y="94"/>
                  </a:lnTo>
                  <a:lnTo>
                    <a:pt x="58" y="98"/>
                  </a:lnTo>
                  <a:lnTo>
                    <a:pt x="48" y="98"/>
                  </a:lnTo>
                  <a:lnTo>
                    <a:pt x="48" y="98"/>
                  </a:lnTo>
                  <a:close/>
                  <a:moveTo>
                    <a:pt x="48" y="18"/>
                  </a:moveTo>
                  <a:lnTo>
                    <a:pt x="48" y="18"/>
                  </a:lnTo>
                  <a:lnTo>
                    <a:pt x="42" y="20"/>
                  </a:lnTo>
                  <a:lnTo>
                    <a:pt x="36" y="22"/>
                  </a:lnTo>
                  <a:lnTo>
                    <a:pt x="26" y="28"/>
                  </a:lnTo>
                  <a:lnTo>
                    <a:pt x="20" y="38"/>
                  </a:lnTo>
                  <a:lnTo>
                    <a:pt x="18" y="44"/>
                  </a:lnTo>
                  <a:lnTo>
                    <a:pt x="18" y="50"/>
                  </a:lnTo>
                  <a:lnTo>
                    <a:pt x="18" y="50"/>
                  </a:lnTo>
                  <a:lnTo>
                    <a:pt x="18" y="56"/>
                  </a:lnTo>
                  <a:lnTo>
                    <a:pt x="20" y="62"/>
                  </a:lnTo>
                  <a:lnTo>
                    <a:pt x="26" y="72"/>
                  </a:lnTo>
                  <a:lnTo>
                    <a:pt x="36" y="78"/>
                  </a:lnTo>
                  <a:lnTo>
                    <a:pt x="42" y="80"/>
                  </a:lnTo>
                  <a:lnTo>
                    <a:pt x="48" y="80"/>
                  </a:lnTo>
                  <a:lnTo>
                    <a:pt x="48" y="80"/>
                  </a:lnTo>
                  <a:lnTo>
                    <a:pt x="54" y="80"/>
                  </a:lnTo>
                  <a:lnTo>
                    <a:pt x="60" y="78"/>
                  </a:lnTo>
                  <a:lnTo>
                    <a:pt x="70" y="72"/>
                  </a:lnTo>
                  <a:lnTo>
                    <a:pt x="76" y="62"/>
                  </a:lnTo>
                  <a:lnTo>
                    <a:pt x="78" y="56"/>
                  </a:lnTo>
                  <a:lnTo>
                    <a:pt x="78" y="50"/>
                  </a:lnTo>
                  <a:lnTo>
                    <a:pt x="78" y="50"/>
                  </a:lnTo>
                  <a:lnTo>
                    <a:pt x="78" y="44"/>
                  </a:lnTo>
                  <a:lnTo>
                    <a:pt x="76" y="38"/>
                  </a:lnTo>
                  <a:lnTo>
                    <a:pt x="70" y="28"/>
                  </a:lnTo>
                  <a:lnTo>
                    <a:pt x="60" y="22"/>
                  </a:lnTo>
                  <a:lnTo>
                    <a:pt x="54" y="20"/>
                  </a:lnTo>
                  <a:lnTo>
                    <a:pt x="48" y="18"/>
                  </a:lnTo>
                  <a:lnTo>
                    <a:pt x="48"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50000"/>
                </a:spcAft>
                <a:buClr>
                  <a:srgbClr val="FFE600"/>
                </a:buClr>
                <a:buSzPct val="80000"/>
                <a:buFont typeface="Arial" charset="0"/>
                <a:buNone/>
                <a:tabLst/>
                <a:defRPr/>
              </a:pPr>
              <a:endParaRPr kumimoji="0" lang="en-US" sz="900" b="0" i="0" u="none" strike="noStrike" kern="1200" cap="none" spc="0" normalizeH="0" baseline="0" noProof="0">
                <a:ln>
                  <a:noFill/>
                </a:ln>
                <a:solidFill>
                  <a:srgbClr val="000000"/>
                </a:solidFill>
                <a:effectLst/>
                <a:uLnTx/>
                <a:uFillTx/>
                <a:latin typeface="EYInterstate Light" pitchFamily="2" charset="0"/>
                <a:ea typeface="+mn-ea"/>
                <a:cs typeface="+mn-cs"/>
              </a:endParaRPr>
            </a:p>
          </p:txBody>
        </p:sp>
        <p:sp>
          <p:nvSpPr>
            <p:cNvPr id="121" name="Freeform 10">
              <a:extLst>
                <a:ext uri="{FF2B5EF4-FFF2-40B4-BE49-F238E27FC236}">
                  <a16:creationId xmlns:a16="http://schemas.microsoft.com/office/drawing/2014/main" id="{CFCD1D98-90EA-4F1C-BE8D-7D697CE6CDA0}"/>
                </a:ext>
              </a:extLst>
            </p:cNvPr>
            <p:cNvSpPr>
              <a:spLocks/>
            </p:cNvSpPr>
            <p:nvPr/>
          </p:nvSpPr>
          <p:spPr bwMode="auto">
            <a:xfrm>
              <a:off x="2317" y="1387"/>
              <a:ext cx="86" cy="86"/>
            </a:xfrm>
            <a:custGeom>
              <a:avLst/>
              <a:gdLst>
                <a:gd name="T0" fmla="*/ 74 w 86"/>
                <a:gd name="T1" fmla="*/ 86 h 86"/>
                <a:gd name="T2" fmla="*/ 0 w 86"/>
                <a:gd name="T3" fmla="*/ 12 h 86"/>
                <a:gd name="T4" fmla="*/ 12 w 86"/>
                <a:gd name="T5" fmla="*/ 0 h 86"/>
                <a:gd name="T6" fmla="*/ 86 w 86"/>
                <a:gd name="T7" fmla="*/ 74 h 86"/>
                <a:gd name="T8" fmla="*/ 74 w 86"/>
                <a:gd name="T9" fmla="*/ 86 h 86"/>
              </a:gdLst>
              <a:ahLst/>
              <a:cxnLst>
                <a:cxn ang="0">
                  <a:pos x="T0" y="T1"/>
                </a:cxn>
                <a:cxn ang="0">
                  <a:pos x="T2" y="T3"/>
                </a:cxn>
                <a:cxn ang="0">
                  <a:pos x="T4" y="T5"/>
                </a:cxn>
                <a:cxn ang="0">
                  <a:pos x="T6" y="T7"/>
                </a:cxn>
                <a:cxn ang="0">
                  <a:pos x="T8" y="T9"/>
                </a:cxn>
              </a:cxnLst>
              <a:rect l="0" t="0" r="r" b="b"/>
              <a:pathLst>
                <a:path w="86" h="86">
                  <a:moveTo>
                    <a:pt x="74" y="86"/>
                  </a:moveTo>
                  <a:lnTo>
                    <a:pt x="0" y="12"/>
                  </a:lnTo>
                  <a:lnTo>
                    <a:pt x="12" y="0"/>
                  </a:lnTo>
                  <a:lnTo>
                    <a:pt x="86" y="74"/>
                  </a:lnTo>
                  <a:lnTo>
                    <a:pt x="74" y="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50000"/>
                </a:spcAft>
                <a:buClr>
                  <a:srgbClr val="FFE600"/>
                </a:buClr>
                <a:buSzPct val="80000"/>
                <a:buFont typeface="Arial" charset="0"/>
                <a:buNone/>
                <a:tabLst/>
                <a:defRPr/>
              </a:pPr>
              <a:endParaRPr kumimoji="0" lang="en-US" sz="900" b="0" i="0" u="none" strike="noStrike" kern="1200" cap="none" spc="0" normalizeH="0" baseline="0" noProof="0">
                <a:ln>
                  <a:noFill/>
                </a:ln>
                <a:solidFill>
                  <a:srgbClr val="000000"/>
                </a:solidFill>
                <a:effectLst/>
                <a:uLnTx/>
                <a:uFillTx/>
                <a:latin typeface="EYInterstate Light" pitchFamily="2" charset="0"/>
                <a:ea typeface="+mn-ea"/>
                <a:cs typeface="+mn-cs"/>
              </a:endParaRPr>
            </a:p>
          </p:txBody>
        </p:sp>
        <p:sp>
          <p:nvSpPr>
            <p:cNvPr id="122" name="Freeform 11">
              <a:extLst>
                <a:ext uri="{FF2B5EF4-FFF2-40B4-BE49-F238E27FC236}">
                  <a16:creationId xmlns:a16="http://schemas.microsoft.com/office/drawing/2014/main" id="{139CB4F6-3C9D-4DC9-BDB4-B7A4A4EC48BB}"/>
                </a:ext>
              </a:extLst>
            </p:cNvPr>
            <p:cNvSpPr>
              <a:spLocks/>
            </p:cNvSpPr>
            <p:nvPr/>
          </p:nvSpPr>
          <p:spPr bwMode="auto">
            <a:xfrm>
              <a:off x="2317" y="1387"/>
              <a:ext cx="86" cy="86"/>
            </a:xfrm>
            <a:custGeom>
              <a:avLst/>
              <a:gdLst>
                <a:gd name="T0" fmla="*/ 12 w 86"/>
                <a:gd name="T1" fmla="*/ 86 h 86"/>
                <a:gd name="T2" fmla="*/ 0 w 86"/>
                <a:gd name="T3" fmla="*/ 74 h 86"/>
                <a:gd name="T4" fmla="*/ 74 w 86"/>
                <a:gd name="T5" fmla="*/ 0 h 86"/>
                <a:gd name="T6" fmla="*/ 86 w 86"/>
                <a:gd name="T7" fmla="*/ 12 h 86"/>
                <a:gd name="T8" fmla="*/ 12 w 86"/>
                <a:gd name="T9" fmla="*/ 86 h 86"/>
              </a:gdLst>
              <a:ahLst/>
              <a:cxnLst>
                <a:cxn ang="0">
                  <a:pos x="T0" y="T1"/>
                </a:cxn>
                <a:cxn ang="0">
                  <a:pos x="T2" y="T3"/>
                </a:cxn>
                <a:cxn ang="0">
                  <a:pos x="T4" y="T5"/>
                </a:cxn>
                <a:cxn ang="0">
                  <a:pos x="T6" y="T7"/>
                </a:cxn>
                <a:cxn ang="0">
                  <a:pos x="T8" y="T9"/>
                </a:cxn>
              </a:cxnLst>
              <a:rect l="0" t="0" r="r" b="b"/>
              <a:pathLst>
                <a:path w="86" h="86">
                  <a:moveTo>
                    <a:pt x="12" y="86"/>
                  </a:moveTo>
                  <a:lnTo>
                    <a:pt x="0" y="74"/>
                  </a:lnTo>
                  <a:lnTo>
                    <a:pt x="74" y="0"/>
                  </a:lnTo>
                  <a:lnTo>
                    <a:pt x="86" y="12"/>
                  </a:lnTo>
                  <a:lnTo>
                    <a:pt x="12" y="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50000"/>
                </a:spcAft>
                <a:buClr>
                  <a:srgbClr val="FFE600"/>
                </a:buClr>
                <a:buSzPct val="80000"/>
                <a:buFont typeface="Arial" charset="0"/>
                <a:buNone/>
                <a:tabLst/>
                <a:defRPr/>
              </a:pPr>
              <a:endParaRPr kumimoji="0" lang="en-US" sz="900" b="0" i="0" u="none" strike="noStrike" kern="1200" cap="none" spc="0" normalizeH="0" baseline="0" noProof="0">
                <a:ln>
                  <a:noFill/>
                </a:ln>
                <a:solidFill>
                  <a:srgbClr val="000000"/>
                </a:solidFill>
                <a:effectLst/>
                <a:uLnTx/>
                <a:uFillTx/>
                <a:latin typeface="EYInterstate Light" pitchFamily="2" charset="0"/>
                <a:ea typeface="+mn-ea"/>
                <a:cs typeface="+mn-cs"/>
              </a:endParaRPr>
            </a:p>
          </p:txBody>
        </p:sp>
        <p:sp>
          <p:nvSpPr>
            <p:cNvPr id="123" name="Freeform 12">
              <a:extLst>
                <a:ext uri="{FF2B5EF4-FFF2-40B4-BE49-F238E27FC236}">
                  <a16:creationId xmlns:a16="http://schemas.microsoft.com/office/drawing/2014/main" id="{9727D181-A27E-400C-AF6E-E52E0CBBCA16}"/>
                </a:ext>
              </a:extLst>
            </p:cNvPr>
            <p:cNvSpPr>
              <a:spLocks/>
            </p:cNvSpPr>
            <p:nvPr/>
          </p:nvSpPr>
          <p:spPr bwMode="auto">
            <a:xfrm>
              <a:off x="2129" y="1139"/>
              <a:ext cx="178" cy="290"/>
            </a:xfrm>
            <a:custGeom>
              <a:avLst/>
              <a:gdLst>
                <a:gd name="T0" fmla="*/ 18 w 178"/>
                <a:gd name="T1" fmla="*/ 290 h 290"/>
                <a:gd name="T2" fmla="*/ 0 w 178"/>
                <a:gd name="T3" fmla="*/ 290 h 290"/>
                <a:gd name="T4" fmla="*/ 0 w 178"/>
                <a:gd name="T5" fmla="*/ 140 h 290"/>
                <a:gd name="T6" fmla="*/ 160 w 178"/>
                <a:gd name="T7" fmla="*/ 140 h 290"/>
                <a:gd name="T8" fmla="*/ 160 w 178"/>
                <a:gd name="T9" fmla="*/ 0 h 290"/>
                <a:gd name="T10" fmla="*/ 178 w 178"/>
                <a:gd name="T11" fmla="*/ 0 h 290"/>
                <a:gd name="T12" fmla="*/ 178 w 178"/>
                <a:gd name="T13" fmla="*/ 158 h 290"/>
                <a:gd name="T14" fmla="*/ 18 w 178"/>
                <a:gd name="T15" fmla="*/ 158 h 290"/>
                <a:gd name="T16" fmla="*/ 18 w 178"/>
                <a:gd name="T17" fmla="*/ 29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8" h="290">
                  <a:moveTo>
                    <a:pt x="18" y="290"/>
                  </a:moveTo>
                  <a:lnTo>
                    <a:pt x="0" y="290"/>
                  </a:lnTo>
                  <a:lnTo>
                    <a:pt x="0" y="140"/>
                  </a:lnTo>
                  <a:lnTo>
                    <a:pt x="160" y="140"/>
                  </a:lnTo>
                  <a:lnTo>
                    <a:pt x="160" y="0"/>
                  </a:lnTo>
                  <a:lnTo>
                    <a:pt x="178" y="0"/>
                  </a:lnTo>
                  <a:lnTo>
                    <a:pt x="178" y="158"/>
                  </a:lnTo>
                  <a:lnTo>
                    <a:pt x="18" y="158"/>
                  </a:lnTo>
                  <a:lnTo>
                    <a:pt x="18" y="2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50000"/>
                </a:spcAft>
                <a:buClr>
                  <a:srgbClr val="FFE600"/>
                </a:buClr>
                <a:buSzPct val="80000"/>
                <a:buFont typeface="Arial" charset="0"/>
                <a:buNone/>
                <a:tabLst/>
                <a:defRPr/>
              </a:pPr>
              <a:endParaRPr kumimoji="0" lang="en-US" sz="900" b="0" i="0" u="none" strike="noStrike" kern="1200" cap="none" spc="0" normalizeH="0" baseline="0" noProof="0">
                <a:ln>
                  <a:noFill/>
                </a:ln>
                <a:solidFill>
                  <a:srgbClr val="000000"/>
                </a:solidFill>
                <a:effectLst/>
                <a:uLnTx/>
                <a:uFillTx/>
                <a:latin typeface="EYInterstate Light" pitchFamily="2" charset="0"/>
                <a:ea typeface="+mn-ea"/>
                <a:cs typeface="+mn-cs"/>
              </a:endParaRPr>
            </a:p>
          </p:txBody>
        </p:sp>
        <p:sp>
          <p:nvSpPr>
            <p:cNvPr id="124" name="Freeform 13">
              <a:extLst>
                <a:ext uri="{FF2B5EF4-FFF2-40B4-BE49-F238E27FC236}">
                  <a16:creationId xmlns:a16="http://schemas.microsoft.com/office/drawing/2014/main" id="{5EA32E69-C947-41D2-AA92-C6DEBFDF4B57}"/>
                </a:ext>
              </a:extLst>
            </p:cNvPr>
            <p:cNvSpPr>
              <a:spLocks/>
            </p:cNvSpPr>
            <p:nvPr/>
          </p:nvSpPr>
          <p:spPr bwMode="auto">
            <a:xfrm>
              <a:off x="2255" y="1115"/>
              <a:ext cx="88" cy="56"/>
            </a:xfrm>
            <a:custGeom>
              <a:avLst/>
              <a:gdLst>
                <a:gd name="T0" fmla="*/ 74 w 88"/>
                <a:gd name="T1" fmla="*/ 56 h 56"/>
                <a:gd name="T2" fmla="*/ 44 w 88"/>
                <a:gd name="T3" fmla="*/ 26 h 56"/>
                <a:gd name="T4" fmla="*/ 14 w 88"/>
                <a:gd name="T5" fmla="*/ 56 h 56"/>
                <a:gd name="T6" fmla="*/ 0 w 88"/>
                <a:gd name="T7" fmla="*/ 44 h 56"/>
                <a:gd name="T8" fmla="*/ 44 w 88"/>
                <a:gd name="T9" fmla="*/ 0 h 56"/>
                <a:gd name="T10" fmla="*/ 88 w 88"/>
                <a:gd name="T11" fmla="*/ 44 h 56"/>
                <a:gd name="T12" fmla="*/ 74 w 88"/>
                <a:gd name="T13" fmla="*/ 56 h 56"/>
              </a:gdLst>
              <a:ahLst/>
              <a:cxnLst>
                <a:cxn ang="0">
                  <a:pos x="T0" y="T1"/>
                </a:cxn>
                <a:cxn ang="0">
                  <a:pos x="T2" y="T3"/>
                </a:cxn>
                <a:cxn ang="0">
                  <a:pos x="T4" y="T5"/>
                </a:cxn>
                <a:cxn ang="0">
                  <a:pos x="T6" y="T7"/>
                </a:cxn>
                <a:cxn ang="0">
                  <a:pos x="T8" y="T9"/>
                </a:cxn>
                <a:cxn ang="0">
                  <a:pos x="T10" y="T11"/>
                </a:cxn>
                <a:cxn ang="0">
                  <a:pos x="T12" y="T13"/>
                </a:cxn>
              </a:cxnLst>
              <a:rect l="0" t="0" r="r" b="b"/>
              <a:pathLst>
                <a:path w="88" h="56">
                  <a:moveTo>
                    <a:pt x="74" y="56"/>
                  </a:moveTo>
                  <a:lnTo>
                    <a:pt x="44" y="26"/>
                  </a:lnTo>
                  <a:lnTo>
                    <a:pt x="14" y="56"/>
                  </a:lnTo>
                  <a:lnTo>
                    <a:pt x="0" y="44"/>
                  </a:lnTo>
                  <a:lnTo>
                    <a:pt x="44" y="0"/>
                  </a:lnTo>
                  <a:lnTo>
                    <a:pt x="88" y="44"/>
                  </a:lnTo>
                  <a:lnTo>
                    <a:pt x="74" y="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50000"/>
                </a:spcAft>
                <a:buClr>
                  <a:srgbClr val="FFE600"/>
                </a:buClr>
                <a:buSzPct val="80000"/>
                <a:buFont typeface="Arial" charset="0"/>
                <a:buNone/>
                <a:tabLst/>
                <a:defRPr/>
              </a:pPr>
              <a:endParaRPr kumimoji="0" lang="en-US" sz="900" b="0" i="0" u="none" strike="noStrike" kern="1200" cap="none" spc="0" normalizeH="0" baseline="0" noProof="0">
                <a:ln>
                  <a:noFill/>
                </a:ln>
                <a:solidFill>
                  <a:srgbClr val="000000"/>
                </a:solidFill>
                <a:effectLst/>
                <a:uLnTx/>
                <a:uFillTx/>
                <a:latin typeface="EYInterstate Light" pitchFamily="2" charset="0"/>
                <a:ea typeface="+mn-ea"/>
                <a:cs typeface="+mn-cs"/>
              </a:endParaRPr>
            </a:p>
          </p:txBody>
        </p:sp>
      </p:grpSp>
      <p:sp>
        <p:nvSpPr>
          <p:cNvPr id="125" name="Rectangle 15">
            <a:extLst>
              <a:ext uri="{FF2B5EF4-FFF2-40B4-BE49-F238E27FC236}">
                <a16:creationId xmlns:a16="http://schemas.microsoft.com/office/drawing/2014/main" id="{AA30A934-8BD4-48DB-9857-26AC542BC242}"/>
              </a:ext>
            </a:extLst>
          </p:cNvPr>
          <p:cNvSpPr/>
          <p:nvPr/>
        </p:nvSpPr>
        <p:spPr>
          <a:xfrm>
            <a:off x="7229114" y="1442769"/>
            <a:ext cx="5978823" cy="5254204"/>
          </a:xfrm>
          <a:custGeom>
            <a:avLst/>
            <a:gdLst>
              <a:gd name="connsiteX0" fmla="*/ 0 w 5978823"/>
              <a:gd name="connsiteY0" fmla="*/ 0 h 5877250"/>
              <a:gd name="connsiteX1" fmla="*/ 717459 w 5978823"/>
              <a:gd name="connsiteY1" fmla="*/ 0 h 5877250"/>
              <a:gd name="connsiteX2" fmla="*/ 1375129 w 5978823"/>
              <a:gd name="connsiteY2" fmla="*/ 0 h 5877250"/>
              <a:gd name="connsiteX3" fmla="*/ 2092588 w 5978823"/>
              <a:gd name="connsiteY3" fmla="*/ 0 h 5877250"/>
              <a:gd name="connsiteX4" fmla="*/ 2810047 w 5978823"/>
              <a:gd name="connsiteY4" fmla="*/ 0 h 5877250"/>
              <a:gd name="connsiteX5" fmla="*/ 3288353 w 5978823"/>
              <a:gd name="connsiteY5" fmla="*/ 0 h 5877250"/>
              <a:gd name="connsiteX6" fmla="*/ 3946023 w 5978823"/>
              <a:gd name="connsiteY6" fmla="*/ 0 h 5877250"/>
              <a:gd name="connsiteX7" fmla="*/ 4364541 w 5978823"/>
              <a:gd name="connsiteY7" fmla="*/ 0 h 5877250"/>
              <a:gd name="connsiteX8" fmla="*/ 5082000 w 5978823"/>
              <a:gd name="connsiteY8" fmla="*/ 0 h 5877250"/>
              <a:gd name="connsiteX9" fmla="*/ 5978823 w 5978823"/>
              <a:gd name="connsiteY9" fmla="*/ 0 h 5877250"/>
              <a:gd name="connsiteX10" fmla="*/ 5978823 w 5978823"/>
              <a:gd name="connsiteY10" fmla="*/ 705270 h 5877250"/>
              <a:gd name="connsiteX11" fmla="*/ 5978823 w 5978823"/>
              <a:gd name="connsiteY11" fmla="*/ 1351768 h 5877250"/>
              <a:gd name="connsiteX12" fmla="*/ 5978823 w 5978823"/>
              <a:gd name="connsiteY12" fmla="*/ 1763175 h 5877250"/>
              <a:gd name="connsiteX13" fmla="*/ 5978823 w 5978823"/>
              <a:gd name="connsiteY13" fmla="*/ 2409673 h 5877250"/>
              <a:gd name="connsiteX14" fmla="*/ 5978823 w 5978823"/>
              <a:gd name="connsiteY14" fmla="*/ 2879853 h 5877250"/>
              <a:gd name="connsiteX15" fmla="*/ 5978823 w 5978823"/>
              <a:gd name="connsiteY15" fmla="*/ 3291260 h 5877250"/>
              <a:gd name="connsiteX16" fmla="*/ 5978823 w 5978823"/>
              <a:gd name="connsiteY16" fmla="*/ 3996530 h 5877250"/>
              <a:gd name="connsiteX17" fmla="*/ 5978823 w 5978823"/>
              <a:gd name="connsiteY17" fmla="*/ 4643028 h 5877250"/>
              <a:gd name="connsiteX18" fmla="*/ 5978823 w 5978823"/>
              <a:gd name="connsiteY18" fmla="*/ 5230753 h 5877250"/>
              <a:gd name="connsiteX19" fmla="*/ 5978823 w 5978823"/>
              <a:gd name="connsiteY19" fmla="*/ 5877250 h 5877250"/>
              <a:gd name="connsiteX20" fmla="*/ 5500517 w 5978823"/>
              <a:gd name="connsiteY20" fmla="*/ 5877250 h 5877250"/>
              <a:gd name="connsiteX21" fmla="*/ 4783058 w 5978823"/>
              <a:gd name="connsiteY21" fmla="*/ 5877250 h 5877250"/>
              <a:gd name="connsiteX22" fmla="*/ 4304753 w 5978823"/>
              <a:gd name="connsiteY22" fmla="*/ 5877250 h 5877250"/>
              <a:gd name="connsiteX23" fmla="*/ 3587294 w 5978823"/>
              <a:gd name="connsiteY23" fmla="*/ 5877250 h 5877250"/>
              <a:gd name="connsiteX24" fmla="*/ 3168776 w 5978823"/>
              <a:gd name="connsiteY24" fmla="*/ 5877250 h 5877250"/>
              <a:gd name="connsiteX25" fmla="*/ 2451317 w 5978823"/>
              <a:gd name="connsiteY25" fmla="*/ 5877250 h 5877250"/>
              <a:gd name="connsiteX26" fmla="*/ 1853435 w 5978823"/>
              <a:gd name="connsiteY26" fmla="*/ 5877250 h 5877250"/>
              <a:gd name="connsiteX27" fmla="*/ 1195765 w 5978823"/>
              <a:gd name="connsiteY27" fmla="*/ 5877250 h 5877250"/>
              <a:gd name="connsiteX28" fmla="*/ 657671 w 5978823"/>
              <a:gd name="connsiteY28" fmla="*/ 5877250 h 5877250"/>
              <a:gd name="connsiteX29" fmla="*/ 0 w 5978823"/>
              <a:gd name="connsiteY29" fmla="*/ 5877250 h 5877250"/>
              <a:gd name="connsiteX30" fmla="*/ 0 w 5978823"/>
              <a:gd name="connsiteY30" fmla="*/ 5230753 h 5877250"/>
              <a:gd name="connsiteX31" fmla="*/ 0 w 5978823"/>
              <a:gd name="connsiteY31" fmla="*/ 4584255 h 5877250"/>
              <a:gd name="connsiteX32" fmla="*/ 0 w 5978823"/>
              <a:gd name="connsiteY32" fmla="*/ 3878985 h 5877250"/>
              <a:gd name="connsiteX33" fmla="*/ 0 w 5978823"/>
              <a:gd name="connsiteY33" fmla="*/ 3467578 h 5877250"/>
              <a:gd name="connsiteX34" fmla="*/ 0 w 5978823"/>
              <a:gd name="connsiteY34" fmla="*/ 2879853 h 5877250"/>
              <a:gd name="connsiteX35" fmla="*/ 0 w 5978823"/>
              <a:gd name="connsiteY35" fmla="*/ 2174583 h 5877250"/>
              <a:gd name="connsiteX36" fmla="*/ 0 w 5978823"/>
              <a:gd name="connsiteY36" fmla="*/ 1469313 h 5877250"/>
              <a:gd name="connsiteX37" fmla="*/ 0 w 5978823"/>
              <a:gd name="connsiteY37" fmla="*/ 999133 h 5877250"/>
              <a:gd name="connsiteX38" fmla="*/ 0 w 5978823"/>
              <a:gd name="connsiteY38" fmla="*/ 0 h 5877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5978823" h="5877250" extrusionOk="0">
                <a:moveTo>
                  <a:pt x="0" y="0"/>
                </a:moveTo>
                <a:cubicBezTo>
                  <a:pt x="277657" y="-9715"/>
                  <a:pt x="473136" y="19527"/>
                  <a:pt x="717459" y="0"/>
                </a:cubicBezTo>
                <a:cubicBezTo>
                  <a:pt x="961782" y="-19527"/>
                  <a:pt x="1184880" y="78773"/>
                  <a:pt x="1375129" y="0"/>
                </a:cubicBezTo>
                <a:cubicBezTo>
                  <a:pt x="1565378" y="-78773"/>
                  <a:pt x="1799047" y="36830"/>
                  <a:pt x="2092588" y="0"/>
                </a:cubicBezTo>
                <a:cubicBezTo>
                  <a:pt x="2386129" y="-36830"/>
                  <a:pt x="2658844" y="44438"/>
                  <a:pt x="2810047" y="0"/>
                </a:cubicBezTo>
                <a:cubicBezTo>
                  <a:pt x="2961250" y="-44438"/>
                  <a:pt x="3115111" y="12943"/>
                  <a:pt x="3288353" y="0"/>
                </a:cubicBezTo>
                <a:cubicBezTo>
                  <a:pt x="3461595" y="-12943"/>
                  <a:pt x="3781503" y="18455"/>
                  <a:pt x="3946023" y="0"/>
                </a:cubicBezTo>
                <a:cubicBezTo>
                  <a:pt x="4110543" y="-18455"/>
                  <a:pt x="4178956" y="161"/>
                  <a:pt x="4364541" y="0"/>
                </a:cubicBezTo>
                <a:cubicBezTo>
                  <a:pt x="4550126" y="-161"/>
                  <a:pt x="4760427" y="24380"/>
                  <a:pt x="5082000" y="0"/>
                </a:cubicBezTo>
                <a:cubicBezTo>
                  <a:pt x="5403573" y="-24380"/>
                  <a:pt x="5761504" y="1654"/>
                  <a:pt x="5978823" y="0"/>
                </a:cubicBezTo>
                <a:cubicBezTo>
                  <a:pt x="6040575" y="326899"/>
                  <a:pt x="5919270" y="378812"/>
                  <a:pt x="5978823" y="705270"/>
                </a:cubicBezTo>
                <a:cubicBezTo>
                  <a:pt x="6038376" y="1031728"/>
                  <a:pt x="5933540" y="1047461"/>
                  <a:pt x="5978823" y="1351768"/>
                </a:cubicBezTo>
                <a:cubicBezTo>
                  <a:pt x="6024106" y="1656075"/>
                  <a:pt x="5956249" y="1604091"/>
                  <a:pt x="5978823" y="1763175"/>
                </a:cubicBezTo>
                <a:cubicBezTo>
                  <a:pt x="6001397" y="1922259"/>
                  <a:pt x="5913604" y="2160945"/>
                  <a:pt x="5978823" y="2409673"/>
                </a:cubicBezTo>
                <a:cubicBezTo>
                  <a:pt x="6044042" y="2658401"/>
                  <a:pt x="5946279" y="2647658"/>
                  <a:pt x="5978823" y="2879853"/>
                </a:cubicBezTo>
                <a:cubicBezTo>
                  <a:pt x="6011367" y="3112048"/>
                  <a:pt x="5949663" y="3131033"/>
                  <a:pt x="5978823" y="3291260"/>
                </a:cubicBezTo>
                <a:cubicBezTo>
                  <a:pt x="6007983" y="3451487"/>
                  <a:pt x="5902154" y="3645390"/>
                  <a:pt x="5978823" y="3996530"/>
                </a:cubicBezTo>
                <a:cubicBezTo>
                  <a:pt x="6055492" y="4347670"/>
                  <a:pt x="5944774" y="4472271"/>
                  <a:pt x="5978823" y="4643028"/>
                </a:cubicBezTo>
                <a:cubicBezTo>
                  <a:pt x="6012872" y="4813785"/>
                  <a:pt x="5976562" y="5043440"/>
                  <a:pt x="5978823" y="5230753"/>
                </a:cubicBezTo>
                <a:cubicBezTo>
                  <a:pt x="5981084" y="5418067"/>
                  <a:pt x="5933880" y="5653813"/>
                  <a:pt x="5978823" y="5877250"/>
                </a:cubicBezTo>
                <a:cubicBezTo>
                  <a:pt x="5816299" y="5903089"/>
                  <a:pt x="5685322" y="5834312"/>
                  <a:pt x="5500517" y="5877250"/>
                </a:cubicBezTo>
                <a:cubicBezTo>
                  <a:pt x="5315712" y="5920188"/>
                  <a:pt x="4945126" y="5874068"/>
                  <a:pt x="4783058" y="5877250"/>
                </a:cubicBezTo>
                <a:cubicBezTo>
                  <a:pt x="4620990" y="5880432"/>
                  <a:pt x="4402238" y="5853577"/>
                  <a:pt x="4304753" y="5877250"/>
                </a:cubicBezTo>
                <a:cubicBezTo>
                  <a:pt x="4207268" y="5900923"/>
                  <a:pt x="3817389" y="5856032"/>
                  <a:pt x="3587294" y="5877250"/>
                </a:cubicBezTo>
                <a:cubicBezTo>
                  <a:pt x="3357199" y="5898468"/>
                  <a:pt x="3254063" y="5838916"/>
                  <a:pt x="3168776" y="5877250"/>
                </a:cubicBezTo>
                <a:cubicBezTo>
                  <a:pt x="3083489" y="5915584"/>
                  <a:pt x="2634169" y="5831518"/>
                  <a:pt x="2451317" y="5877250"/>
                </a:cubicBezTo>
                <a:cubicBezTo>
                  <a:pt x="2268465" y="5922982"/>
                  <a:pt x="2086284" y="5840521"/>
                  <a:pt x="1853435" y="5877250"/>
                </a:cubicBezTo>
                <a:cubicBezTo>
                  <a:pt x="1620586" y="5913979"/>
                  <a:pt x="1449446" y="5828923"/>
                  <a:pt x="1195765" y="5877250"/>
                </a:cubicBezTo>
                <a:cubicBezTo>
                  <a:pt x="942084" y="5925577"/>
                  <a:pt x="805971" y="5824403"/>
                  <a:pt x="657671" y="5877250"/>
                </a:cubicBezTo>
                <a:cubicBezTo>
                  <a:pt x="509371" y="5930097"/>
                  <a:pt x="149256" y="5849460"/>
                  <a:pt x="0" y="5877250"/>
                </a:cubicBezTo>
                <a:cubicBezTo>
                  <a:pt x="-41451" y="5562576"/>
                  <a:pt x="10358" y="5445672"/>
                  <a:pt x="0" y="5230753"/>
                </a:cubicBezTo>
                <a:cubicBezTo>
                  <a:pt x="-10358" y="5015834"/>
                  <a:pt x="25123" y="4803948"/>
                  <a:pt x="0" y="4584255"/>
                </a:cubicBezTo>
                <a:cubicBezTo>
                  <a:pt x="-25123" y="4364562"/>
                  <a:pt x="31572" y="4090239"/>
                  <a:pt x="0" y="3878985"/>
                </a:cubicBezTo>
                <a:cubicBezTo>
                  <a:pt x="-31572" y="3667731"/>
                  <a:pt x="28615" y="3559702"/>
                  <a:pt x="0" y="3467578"/>
                </a:cubicBezTo>
                <a:cubicBezTo>
                  <a:pt x="-28615" y="3375454"/>
                  <a:pt x="70199" y="3166830"/>
                  <a:pt x="0" y="2879853"/>
                </a:cubicBezTo>
                <a:cubicBezTo>
                  <a:pt x="-70199" y="2592876"/>
                  <a:pt x="3380" y="2420693"/>
                  <a:pt x="0" y="2174583"/>
                </a:cubicBezTo>
                <a:cubicBezTo>
                  <a:pt x="-3380" y="1928473"/>
                  <a:pt x="40795" y="1732524"/>
                  <a:pt x="0" y="1469313"/>
                </a:cubicBezTo>
                <a:cubicBezTo>
                  <a:pt x="-40795" y="1206102"/>
                  <a:pt x="9892" y="1201780"/>
                  <a:pt x="0" y="999133"/>
                </a:cubicBezTo>
                <a:cubicBezTo>
                  <a:pt x="-9892" y="796486"/>
                  <a:pt x="33808" y="361114"/>
                  <a:pt x="0" y="0"/>
                </a:cubicBezTo>
                <a:close/>
              </a:path>
            </a:pathLst>
          </a:custGeom>
          <a:noFill/>
          <a:ln w="19050">
            <a:solidFill>
              <a:schemeClr val="accent5"/>
            </a:solidFill>
            <a:prstDash val="sysDash"/>
            <a:extLst>
              <a:ext uri="{C807C97D-BFC1-408E-A445-0C87EB9F89A2}">
                <ask:lineSketchStyleProps xmlns:ask="http://schemas.microsoft.com/office/drawing/2018/sketchyshapes" xmlns="" sd="2272932538">
                  <a:prstGeom prst="rect">
                    <a:avLst/>
                  </a:prstGeom>
                  <ask:type>
                    <ask:lineSketchScribble/>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a:solidFill>
                <a:schemeClr val="tx1"/>
              </a:solidFill>
            </a:endParaRPr>
          </a:p>
        </p:txBody>
      </p:sp>
      <p:sp>
        <p:nvSpPr>
          <p:cNvPr id="126" name="Rectangle 125">
            <a:extLst>
              <a:ext uri="{FF2B5EF4-FFF2-40B4-BE49-F238E27FC236}">
                <a16:creationId xmlns:a16="http://schemas.microsoft.com/office/drawing/2014/main" id="{EF84A8FB-F596-4A99-9A5A-7F3D28792D97}"/>
              </a:ext>
            </a:extLst>
          </p:cNvPr>
          <p:cNvSpPr/>
          <p:nvPr/>
        </p:nvSpPr>
        <p:spPr>
          <a:xfrm>
            <a:off x="7229114" y="1048698"/>
            <a:ext cx="1887183" cy="338554"/>
          </a:xfrm>
          <a:prstGeom prst="rect">
            <a:avLst/>
          </a:prstGeom>
        </p:spPr>
        <p:txBody>
          <a:bodyPr wrap="none">
            <a:spAutoFit/>
          </a:bodyPr>
          <a:lstStyle/>
          <a:p>
            <a:pPr lvl="0" fontAlgn="auto">
              <a:spcAft>
                <a:spcPts val="0"/>
              </a:spcAft>
              <a:buClr>
                <a:srgbClr val="000000"/>
              </a:buClr>
              <a:defRPr/>
            </a:pPr>
            <a:r>
              <a:rPr lang="en-US" sz="1600">
                <a:solidFill>
                  <a:schemeClr val="accent5"/>
                </a:solidFill>
                <a:latin typeface="+mn-lt"/>
              </a:rPr>
              <a:t>Your specific asks</a:t>
            </a:r>
          </a:p>
        </p:txBody>
      </p:sp>
    </p:spTree>
    <p:extLst>
      <p:ext uri="{BB962C8B-B14F-4D97-AF65-F5344CB8AC3E}">
        <p14:creationId xmlns:p14="http://schemas.microsoft.com/office/powerpoint/2010/main" val="342804088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7A9C3EF-EC79-EF41-AEE2-C98A0561165D}"/>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010" name="think-cell Slide" r:id="rId6" imgW="7772400" imgH="10058400" progId="TCLayout.ActiveDocument.1">
                  <p:embed/>
                </p:oleObj>
              </mc:Choice>
              <mc:Fallback>
                <p:oleObj name="think-cell Slide" r:id="rId6" imgW="7772400" imgH="10058400" progId="TCLayout.ActiveDocument.1">
                  <p:embed/>
                  <p:pic>
                    <p:nvPicPr>
                      <p:cNvPr id="4" name="Object 3" hidden="1">
                        <a:extLst>
                          <a:ext uri="{FF2B5EF4-FFF2-40B4-BE49-F238E27FC236}">
                            <a16:creationId xmlns:a16="http://schemas.microsoft.com/office/drawing/2014/main" id="{A7A9C3EF-EC79-EF41-AEE2-C98A0561165D}"/>
                          </a:ext>
                        </a:extLst>
                      </p:cNvPr>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7389429-FF38-8644-86AD-26B3FFE70C1E}"/>
              </a:ext>
            </a:extLst>
          </p:cNvPr>
          <p:cNvSpPr/>
          <p:nvPr>
            <p:custDataLst>
              <p:tags r:id="rId3"/>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marR="0" lvl="0" indent="0" algn="ctr" defTabSz="914400" rtl="0" eaLnBrk="1" fontAlgn="base" latinLnBrk="0" hangingPunct="1">
              <a:lnSpc>
                <a:spcPct val="100000"/>
              </a:lnSpc>
              <a:spcBef>
                <a:spcPct val="0"/>
              </a:spcBef>
              <a:spcAft>
                <a:spcPct val="50000"/>
              </a:spcAft>
              <a:buClr>
                <a:srgbClr val="FFE600"/>
              </a:buClr>
              <a:buSzPct val="80000"/>
              <a:buFont typeface="Arial" charset="0"/>
              <a:buNone/>
              <a:tabLst/>
              <a:defRPr/>
            </a:pPr>
            <a:endParaRPr kumimoji="0" lang="en-GB" sz="2400" b="1" i="0" u="none" strike="noStrike" kern="1200" cap="none" spc="0" normalizeH="0" baseline="0" noProof="0">
              <a:ln>
                <a:noFill/>
              </a:ln>
              <a:solidFill>
                <a:srgbClr val="646464"/>
              </a:solidFill>
              <a:effectLst/>
              <a:uLnTx/>
              <a:uFillTx/>
              <a:latin typeface="EYInterstate" panose="02000503020000020004" pitchFamily="2" charset="0"/>
              <a:ea typeface="+mn-ea"/>
              <a:cs typeface="+mn-cs"/>
              <a:sym typeface="EYInterstate" panose="02000503020000020004" pitchFamily="2" charset="0"/>
            </a:endParaRPr>
          </a:p>
        </p:txBody>
      </p:sp>
      <p:sp>
        <p:nvSpPr>
          <p:cNvPr id="2" name="Title 1">
            <a:extLst>
              <a:ext uri="{FF2B5EF4-FFF2-40B4-BE49-F238E27FC236}">
                <a16:creationId xmlns:a16="http://schemas.microsoft.com/office/drawing/2014/main" id="{C4C23136-0F1A-2043-A138-823BF069E3FE}"/>
              </a:ext>
            </a:extLst>
          </p:cNvPr>
          <p:cNvSpPr>
            <a:spLocks noGrp="1"/>
          </p:cNvSpPr>
          <p:nvPr>
            <p:ph type="title"/>
          </p:nvPr>
        </p:nvSpPr>
        <p:spPr/>
        <p:txBody>
          <a:bodyPr/>
          <a:lstStyle/>
          <a:p>
            <a:r>
              <a:rPr lang="en-GB">
                <a:solidFill>
                  <a:srgbClr val="FFFFFF"/>
                </a:solidFill>
              </a:rPr>
              <a:t>Table of Contents</a:t>
            </a:r>
            <a:endParaRPr lang="en-GB"/>
          </a:p>
        </p:txBody>
      </p:sp>
      <p:sp>
        <p:nvSpPr>
          <p:cNvPr id="5" name="Rectangle 4">
            <a:extLst>
              <a:ext uri="{FF2B5EF4-FFF2-40B4-BE49-F238E27FC236}">
                <a16:creationId xmlns:a16="http://schemas.microsoft.com/office/drawing/2014/main" id="{1A6C3D31-1A5E-F641-AEFF-8DE3943F771A}"/>
              </a:ext>
            </a:extLst>
          </p:cNvPr>
          <p:cNvSpPr/>
          <p:nvPr/>
        </p:nvSpPr>
        <p:spPr>
          <a:xfrm>
            <a:off x="943904" y="1906135"/>
            <a:ext cx="9791829" cy="4616648"/>
          </a:xfrm>
          <a:prstGeom prst="rect">
            <a:avLst/>
          </a:prstGeom>
        </p:spPr>
        <p:txBody>
          <a:bodyPr wrap="square" lIns="90000" anchor="t" anchorCtr="0">
            <a:spAutoFit/>
          </a:bodyPr>
          <a:lstStyle/>
          <a:p>
            <a:pPr marL="742950" lvl="3" indent="-742950" defTabSz="1042342">
              <a:spcAft>
                <a:spcPts val="1200"/>
              </a:spcAft>
              <a:buClr>
                <a:srgbClr val="FFE600"/>
              </a:buClr>
              <a:buSzPct val="100000"/>
              <a:buFont typeface="+mj-lt"/>
              <a:buAutoNum type="arabicPeriod"/>
              <a:defRPr/>
            </a:pPr>
            <a:r>
              <a:rPr lang="en-US" sz="2800" b="1" kern="0" dirty="0">
                <a:solidFill>
                  <a:srgbClr val="646464"/>
                </a:solidFill>
                <a:latin typeface="EYInterstate" panose="02000503020000020004" pitchFamily="2" charset="0"/>
              </a:rPr>
              <a:t>Our understanding of your needs</a:t>
            </a:r>
          </a:p>
          <a:p>
            <a:pPr marL="742950" lvl="3" indent="-742950" defTabSz="1042342">
              <a:spcAft>
                <a:spcPts val="1200"/>
              </a:spcAft>
              <a:buClr>
                <a:srgbClr val="FFE600"/>
              </a:buClr>
              <a:buSzPct val="100000"/>
              <a:buFont typeface="+mj-lt"/>
              <a:buAutoNum type="arabicPeriod"/>
              <a:defRPr/>
            </a:pPr>
            <a:r>
              <a:rPr lang="en-US" sz="2800" b="1" kern="0" dirty="0">
                <a:solidFill>
                  <a:srgbClr val="FFE600"/>
                </a:solidFill>
                <a:latin typeface="EYInterstate" panose="02000503020000020004" pitchFamily="2" charset="0"/>
              </a:rPr>
              <a:t>Our capabilities</a:t>
            </a:r>
          </a:p>
          <a:p>
            <a:pPr marL="742950" marR="0" lvl="3" indent="-742950" algn="l" defTabSz="1042342" rtl="0" eaLnBrk="1" fontAlgn="base" latinLnBrk="0" hangingPunct="1">
              <a:lnSpc>
                <a:spcPct val="100000"/>
              </a:lnSpc>
              <a:spcBef>
                <a:spcPct val="0"/>
              </a:spcBef>
              <a:spcAft>
                <a:spcPts val="1200"/>
              </a:spcAft>
              <a:buClr>
                <a:srgbClr val="FFE600"/>
              </a:buClr>
              <a:buSzPct val="100000"/>
              <a:buFont typeface="+mj-lt"/>
              <a:buAutoNum type="arabicPeriod"/>
              <a:tabLst/>
              <a:defRPr/>
            </a:pPr>
            <a:r>
              <a:rPr kumimoji="0" lang="en-US" sz="2800" b="1" i="0" u="none" strike="noStrike" kern="0" cap="none" spc="0" normalizeH="0" baseline="0" noProof="0" dirty="0">
                <a:ln>
                  <a:noFill/>
                </a:ln>
                <a:solidFill>
                  <a:srgbClr val="646464"/>
                </a:solidFill>
                <a:effectLst/>
                <a:uLnTx/>
                <a:uFillTx/>
                <a:latin typeface="EYInterstate" panose="02000503020000020004" pitchFamily="2" charset="0"/>
                <a:ea typeface="+mn-ea"/>
                <a:cs typeface="+mn-cs"/>
              </a:rPr>
              <a:t>Our approach</a:t>
            </a:r>
          </a:p>
          <a:p>
            <a:pPr marL="742950" lvl="3" indent="-742950" defTabSz="1042342">
              <a:spcAft>
                <a:spcPts val="1200"/>
              </a:spcAft>
              <a:buClr>
                <a:srgbClr val="FFE600"/>
              </a:buClr>
              <a:buSzPct val="100000"/>
              <a:buFont typeface="+mj-lt"/>
              <a:buAutoNum type="arabicPeriod"/>
              <a:defRPr/>
            </a:pPr>
            <a:r>
              <a:rPr lang="en-US" sz="2800" b="1" kern="0" dirty="0">
                <a:solidFill>
                  <a:srgbClr val="646464"/>
                </a:solidFill>
                <a:latin typeface="EYInterstate" panose="02000503020000020004" pitchFamily="2" charset="0"/>
              </a:rPr>
              <a:t>Our delivery</a:t>
            </a:r>
          </a:p>
          <a:p>
            <a:pPr marL="742950" marR="0" lvl="3" indent="-742950" algn="l" defTabSz="1042342" rtl="0" eaLnBrk="1" fontAlgn="base" latinLnBrk="0" hangingPunct="1">
              <a:lnSpc>
                <a:spcPct val="100000"/>
              </a:lnSpc>
              <a:spcBef>
                <a:spcPct val="0"/>
              </a:spcBef>
              <a:spcAft>
                <a:spcPts val="1200"/>
              </a:spcAft>
              <a:buClr>
                <a:srgbClr val="FFE600"/>
              </a:buClr>
              <a:buSzPct val="100000"/>
              <a:buFont typeface="+mj-lt"/>
              <a:buAutoNum type="arabicPeriod"/>
              <a:tabLst/>
              <a:defRPr/>
            </a:pPr>
            <a:r>
              <a:rPr kumimoji="0" lang="en-US" sz="2800" b="1" i="0" u="none" strike="noStrike" kern="0" cap="none" spc="0" normalizeH="0" baseline="0" noProof="0" dirty="0">
                <a:ln>
                  <a:noFill/>
                </a:ln>
                <a:solidFill>
                  <a:srgbClr val="646464"/>
                </a:solidFill>
                <a:effectLst/>
                <a:uLnTx/>
                <a:uFillTx/>
                <a:latin typeface="EYInterstate" panose="02000503020000020004" pitchFamily="2" charset="0"/>
                <a:ea typeface="+mn-ea"/>
                <a:cs typeface="+mn-cs"/>
              </a:rPr>
              <a:t>Team structure</a:t>
            </a:r>
          </a:p>
          <a:p>
            <a:pPr marL="742950" lvl="3" indent="-742950" defTabSz="1042342">
              <a:spcAft>
                <a:spcPts val="1200"/>
              </a:spcAft>
              <a:buClr>
                <a:srgbClr val="FFE600"/>
              </a:buClr>
              <a:buSzPct val="100000"/>
              <a:buFont typeface="+mj-lt"/>
              <a:buAutoNum type="arabicPeriod"/>
              <a:defRPr/>
            </a:pPr>
            <a:r>
              <a:rPr lang="en-US" sz="2800" b="1" kern="0" dirty="0">
                <a:solidFill>
                  <a:srgbClr val="646464"/>
                </a:solidFill>
                <a:latin typeface="EYInterstate" panose="02000503020000020004" pitchFamily="2" charset="0"/>
              </a:rPr>
              <a:t>Our credentials</a:t>
            </a:r>
            <a:endParaRPr kumimoji="0" lang="en-US" sz="2800" b="1" i="0" u="none" strike="noStrike" kern="0" cap="none" spc="0" normalizeH="0" baseline="0" noProof="0" dirty="0">
              <a:ln>
                <a:noFill/>
              </a:ln>
              <a:solidFill>
                <a:srgbClr val="646464"/>
              </a:solidFill>
              <a:effectLst/>
              <a:uLnTx/>
              <a:uFillTx/>
              <a:latin typeface="EYInterstate" panose="02000503020000020004" pitchFamily="2" charset="0"/>
              <a:ea typeface="+mn-ea"/>
              <a:cs typeface="+mn-cs"/>
            </a:endParaRPr>
          </a:p>
          <a:p>
            <a:pPr marL="742950" lvl="3" indent="-742950" defTabSz="1042342">
              <a:spcAft>
                <a:spcPts val="1200"/>
              </a:spcAft>
              <a:buClr>
                <a:srgbClr val="FFE600"/>
              </a:buClr>
              <a:buSzPct val="100000"/>
              <a:buFont typeface="+mj-lt"/>
              <a:buAutoNum type="arabicPeriod"/>
              <a:defRPr/>
            </a:pPr>
            <a:r>
              <a:rPr lang="en-US" sz="2800" b="1" kern="0" dirty="0">
                <a:solidFill>
                  <a:srgbClr val="646464"/>
                </a:solidFill>
                <a:latin typeface="EYInterstate" panose="02000503020000020004" pitchFamily="2" charset="0"/>
              </a:rPr>
              <a:t>Our proposed fees</a:t>
            </a:r>
          </a:p>
          <a:p>
            <a:pPr marL="742950" lvl="3" indent="-742950" defTabSz="1042342">
              <a:spcAft>
                <a:spcPts val="1200"/>
              </a:spcAft>
              <a:buClr>
                <a:srgbClr val="FFE600"/>
              </a:buClr>
              <a:buSzPct val="100000"/>
              <a:buFont typeface="+mj-lt"/>
              <a:buAutoNum type="arabicPeriod"/>
              <a:defRPr/>
            </a:pPr>
            <a:r>
              <a:rPr kumimoji="0" lang="en-US" sz="2800" b="1" i="0" u="none" strike="noStrike" kern="0" cap="none" spc="0" normalizeH="0" baseline="0" noProof="0" dirty="0">
                <a:ln>
                  <a:noFill/>
                </a:ln>
                <a:solidFill>
                  <a:srgbClr val="646464"/>
                </a:solidFill>
                <a:effectLst/>
                <a:uLnTx/>
                <a:uFillTx/>
                <a:latin typeface="EYInterstate" panose="02000503020000020004" pitchFamily="2" charset="0"/>
                <a:ea typeface="+mn-ea"/>
                <a:cs typeface="+mn-cs"/>
              </a:rPr>
              <a:t>Appendix</a:t>
            </a:r>
          </a:p>
        </p:txBody>
      </p:sp>
      <p:grpSp>
        <p:nvGrpSpPr>
          <p:cNvPr id="10" name="Group 9">
            <a:extLst>
              <a:ext uri="{FF2B5EF4-FFF2-40B4-BE49-F238E27FC236}">
                <a16:creationId xmlns:a16="http://schemas.microsoft.com/office/drawing/2014/main" id="{A01F99EE-3BB0-4982-8CDA-0DB47603B60E}"/>
              </a:ext>
            </a:extLst>
          </p:cNvPr>
          <p:cNvGrpSpPr/>
          <p:nvPr/>
        </p:nvGrpSpPr>
        <p:grpSpPr>
          <a:xfrm>
            <a:off x="8595582" y="2640394"/>
            <a:ext cx="684000" cy="232949"/>
            <a:chOff x="9563141" y="2547476"/>
            <a:chExt cx="684000" cy="232949"/>
          </a:xfrm>
        </p:grpSpPr>
        <p:sp>
          <p:nvSpPr>
            <p:cNvPr id="11" name="Arrow: Chevron 3">
              <a:extLst>
                <a:ext uri="{FF2B5EF4-FFF2-40B4-BE49-F238E27FC236}">
                  <a16:creationId xmlns:a16="http://schemas.microsoft.com/office/drawing/2014/main" id="{D2BF9A0E-2389-4940-8496-513FE463B8AC}"/>
                </a:ext>
              </a:extLst>
            </p:cNvPr>
            <p:cNvSpPr/>
            <p:nvPr/>
          </p:nvSpPr>
          <p:spPr>
            <a:xfrm rot="10800000">
              <a:off x="9563141" y="2547476"/>
              <a:ext cx="276149" cy="232949"/>
            </a:xfrm>
            <a:prstGeom prst="chevron">
              <a:avLst/>
            </a:prstGeom>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50000"/>
                </a:spcAft>
                <a:buClr>
                  <a:srgbClr val="FFE600"/>
                </a:buClr>
                <a:buSzPct val="80000"/>
                <a:buFont typeface="Arial" charset="0"/>
                <a:buNone/>
                <a:tabLst/>
                <a:defRPr/>
              </a:pPr>
              <a:endParaRPr kumimoji="0" lang="en-US" sz="1400" b="1" i="0" u="none" strike="noStrike" kern="1200" cap="none" spc="0" normalizeH="0" baseline="0" noProof="0">
                <a:ln w="22225">
                  <a:solidFill>
                    <a:srgbClr val="FFE600"/>
                  </a:solidFill>
                  <a:prstDash val="solid"/>
                </a:ln>
                <a:solidFill>
                  <a:srgbClr val="FFE600">
                    <a:lumMod val="40000"/>
                    <a:lumOff val="60000"/>
                  </a:srgbClr>
                </a:solidFill>
                <a:effectLst/>
                <a:uLnTx/>
                <a:uFillTx/>
                <a:latin typeface="EYInterstate" panose="02000503020000020004" pitchFamily="2" charset="0"/>
                <a:ea typeface="+mn-ea"/>
                <a:cs typeface="+mn-cs"/>
              </a:endParaRPr>
            </a:p>
          </p:txBody>
        </p:sp>
        <p:sp>
          <p:nvSpPr>
            <p:cNvPr id="12" name="Arrow: Chevron 4">
              <a:extLst>
                <a:ext uri="{FF2B5EF4-FFF2-40B4-BE49-F238E27FC236}">
                  <a16:creationId xmlns:a16="http://schemas.microsoft.com/office/drawing/2014/main" id="{7E91B9B4-9770-48CB-9D95-B059104AA987}"/>
                </a:ext>
              </a:extLst>
            </p:cNvPr>
            <p:cNvSpPr/>
            <p:nvPr/>
          </p:nvSpPr>
          <p:spPr>
            <a:xfrm rot="10800000">
              <a:off x="9767067" y="2547476"/>
              <a:ext cx="276149" cy="232949"/>
            </a:xfrm>
            <a:prstGeom prst="chevron">
              <a:avLst/>
            </a:prstGeom>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50000"/>
                </a:spcAft>
                <a:buClr>
                  <a:srgbClr val="FFE600"/>
                </a:buClr>
                <a:buSzPct val="80000"/>
                <a:buFont typeface="Arial" charset="0"/>
                <a:buNone/>
                <a:tabLst/>
                <a:defRPr/>
              </a:pPr>
              <a:endParaRPr kumimoji="0" lang="en-US" sz="1400" b="1" i="0" u="none" strike="noStrike" kern="1200" cap="none" spc="0" normalizeH="0" baseline="0" noProof="0">
                <a:ln w="22225">
                  <a:solidFill>
                    <a:srgbClr val="FFE600"/>
                  </a:solidFill>
                  <a:prstDash val="solid"/>
                </a:ln>
                <a:solidFill>
                  <a:srgbClr val="FFE600">
                    <a:lumMod val="40000"/>
                    <a:lumOff val="60000"/>
                  </a:srgbClr>
                </a:solidFill>
                <a:effectLst/>
                <a:uLnTx/>
                <a:uFillTx/>
                <a:latin typeface="EYInterstate" panose="02000503020000020004" pitchFamily="2" charset="0"/>
                <a:ea typeface="+mn-ea"/>
                <a:cs typeface="+mn-cs"/>
              </a:endParaRPr>
            </a:p>
          </p:txBody>
        </p:sp>
        <p:sp>
          <p:nvSpPr>
            <p:cNvPr id="13" name="Arrow: Chevron 5">
              <a:extLst>
                <a:ext uri="{FF2B5EF4-FFF2-40B4-BE49-F238E27FC236}">
                  <a16:creationId xmlns:a16="http://schemas.microsoft.com/office/drawing/2014/main" id="{D7419B56-EA19-4F40-A31D-9C103AFC8EAC}"/>
                </a:ext>
              </a:extLst>
            </p:cNvPr>
            <p:cNvSpPr/>
            <p:nvPr/>
          </p:nvSpPr>
          <p:spPr>
            <a:xfrm rot="10800000">
              <a:off x="9970992" y="2547476"/>
              <a:ext cx="276149" cy="232949"/>
            </a:xfrm>
            <a:prstGeom prst="chevron">
              <a:avLst/>
            </a:prstGeom>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50000"/>
                </a:spcAft>
                <a:buClr>
                  <a:srgbClr val="FFE600"/>
                </a:buClr>
                <a:buSzPct val="80000"/>
                <a:buFont typeface="Arial" charset="0"/>
                <a:buNone/>
                <a:tabLst/>
                <a:defRPr/>
              </a:pPr>
              <a:endParaRPr kumimoji="0" lang="en-US" sz="1400" b="1" i="0" u="none" strike="noStrike" kern="1200" cap="none" spc="0" normalizeH="0" baseline="0" noProof="0">
                <a:ln w="22225">
                  <a:solidFill>
                    <a:srgbClr val="FFE600"/>
                  </a:solidFill>
                  <a:prstDash val="solid"/>
                </a:ln>
                <a:solidFill>
                  <a:srgbClr val="FFE600">
                    <a:lumMod val="40000"/>
                    <a:lumOff val="60000"/>
                  </a:srgbClr>
                </a:solidFill>
                <a:effectLst/>
                <a:uLnTx/>
                <a:uFillTx/>
                <a:latin typeface="EYInterstate" panose="02000503020000020004" pitchFamily="2" charset="0"/>
                <a:ea typeface="+mn-ea"/>
                <a:cs typeface="+mn-cs"/>
              </a:endParaRPr>
            </a:p>
          </p:txBody>
        </p:sp>
      </p:grpSp>
    </p:spTree>
    <p:extLst>
      <p:ext uri="{BB962C8B-B14F-4D97-AF65-F5344CB8AC3E}">
        <p14:creationId xmlns:p14="http://schemas.microsoft.com/office/powerpoint/2010/main" val="67809258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DB476458-2A65-4852-90C0-0FF84DEDC00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034" name="think-cell Slide" r:id="rId6" imgW="395" imgH="396" progId="TCLayout.ActiveDocument.1">
                  <p:embed/>
                </p:oleObj>
              </mc:Choice>
              <mc:Fallback>
                <p:oleObj name="think-cell Slide" r:id="rId6" imgW="395" imgH="396" progId="TCLayout.ActiveDocument.1">
                  <p:embed/>
                  <p:pic>
                    <p:nvPicPr>
                      <p:cNvPr id="14" name="Object 13" hidden="1">
                        <a:extLst>
                          <a:ext uri="{FF2B5EF4-FFF2-40B4-BE49-F238E27FC236}">
                            <a16:creationId xmlns:a16="http://schemas.microsoft.com/office/drawing/2014/main" id="{DB476458-2A65-4852-90C0-0FF84DEDC00A}"/>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9C7A1E62-7C11-4427-B9F2-B49B76AE4719}"/>
              </a:ext>
            </a:extLst>
          </p:cNvPr>
          <p:cNvSpPr/>
          <p:nvPr>
            <p:custDataLst>
              <p:tags r:id="rId3"/>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marL="0" marR="0" lvl="0" indent="0" algn="ctr" defTabSz="914400" rtl="0" eaLnBrk="1" fontAlgn="base" latinLnBrk="0" hangingPunct="1">
              <a:lnSpc>
                <a:spcPct val="100000"/>
              </a:lnSpc>
              <a:spcBef>
                <a:spcPct val="0"/>
              </a:spcBef>
              <a:spcAft>
                <a:spcPct val="50000"/>
              </a:spcAft>
              <a:buClr>
                <a:srgbClr val="FFE600"/>
              </a:buClr>
              <a:buSzPct val="80000"/>
              <a:buFont typeface="Arial" charset="0"/>
              <a:buNone/>
              <a:tabLst/>
              <a:defRPr/>
            </a:pPr>
            <a:endParaRPr kumimoji="0" lang="en-US" sz="2400" b="1" i="0" u="none" strike="noStrike" kern="1200" cap="none" spc="0" normalizeH="0" baseline="0" noProof="0">
              <a:ln>
                <a:noFill/>
              </a:ln>
              <a:solidFill>
                <a:srgbClr val="000000"/>
              </a:solidFill>
              <a:effectLst/>
              <a:uLnTx/>
              <a:uFillTx/>
              <a:latin typeface="EYInterstate" panose="02000503020000020004" pitchFamily="2" charset="0"/>
              <a:ea typeface="+mn-ea"/>
              <a:cs typeface="Arial" panose="020B0604020202020204" pitchFamily="34" charset="0"/>
              <a:sym typeface="EYInterstate" panose="02000503020000020004" pitchFamily="2" charset="0"/>
            </a:endParaRPr>
          </a:p>
        </p:txBody>
      </p:sp>
      <p:sp>
        <p:nvSpPr>
          <p:cNvPr id="2" name="Title 1">
            <a:extLst>
              <a:ext uri="{FF2B5EF4-FFF2-40B4-BE49-F238E27FC236}">
                <a16:creationId xmlns:a16="http://schemas.microsoft.com/office/drawing/2014/main" id="{9D1D1A09-8150-4814-9801-216E591EFB43}"/>
              </a:ext>
            </a:extLst>
          </p:cNvPr>
          <p:cNvSpPr>
            <a:spLocks noGrp="1"/>
          </p:cNvSpPr>
          <p:nvPr>
            <p:ph type="title"/>
          </p:nvPr>
        </p:nvSpPr>
        <p:spPr/>
        <p:txBody>
          <a:bodyPr/>
          <a:lstStyle/>
          <a:p>
            <a:r>
              <a:rPr lang="en-US" dirty="0"/>
              <a:t>EY has a strong D&amp;A team in APAC with 1500+ experienced people who deliver business-need led analytics through assets &amp; accelerators</a:t>
            </a:r>
          </a:p>
        </p:txBody>
      </p:sp>
      <p:cxnSp>
        <p:nvCxnSpPr>
          <p:cNvPr id="3" name="Gerade Verbindung 10">
            <a:extLst>
              <a:ext uri="{FF2B5EF4-FFF2-40B4-BE49-F238E27FC236}">
                <a16:creationId xmlns:a16="http://schemas.microsoft.com/office/drawing/2014/main" id="{7D608820-37B3-4B7B-BC6A-A745D9247BD0}"/>
              </a:ext>
            </a:extLst>
          </p:cNvPr>
          <p:cNvCxnSpPr>
            <a:cxnSpLocks/>
          </p:cNvCxnSpPr>
          <p:nvPr/>
        </p:nvCxnSpPr>
        <p:spPr bwMode="gray">
          <a:xfrm>
            <a:off x="7862449" y="1603831"/>
            <a:ext cx="0" cy="5369973"/>
          </a:xfrm>
          <a:prstGeom prst="line">
            <a:avLst/>
          </a:prstGeom>
          <a:noFill/>
          <a:ln w="28575" cap="flat" cmpd="sng" algn="ctr">
            <a:solidFill>
              <a:srgbClr val="FFFFFF"/>
            </a:solidFill>
            <a:prstDash val="solid"/>
          </a:ln>
          <a:effectLst/>
        </p:spPr>
      </p:cxnSp>
      <p:sp>
        <p:nvSpPr>
          <p:cNvPr id="4" name="Rechteck 257">
            <a:extLst>
              <a:ext uri="{FF2B5EF4-FFF2-40B4-BE49-F238E27FC236}">
                <a16:creationId xmlns:a16="http://schemas.microsoft.com/office/drawing/2014/main" id="{3B95407E-B677-49F2-9AED-B19AE8D34E74}"/>
              </a:ext>
            </a:extLst>
          </p:cNvPr>
          <p:cNvSpPr/>
          <p:nvPr/>
        </p:nvSpPr>
        <p:spPr bwMode="auto">
          <a:xfrm>
            <a:off x="696550" y="1530291"/>
            <a:ext cx="12582666" cy="5830337"/>
          </a:xfrm>
          <a:prstGeom prst="rect">
            <a:avLst/>
          </a:prstGeom>
          <a:solidFill>
            <a:schemeClr val="tx2">
              <a:lumMod val="95000"/>
            </a:schemeClr>
          </a:solidFill>
          <a:ln w="12700">
            <a:noFill/>
            <a:round/>
            <a:headEnd/>
            <a:tailEn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539" b="0" i="0" u="none" strike="noStrike" kern="0" cap="none" spc="0" normalizeH="0" baseline="0" noProof="0" dirty="0">
              <a:ln>
                <a:noFill/>
              </a:ln>
              <a:solidFill>
                <a:srgbClr val="000000"/>
              </a:solidFill>
              <a:effectLst/>
              <a:uLnTx/>
              <a:uFillTx/>
              <a:latin typeface="Arial"/>
              <a:ea typeface="+mn-ea"/>
              <a:cs typeface="+mn-cs"/>
            </a:endParaRPr>
          </a:p>
        </p:txBody>
      </p:sp>
      <p:cxnSp>
        <p:nvCxnSpPr>
          <p:cNvPr id="5" name="Gerade Verbindung 9">
            <a:extLst>
              <a:ext uri="{FF2B5EF4-FFF2-40B4-BE49-F238E27FC236}">
                <a16:creationId xmlns:a16="http://schemas.microsoft.com/office/drawing/2014/main" id="{3FA34BDB-53F7-4DC5-AA50-E1C9E0854FEA}"/>
              </a:ext>
            </a:extLst>
          </p:cNvPr>
          <p:cNvCxnSpPr>
            <a:cxnSpLocks/>
          </p:cNvCxnSpPr>
          <p:nvPr/>
        </p:nvCxnSpPr>
        <p:spPr bwMode="gray">
          <a:xfrm flipH="1">
            <a:off x="734457" y="3453688"/>
            <a:ext cx="7120384" cy="0"/>
          </a:xfrm>
          <a:prstGeom prst="line">
            <a:avLst/>
          </a:prstGeom>
          <a:noFill/>
          <a:ln w="28575" cap="flat" cmpd="sng" algn="ctr">
            <a:solidFill>
              <a:srgbClr val="FFFFFF"/>
            </a:solidFill>
            <a:prstDash val="solid"/>
          </a:ln>
          <a:effectLst/>
        </p:spPr>
      </p:cxnSp>
      <p:grpSp>
        <p:nvGrpSpPr>
          <p:cNvPr id="6" name="Group 5">
            <a:extLst>
              <a:ext uri="{FF2B5EF4-FFF2-40B4-BE49-F238E27FC236}">
                <a16:creationId xmlns:a16="http://schemas.microsoft.com/office/drawing/2014/main" id="{046B591B-0CFA-411F-82F3-82EA402C1B9F}"/>
              </a:ext>
            </a:extLst>
          </p:cNvPr>
          <p:cNvGrpSpPr/>
          <p:nvPr/>
        </p:nvGrpSpPr>
        <p:grpSpPr>
          <a:xfrm>
            <a:off x="696550" y="1983107"/>
            <a:ext cx="1620389" cy="1349892"/>
            <a:chOff x="278050" y="1787982"/>
            <a:chExt cx="1620389" cy="1349892"/>
          </a:xfrm>
        </p:grpSpPr>
        <p:grpSp>
          <p:nvGrpSpPr>
            <p:cNvPr id="7" name="Group 6">
              <a:extLst>
                <a:ext uri="{FF2B5EF4-FFF2-40B4-BE49-F238E27FC236}">
                  <a16:creationId xmlns:a16="http://schemas.microsoft.com/office/drawing/2014/main" id="{6FAE804E-DC76-425C-80DA-108F813231F6}"/>
                </a:ext>
              </a:extLst>
            </p:cNvPr>
            <p:cNvGrpSpPr/>
            <p:nvPr/>
          </p:nvGrpSpPr>
          <p:grpSpPr>
            <a:xfrm>
              <a:off x="655548" y="2191338"/>
              <a:ext cx="865442" cy="946536"/>
              <a:chOff x="9566375" y="3528723"/>
              <a:chExt cx="398585" cy="435935"/>
            </a:xfrm>
            <a:solidFill>
              <a:srgbClr val="000000"/>
            </a:solidFill>
          </p:grpSpPr>
          <p:sp>
            <p:nvSpPr>
              <p:cNvPr id="9" name="Freeform 19">
                <a:extLst>
                  <a:ext uri="{FF2B5EF4-FFF2-40B4-BE49-F238E27FC236}">
                    <a16:creationId xmlns:a16="http://schemas.microsoft.com/office/drawing/2014/main" id="{0F303957-0577-43FD-9503-B48CB8741F7F}"/>
                  </a:ext>
                </a:extLst>
              </p:cNvPr>
              <p:cNvSpPr>
                <a:spLocks noEditPoints="1"/>
              </p:cNvSpPr>
              <p:nvPr/>
            </p:nvSpPr>
            <p:spPr bwMode="auto">
              <a:xfrm>
                <a:off x="9679217" y="3528723"/>
                <a:ext cx="172898" cy="435926"/>
              </a:xfrm>
              <a:custGeom>
                <a:avLst/>
                <a:gdLst>
                  <a:gd name="T0" fmla="*/ 90 w 123"/>
                  <a:gd name="T1" fmla="*/ 160 h 309"/>
                  <a:gd name="T2" fmla="*/ 32 w 123"/>
                  <a:gd name="T3" fmla="*/ 160 h 309"/>
                  <a:gd name="T4" fmla="*/ 32 w 123"/>
                  <a:gd name="T5" fmla="*/ 104 h 309"/>
                  <a:gd name="T6" fmla="*/ 24 w 123"/>
                  <a:gd name="T7" fmla="*/ 104 h 309"/>
                  <a:gd name="T8" fmla="*/ 24 w 123"/>
                  <a:gd name="T9" fmla="*/ 160 h 309"/>
                  <a:gd name="T10" fmla="*/ 35 w 123"/>
                  <a:gd name="T11" fmla="*/ 309 h 309"/>
                  <a:gd name="T12" fmla="*/ 57 w 123"/>
                  <a:gd name="T13" fmla="*/ 309 h 309"/>
                  <a:gd name="T14" fmla="*/ 57 w 123"/>
                  <a:gd name="T15" fmla="*/ 191 h 309"/>
                  <a:gd name="T16" fmla="*/ 65 w 123"/>
                  <a:gd name="T17" fmla="*/ 191 h 309"/>
                  <a:gd name="T18" fmla="*/ 65 w 123"/>
                  <a:gd name="T19" fmla="*/ 309 h 309"/>
                  <a:gd name="T20" fmla="*/ 88 w 123"/>
                  <a:gd name="T21" fmla="*/ 309 h 309"/>
                  <a:gd name="T22" fmla="*/ 98 w 123"/>
                  <a:gd name="T23" fmla="*/ 161 h 309"/>
                  <a:gd name="T24" fmla="*/ 98 w 123"/>
                  <a:gd name="T25" fmla="*/ 104 h 309"/>
                  <a:gd name="T26" fmla="*/ 91 w 123"/>
                  <a:gd name="T27" fmla="*/ 104 h 309"/>
                  <a:gd name="T28" fmla="*/ 90 w 123"/>
                  <a:gd name="T29" fmla="*/ 160 h 309"/>
                  <a:gd name="T30" fmla="*/ 61 w 123"/>
                  <a:gd name="T31" fmla="*/ 52 h 309"/>
                  <a:gd name="T32" fmla="*/ 83 w 123"/>
                  <a:gd name="T33" fmla="*/ 26 h 309"/>
                  <a:gd name="T34" fmla="*/ 61 w 123"/>
                  <a:gd name="T35" fmla="*/ 0 h 309"/>
                  <a:gd name="T36" fmla="*/ 39 w 123"/>
                  <a:gd name="T37" fmla="*/ 26 h 309"/>
                  <a:gd name="T38" fmla="*/ 61 w 123"/>
                  <a:gd name="T39" fmla="*/ 52 h 309"/>
                  <a:gd name="T40" fmla="*/ 102 w 123"/>
                  <a:gd name="T41" fmla="*/ 186 h 309"/>
                  <a:gd name="T42" fmla="*/ 123 w 123"/>
                  <a:gd name="T43" fmla="*/ 186 h 309"/>
                  <a:gd name="T44" fmla="*/ 123 w 123"/>
                  <a:gd name="T45" fmla="*/ 93 h 309"/>
                  <a:gd name="T46" fmla="*/ 88 w 123"/>
                  <a:gd name="T47" fmla="*/ 58 h 309"/>
                  <a:gd name="T48" fmla="*/ 34 w 123"/>
                  <a:gd name="T49" fmla="*/ 58 h 309"/>
                  <a:gd name="T50" fmla="*/ 0 w 123"/>
                  <a:gd name="T51" fmla="*/ 93 h 309"/>
                  <a:gd name="T52" fmla="*/ 0 w 123"/>
                  <a:gd name="T53" fmla="*/ 186 h 309"/>
                  <a:gd name="T54" fmla="*/ 21 w 123"/>
                  <a:gd name="T55" fmla="*/ 186 h 309"/>
                  <a:gd name="T56" fmla="*/ 21 w 123"/>
                  <a:gd name="T57" fmla="*/ 178 h 309"/>
                  <a:gd name="T58" fmla="*/ 8 w 123"/>
                  <a:gd name="T59" fmla="*/ 178 h 309"/>
                  <a:gd name="T60" fmla="*/ 8 w 123"/>
                  <a:gd name="T61" fmla="*/ 93 h 309"/>
                  <a:gd name="T62" fmla="*/ 34 w 123"/>
                  <a:gd name="T63" fmla="*/ 66 h 309"/>
                  <a:gd name="T64" fmla="*/ 55 w 123"/>
                  <a:gd name="T65" fmla="*/ 66 h 309"/>
                  <a:gd name="T66" fmla="*/ 58 w 123"/>
                  <a:gd name="T67" fmla="*/ 71 h 309"/>
                  <a:gd name="T68" fmla="*/ 53 w 123"/>
                  <a:gd name="T69" fmla="*/ 146 h 309"/>
                  <a:gd name="T70" fmla="*/ 61 w 123"/>
                  <a:gd name="T71" fmla="*/ 156 h 309"/>
                  <a:gd name="T72" fmla="*/ 69 w 123"/>
                  <a:gd name="T73" fmla="*/ 146 h 309"/>
                  <a:gd name="T74" fmla="*/ 64 w 123"/>
                  <a:gd name="T75" fmla="*/ 71 h 309"/>
                  <a:gd name="T76" fmla="*/ 67 w 123"/>
                  <a:gd name="T77" fmla="*/ 66 h 309"/>
                  <a:gd name="T78" fmla="*/ 88 w 123"/>
                  <a:gd name="T79" fmla="*/ 66 h 309"/>
                  <a:gd name="T80" fmla="*/ 115 w 123"/>
                  <a:gd name="T81" fmla="*/ 93 h 309"/>
                  <a:gd name="T82" fmla="*/ 115 w 123"/>
                  <a:gd name="T83" fmla="*/ 178 h 309"/>
                  <a:gd name="T84" fmla="*/ 102 w 123"/>
                  <a:gd name="T85" fmla="*/ 178 h 309"/>
                  <a:gd name="T86" fmla="*/ 102 w 123"/>
                  <a:gd name="T87" fmla="*/ 186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23" h="309">
                    <a:moveTo>
                      <a:pt x="90" y="160"/>
                    </a:moveTo>
                    <a:cubicBezTo>
                      <a:pt x="32" y="160"/>
                      <a:pt x="32" y="160"/>
                      <a:pt x="32" y="160"/>
                    </a:cubicBezTo>
                    <a:cubicBezTo>
                      <a:pt x="32" y="104"/>
                      <a:pt x="32" y="104"/>
                      <a:pt x="32" y="104"/>
                    </a:cubicBezTo>
                    <a:cubicBezTo>
                      <a:pt x="24" y="104"/>
                      <a:pt x="24" y="104"/>
                      <a:pt x="24" y="104"/>
                    </a:cubicBezTo>
                    <a:cubicBezTo>
                      <a:pt x="24" y="160"/>
                      <a:pt x="24" y="160"/>
                      <a:pt x="24" y="160"/>
                    </a:cubicBezTo>
                    <a:cubicBezTo>
                      <a:pt x="35" y="309"/>
                      <a:pt x="35" y="309"/>
                      <a:pt x="35" y="309"/>
                    </a:cubicBezTo>
                    <a:cubicBezTo>
                      <a:pt x="57" y="309"/>
                      <a:pt x="57" y="309"/>
                      <a:pt x="57" y="309"/>
                    </a:cubicBezTo>
                    <a:cubicBezTo>
                      <a:pt x="57" y="191"/>
                      <a:pt x="57" y="191"/>
                      <a:pt x="57" y="191"/>
                    </a:cubicBezTo>
                    <a:cubicBezTo>
                      <a:pt x="65" y="191"/>
                      <a:pt x="65" y="191"/>
                      <a:pt x="65" y="191"/>
                    </a:cubicBezTo>
                    <a:cubicBezTo>
                      <a:pt x="65" y="309"/>
                      <a:pt x="65" y="309"/>
                      <a:pt x="65" y="309"/>
                    </a:cubicBezTo>
                    <a:cubicBezTo>
                      <a:pt x="88" y="309"/>
                      <a:pt x="88" y="309"/>
                      <a:pt x="88" y="309"/>
                    </a:cubicBezTo>
                    <a:cubicBezTo>
                      <a:pt x="98" y="161"/>
                      <a:pt x="98" y="161"/>
                      <a:pt x="98" y="161"/>
                    </a:cubicBezTo>
                    <a:cubicBezTo>
                      <a:pt x="98" y="104"/>
                      <a:pt x="98" y="104"/>
                      <a:pt x="98" y="104"/>
                    </a:cubicBezTo>
                    <a:cubicBezTo>
                      <a:pt x="91" y="104"/>
                      <a:pt x="91" y="104"/>
                      <a:pt x="91" y="104"/>
                    </a:cubicBezTo>
                    <a:lnTo>
                      <a:pt x="90" y="160"/>
                    </a:lnTo>
                    <a:close/>
                    <a:moveTo>
                      <a:pt x="61" y="52"/>
                    </a:moveTo>
                    <a:cubicBezTo>
                      <a:pt x="73" y="52"/>
                      <a:pt x="83" y="40"/>
                      <a:pt x="83" y="26"/>
                    </a:cubicBezTo>
                    <a:cubicBezTo>
                      <a:pt x="83" y="12"/>
                      <a:pt x="73" y="0"/>
                      <a:pt x="61" y="0"/>
                    </a:cubicBezTo>
                    <a:cubicBezTo>
                      <a:pt x="49" y="0"/>
                      <a:pt x="39" y="12"/>
                      <a:pt x="39" y="26"/>
                    </a:cubicBezTo>
                    <a:cubicBezTo>
                      <a:pt x="39" y="40"/>
                      <a:pt x="49" y="52"/>
                      <a:pt x="61" y="52"/>
                    </a:cubicBezTo>
                    <a:close/>
                    <a:moveTo>
                      <a:pt x="102" y="186"/>
                    </a:moveTo>
                    <a:cubicBezTo>
                      <a:pt x="123" y="186"/>
                      <a:pt x="123" y="186"/>
                      <a:pt x="123" y="186"/>
                    </a:cubicBezTo>
                    <a:cubicBezTo>
                      <a:pt x="123" y="93"/>
                      <a:pt x="123" y="93"/>
                      <a:pt x="123" y="93"/>
                    </a:cubicBezTo>
                    <a:cubicBezTo>
                      <a:pt x="123" y="76"/>
                      <a:pt x="109" y="58"/>
                      <a:pt x="88" y="58"/>
                    </a:cubicBezTo>
                    <a:cubicBezTo>
                      <a:pt x="34" y="58"/>
                      <a:pt x="34" y="58"/>
                      <a:pt x="34" y="58"/>
                    </a:cubicBezTo>
                    <a:cubicBezTo>
                      <a:pt x="15" y="58"/>
                      <a:pt x="0" y="74"/>
                      <a:pt x="0" y="93"/>
                    </a:cubicBezTo>
                    <a:cubicBezTo>
                      <a:pt x="0" y="186"/>
                      <a:pt x="0" y="186"/>
                      <a:pt x="0" y="186"/>
                    </a:cubicBezTo>
                    <a:cubicBezTo>
                      <a:pt x="21" y="186"/>
                      <a:pt x="21" y="186"/>
                      <a:pt x="21" y="186"/>
                    </a:cubicBezTo>
                    <a:cubicBezTo>
                      <a:pt x="21" y="178"/>
                      <a:pt x="21" y="178"/>
                      <a:pt x="21" y="178"/>
                    </a:cubicBezTo>
                    <a:cubicBezTo>
                      <a:pt x="8" y="178"/>
                      <a:pt x="8" y="178"/>
                      <a:pt x="8" y="178"/>
                    </a:cubicBezTo>
                    <a:cubicBezTo>
                      <a:pt x="8" y="93"/>
                      <a:pt x="8" y="93"/>
                      <a:pt x="8" y="93"/>
                    </a:cubicBezTo>
                    <a:cubicBezTo>
                      <a:pt x="8" y="78"/>
                      <a:pt x="20" y="66"/>
                      <a:pt x="34" y="66"/>
                    </a:cubicBezTo>
                    <a:cubicBezTo>
                      <a:pt x="55" y="66"/>
                      <a:pt x="55" y="66"/>
                      <a:pt x="55" y="66"/>
                    </a:cubicBezTo>
                    <a:cubicBezTo>
                      <a:pt x="55" y="68"/>
                      <a:pt x="56" y="70"/>
                      <a:pt x="58" y="71"/>
                    </a:cubicBezTo>
                    <a:cubicBezTo>
                      <a:pt x="53" y="146"/>
                      <a:pt x="53" y="146"/>
                      <a:pt x="53" y="146"/>
                    </a:cubicBezTo>
                    <a:cubicBezTo>
                      <a:pt x="61" y="156"/>
                      <a:pt x="61" y="156"/>
                      <a:pt x="61" y="156"/>
                    </a:cubicBezTo>
                    <a:cubicBezTo>
                      <a:pt x="69" y="146"/>
                      <a:pt x="69" y="146"/>
                      <a:pt x="69" y="146"/>
                    </a:cubicBezTo>
                    <a:cubicBezTo>
                      <a:pt x="64" y="71"/>
                      <a:pt x="64" y="71"/>
                      <a:pt x="64" y="71"/>
                    </a:cubicBezTo>
                    <a:cubicBezTo>
                      <a:pt x="66" y="70"/>
                      <a:pt x="67" y="68"/>
                      <a:pt x="67" y="66"/>
                    </a:cubicBezTo>
                    <a:cubicBezTo>
                      <a:pt x="88" y="66"/>
                      <a:pt x="88" y="66"/>
                      <a:pt x="88" y="66"/>
                    </a:cubicBezTo>
                    <a:cubicBezTo>
                      <a:pt x="104" y="66"/>
                      <a:pt x="115" y="80"/>
                      <a:pt x="115" y="93"/>
                    </a:cubicBezTo>
                    <a:cubicBezTo>
                      <a:pt x="115" y="178"/>
                      <a:pt x="115" y="178"/>
                      <a:pt x="115" y="178"/>
                    </a:cubicBezTo>
                    <a:cubicBezTo>
                      <a:pt x="102" y="178"/>
                      <a:pt x="102" y="178"/>
                      <a:pt x="102" y="178"/>
                    </a:cubicBezTo>
                    <a:lnTo>
                      <a:pt x="102" y="186"/>
                    </a:lnTo>
                    <a:close/>
                  </a:path>
                </a:pathLst>
              </a:custGeom>
              <a:grpFill/>
              <a:ln>
                <a:noFill/>
              </a:ln>
            </p:spPr>
            <p:txBody>
              <a:bodyPr vert="horz" wrap="square" lIns="78191" tIns="39095" rIns="78191" bIns="39095"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539" b="0" i="0" u="none" strike="noStrike" kern="0" cap="none" spc="0" normalizeH="0" baseline="0" noProof="0" dirty="0">
                  <a:ln>
                    <a:noFill/>
                  </a:ln>
                  <a:solidFill>
                    <a:srgbClr val="646464"/>
                  </a:solidFill>
                  <a:effectLst/>
                  <a:uLnTx/>
                  <a:uFillTx/>
                  <a:latin typeface="EYInterstate Light"/>
                  <a:ea typeface="+mn-ea"/>
                  <a:cs typeface="+mn-cs"/>
                </a:endParaRPr>
              </a:p>
            </p:txBody>
          </p:sp>
          <p:sp>
            <p:nvSpPr>
              <p:cNvPr id="10" name="Freeform 19">
                <a:extLst>
                  <a:ext uri="{FF2B5EF4-FFF2-40B4-BE49-F238E27FC236}">
                    <a16:creationId xmlns:a16="http://schemas.microsoft.com/office/drawing/2014/main" id="{7EB697BE-F0AC-4EEF-A3A8-785DEDD0A2B6}"/>
                  </a:ext>
                </a:extLst>
              </p:cNvPr>
              <p:cNvSpPr>
                <a:spLocks noEditPoints="1"/>
              </p:cNvSpPr>
              <p:nvPr/>
            </p:nvSpPr>
            <p:spPr bwMode="auto">
              <a:xfrm>
                <a:off x="9852129" y="3680173"/>
                <a:ext cx="112831" cy="284480"/>
              </a:xfrm>
              <a:custGeom>
                <a:avLst/>
                <a:gdLst>
                  <a:gd name="T0" fmla="*/ 90 w 123"/>
                  <a:gd name="T1" fmla="*/ 160 h 309"/>
                  <a:gd name="T2" fmla="*/ 32 w 123"/>
                  <a:gd name="T3" fmla="*/ 160 h 309"/>
                  <a:gd name="T4" fmla="*/ 32 w 123"/>
                  <a:gd name="T5" fmla="*/ 104 h 309"/>
                  <a:gd name="T6" fmla="*/ 24 w 123"/>
                  <a:gd name="T7" fmla="*/ 104 h 309"/>
                  <a:gd name="T8" fmla="*/ 24 w 123"/>
                  <a:gd name="T9" fmla="*/ 160 h 309"/>
                  <a:gd name="T10" fmla="*/ 35 w 123"/>
                  <a:gd name="T11" fmla="*/ 309 h 309"/>
                  <a:gd name="T12" fmla="*/ 57 w 123"/>
                  <a:gd name="T13" fmla="*/ 309 h 309"/>
                  <a:gd name="T14" fmla="*/ 57 w 123"/>
                  <a:gd name="T15" fmla="*/ 191 h 309"/>
                  <a:gd name="T16" fmla="*/ 65 w 123"/>
                  <a:gd name="T17" fmla="*/ 191 h 309"/>
                  <a:gd name="T18" fmla="*/ 65 w 123"/>
                  <a:gd name="T19" fmla="*/ 309 h 309"/>
                  <a:gd name="T20" fmla="*/ 88 w 123"/>
                  <a:gd name="T21" fmla="*/ 309 h 309"/>
                  <a:gd name="T22" fmla="*/ 98 w 123"/>
                  <a:gd name="T23" fmla="*/ 161 h 309"/>
                  <a:gd name="T24" fmla="*/ 98 w 123"/>
                  <a:gd name="T25" fmla="*/ 104 h 309"/>
                  <a:gd name="T26" fmla="*/ 91 w 123"/>
                  <a:gd name="T27" fmla="*/ 104 h 309"/>
                  <a:gd name="T28" fmla="*/ 90 w 123"/>
                  <a:gd name="T29" fmla="*/ 160 h 309"/>
                  <a:gd name="T30" fmla="*/ 61 w 123"/>
                  <a:gd name="T31" fmla="*/ 52 h 309"/>
                  <a:gd name="T32" fmla="*/ 83 w 123"/>
                  <a:gd name="T33" fmla="*/ 26 h 309"/>
                  <a:gd name="T34" fmla="*/ 61 w 123"/>
                  <a:gd name="T35" fmla="*/ 0 h 309"/>
                  <a:gd name="T36" fmla="*/ 39 w 123"/>
                  <a:gd name="T37" fmla="*/ 26 h 309"/>
                  <a:gd name="T38" fmla="*/ 61 w 123"/>
                  <a:gd name="T39" fmla="*/ 52 h 309"/>
                  <a:gd name="T40" fmla="*/ 102 w 123"/>
                  <a:gd name="T41" fmla="*/ 186 h 309"/>
                  <a:gd name="T42" fmla="*/ 123 w 123"/>
                  <a:gd name="T43" fmla="*/ 186 h 309"/>
                  <a:gd name="T44" fmla="*/ 123 w 123"/>
                  <a:gd name="T45" fmla="*/ 93 h 309"/>
                  <a:gd name="T46" fmla="*/ 88 w 123"/>
                  <a:gd name="T47" fmla="*/ 58 h 309"/>
                  <a:gd name="T48" fmla="*/ 34 w 123"/>
                  <a:gd name="T49" fmla="*/ 58 h 309"/>
                  <a:gd name="T50" fmla="*/ 0 w 123"/>
                  <a:gd name="T51" fmla="*/ 93 h 309"/>
                  <a:gd name="T52" fmla="*/ 0 w 123"/>
                  <a:gd name="T53" fmla="*/ 186 h 309"/>
                  <a:gd name="T54" fmla="*/ 21 w 123"/>
                  <a:gd name="T55" fmla="*/ 186 h 309"/>
                  <a:gd name="T56" fmla="*/ 21 w 123"/>
                  <a:gd name="T57" fmla="*/ 178 h 309"/>
                  <a:gd name="T58" fmla="*/ 8 w 123"/>
                  <a:gd name="T59" fmla="*/ 178 h 309"/>
                  <a:gd name="T60" fmla="*/ 8 w 123"/>
                  <a:gd name="T61" fmla="*/ 93 h 309"/>
                  <a:gd name="T62" fmla="*/ 34 w 123"/>
                  <a:gd name="T63" fmla="*/ 66 h 309"/>
                  <a:gd name="T64" fmla="*/ 55 w 123"/>
                  <a:gd name="T65" fmla="*/ 66 h 309"/>
                  <a:gd name="T66" fmla="*/ 58 w 123"/>
                  <a:gd name="T67" fmla="*/ 71 h 309"/>
                  <a:gd name="T68" fmla="*/ 53 w 123"/>
                  <a:gd name="T69" fmla="*/ 146 h 309"/>
                  <a:gd name="T70" fmla="*/ 61 w 123"/>
                  <a:gd name="T71" fmla="*/ 156 h 309"/>
                  <a:gd name="T72" fmla="*/ 69 w 123"/>
                  <a:gd name="T73" fmla="*/ 146 h 309"/>
                  <a:gd name="T74" fmla="*/ 64 w 123"/>
                  <a:gd name="T75" fmla="*/ 71 h 309"/>
                  <a:gd name="T76" fmla="*/ 67 w 123"/>
                  <a:gd name="T77" fmla="*/ 66 h 309"/>
                  <a:gd name="T78" fmla="*/ 88 w 123"/>
                  <a:gd name="T79" fmla="*/ 66 h 309"/>
                  <a:gd name="T80" fmla="*/ 115 w 123"/>
                  <a:gd name="T81" fmla="*/ 93 h 309"/>
                  <a:gd name="T82" fmla="*/ 115 w 123"/>
                  <a:gd name="T83" fmla="*/ 178 h 309"/>
                  <a:gd name="T84" fmla="*/ 102 w 123"/>
                  <a:gd name="T85" fmla="*/ 178 h 309"/>
                  <a:gd name="T86" fmla="*/ 102 w 123"/>
                  <a:gd name="T87" fmla="*/ 186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23" h="309">
                    <a:moveTo>
                      <a:pt x="90" y="160"/>
                    </a:moveTo>
                    <a:cubicBezTo>
                      <a:pt x="32" y="160"/>
                      <a:pt x="32" y="160"/>
                      <a:pt x="32" y="160"/>
                    </a:cubicBezTo>
                    <a:cubicBezTo>
                      <a:pt x="32" y="104"/>
                      <a:pt x="32" y="104"/>
                      <a:pt x="32" y="104"/>
                    </a:cubicBezTo>
                    <a:cubicBezTo>
                      <a:pt x="24" y="104"/>
                      <a:pt x="24" y="104"/>
                      <a:pt x="24" y="104"/>
                    </a:cubicBezTo>
                    <a:cubicBezTo>
                      <a:pt x="24" y="160"/>
                      <a:pt x="24" y="160"/>
                      <a:pt x="24" y="160"/>
                    </a:cubicBezTo>
                    <a:cubicBezTo>
                      <a:pt x="35" y="309"/>
                      <a:pt x="35" y="309"/>
                      <a:pt x="35" y="309"/>
                    </a:cubicBezTo>
                    <a:cubicBezTo>
                      <a:pt x="57" y="309"/>
                      <a:pt x="57" y="309"/>
                      <a:pt x="57" y="309"/>
                    </a:cubicBezTo>
                    <a:cubicBezTo>
                      <a:pt x="57" y="191"/>
                      <a:pt x="57" y="191"/>
                      <a:pt x="57" y="191"/>
                    </a:cubicBezTo>
                    <a:cubicBezTo>
                      <a:pt x="65" y="191"/>
                      <a:pt x="65" y="191"/>
                      <a:pt x="65" y="191"/>
                    </a:cubicBezTo>
                    <a:cubicBezTo>
                      <a:pt x="65" y="309"/>
                      <a:pt x="65" y="309"/>
                      <a:pt x="65" y="309"/>
                    </a:cubicBezTo>
                    <a:cubicBezTo>
                      <a:pt x="88" y="309"/>
                      <a:pt x="88" y="309"/>
                      <a:pt x="88" y="309"/>
                    </a:cubicBezTo>
                    <a:cubicBezTo>
                      <a:pt x="98" y="161"/>
                      <a:pt x="98" y="161"/>
                      <a:pt x="98" y="161"/>
                    </a:cubicBezTo>
                    <a:cubicBezTo>
                      <a:pt x="98" y="104"/>
                      <a:pt x="98" y="104"/>
                      <a:pt x="98" y="104"/>
                    </a:cubicBezTo>
                    <a:cubicBezTo>
                      <a:pt x="91" y="104"/>
                      <a:pt x="91" y="104"/>
                      <a:pt x="91" y="104"/>
                    </a:cubicBezTo>
                    <a:lnTo>
                      <a:pt x="90" y="160"/>
                    </a:lnTo>
                    <a:close/>
                    <a:moveTo>
                      <a:pt x="61" y="52"/>
                    </a:moveTo>
                    <a:cubicBezTo>
                      <a:pt x="73" y="52"/>
                      <a:pt x="83" y="40"/>
                      <a:pt x="83" y="26"/>
                    </a:cubicBezTo>
                    <a:cubicBezTo>
                      <a:pt x="83" y="12"/>
                      <a:pt x="73" y="0"/>
                      <a:pt x="61" y="0"/>
                    </a:cubicBezTo>
                    <a:cubicBezTo>
                      <a:pt x="49" y="0"/>
                      <a:pt x="39" y="12"/>
                      <a:pt x="39" y="26"/>
                    </a:cubicBezTo>
                    <a:cubicBezTo>
                      <a:pt x="39" y="40"/>
                      <a:pt x="49" y="52"/>
                      <a:pt x="61" y="52"/>
                    </a:cubicBezTo>
                    <a:close/>
                    <a:moveTo>
                      <a:pt x="102" y="186"/>
                    </a:moveTo>
                    <a:cubicBezTo>
                      <a:pt x="123" y="186"/>
                      <a:pt x="123" y="186"/>
                      <a:pt x="123" y="186"/>
                    </a:cubicBezTo>
                    <a:cubicBezTo>
                      <a:pt x="123" y="93"/>
                      <a:pt x="123" y="93"/>
                      <a:pt x="123" y="93"/>
                    </a:cubicBezTo>
                    <a:cubicBezTo>
                      <a:pt x="123" y="76"/>
                      <a:pt x="109" y="58"/>
                      <a:pt x="88" y="58"/>
                    </a:cubicBezTo>
                    <a:cubicBezTo>
                      <a:pt x="34" y="58"/>
                      <a:pt x="34" y="58"/>
                      <a:pt x="34" y="58"/>
                    </a:cubicBezTo>
                    <a:cubicBezTo>
                      <a:pt x="15" y="58"/>
                      <a:pt x="0" y="74"/>
                      <a:pt x="0" y="93"/>
                    </a:cubicBezTo>
                    <a:cubicBezTo>
                      <a:pt x="0" y="186"/>
                      <a:pt x="0" y="186"/>
                      <a:pt x="0" y="186"/>
                    </a:cubicBezTo>
                    <a:cubicBezTo>
                      <a:pt x="21" y="186"/>
                      <a:pt x="21" y="186"/>
                      <a:pt x="21" y="186"/>
                    </a:cubicBezTo>
                    <a:cubicBezTo>
                      <a:pt x="21" y="178"/>
                      <a:pt x="21" y="178"/>
                      <a:pt x="21" y="178"/>
                    </a:cubicBezTo>
                    <a:cubicBezTo>
                      <a:pt x="8" y="178"/>
                      <a:pt x="8" y="178"/>
                      <a:pt x="8" y="178"/>
                    </a:cubicBezTo>
                    <a:cubicBezTo>
                      <a:pt x="8" y="93"/>
                      <a:pt x="8" y="93"/>
                      <a:pt x="8" y="93"/>
                    </a:cubicBezTo>
                    <a:cubicBezTo>
                      <a:pt x="8" y="78"/>
                      <a:pt x="20" y="66"/>
                      <a:pt x="34" y="66"/>
                    </a:cubicBezTo>
                    <a:cubicBezTo>
                      <a:pt x="55" y="66"/>
                      <a:pt x="55" y="66"/>
                      <a:pt x="55" y="66"/>
                    </a:cubicBezTo>
                    <a:cubicBezTo>
                      <a:pt x="55" y="68"/>
                      <a:pt x="56" y="70"/>
                      <a:pt x="58" y="71"/>
                    </a:cubicBezTo>
                    <a:cubicBezTo>
                      <a:pt x="53" y="146"/>
                      <a:pt x="53" y="146"/>
                      <a:pt x="53" y="146"/>
                    </a:cubicBezTo>
                    <a:cubicBezTo>
                      <a:pt x="61" y="156"/>
                      <a:pt x="61" y="156"/>
                      <a:pt x="61" y="156"/>
                    </a:cubicBezTo>
                    <a:cubicBezTo>
                      <a:pt x="69" y="146"/>
                      <a:pt x="69" y="146"/>
                      <a:pt x="69" y="146"/>
                    </a:cubicBezTo>
                    <a:cubicBezTo>
                      <a:pt x="64" y="71"/>
                      <a:pt x="64" y="71"/>
                      <a:pt x="64" y="71"/>
                    </a:cubicBezTo>
                    <a:cubicBezTo>
                      <a:pt x="66" y="70"/>
                      <a:pt x="67" y="68"/>
                      <a:pt x="67" y="66"/>
                    </a:cubicBezTo>
                    <a:cubicBezTo>
                      <a:pt x="88" y="66"/>
                      <a:pt x="88" y="66"/>
                      <a:pt x="88" y="66"/>
                    </a:cubicBezTo>
                    <a:cubicBezTo>
                      <a:pt x="104" y="66"/>
                      <a:pt x="115" y="80"/>
                      <a:pt x="115" y="93"/>
                    </a:cubicBezTo>
                    <a:cubicBezTo>
                      <a:pt x="115" y="178"/>
                      <a:pt x="115" y="178"/>
                      <a:pt x="115" y="178"/>
                    </a:cubicBezTo>
                    <a:cubicBezTo>
                      <a:pt x="102" y="178"/>
                      <a:pt x="102" y="178"/>
                      <a:pt x="102" y="178"/>
                    </a:cubicBezTo>
                    <a:lnTo>
                      <a:pt x="102" y="186"/>
                    </a:lnTo>
                    <a:close/>
                  </a:path>
                </a:pathLst>
              </a:custGeom>
              <a:grpFill/>
              <a:ln>
                <a:noFill/>
              </a:ln>
            </p:spPr>
            <p:txBody>
              <a:bodyPr vert="horz" wrap="square" lIns="78191" tIns="39095" rIns="78191" bIns="39095"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539" b="0" i="0" u="none" strike="noStrike" kern="0" cap="none" spc="0" normalizeH="0" baseline="0" noProof="0" dirty="0">
                  <a:ln>
                    <a:noFill/>
                  </a:ln>
                  <a:solidFill>
                    <a:srgbClr val="646464"/>
                  </a:solidFill>
                  <a:effectLst/>
                  <a:uLnTx/>
                  <a:uFillTx/>
                  <a:latin typeface="EYInterstate Light"/>
                  <a:ea typeface="+mn-ea"/>
                  <a:cs typeface="+mn-cs"/>
                </a:endParaRPr>
              </a:p>
            </p:txBody>
          </p:sp>
          <p:sp>
            <p:nvSpPr>
              <p:cNvPr id="11" name="Freeform 19">
                <a:extLst>
                  <a:ext uri="{FF2B5EF4-FFF2-40B4-BE49-F238E27FC236}">
                    <a16:creationId xmlns:a16="http://schemas.microsoft.com/office/drawing/2014/main" id="{9C702F40-EBB6-4F43-B453-482491680604}"/>
                  </a:ext>
                </a:extLst>
              </p:cNvPr>
              <p:cNvSpPr>
                <a:spLocks noEditPoints="1"/>
              </p:cNvSpPr>
              <p:nvPr/>
            </p:nvSpPr>
            <p:spPr bwMode="auto">
              <a:xfrm>
                <a:off x="9566375" y="3680178"/>
                <a:ext cx="112831" cy="284480"/>
              </a:xfrm>
              <a:custGeom>
                <a:avLst/>
                <a:gdLst>
                  <a:gd name="T0" fmla="*/ 90 w 123"/>
                  <a:gd name="T1" fmla="*/ 160 h 309"/>
                  <a:gd name="T2" fmla="*/ 32 w 123"/>
                  <a:gd name="T3" fmla="*/ 160 h 309"/>
                  <a:gd name="T4" fmla="*/ 32 w 123"/>
                  <a:gd name="T5" fmla="*/ 104 h 309"/>
                  <a:gd name="T6" fmla="*/ 24 w 123"/>
                  <a:gd name="T7" fmla="*/ 104 h 309"/>
                  <a:gd name="T8" fmla="*/ 24 w 123"/>
                  <a:gd name="T9" fmla="*/ 160 h 309"/>
                  <a:gd name="T10" fmla="*/ 35 w 123"/>
                  <a:gd name="T11" fmla="*/ 309 h 309"/>
                  <a:gd name="T12" fmla="*/ 57 w 123"/>
                  <a:gd name="T13" fmla="*/ 309 h 309"/>
                  <a:gd name="T14" fmla="*/ 57 w 123"/>
                  <a:gd name="T15" fmla="*/ 191 h 309"/>
                  <a:gd name="T16" fmla="*/ 65 w 123"/>
                  <a:gd name="T17" fmla="*/ 191 h 309"/>
                  <a:gd name="T18" fmla="*/ 65 w 123"/>
                  <a:gd name="T19" fmla="*/ 309 h 309"/>
                  <a:gd name="T20" fmla="*/ 88 w 123"/>
                  <a:gd name="T21" fmla="*/ 309 h 309"/>
                  <a:gd name="T22" fmla="*/ 98 w 123"/>
                  <a:gd name="T23" fmla="*/ 161 h 309"/>
                  <a:gd name="T24" fmla="*/ 98 w 123"/>
                  <a:gd name="T25" fmla="*/ 104 h 309"/>
                  <a:gd name="T26" fmla="*/ 91 w 123"/>
                  <a:gd name="T27" fmla="*/ 104 h 309"/>
                  <a:gd name="T28" fmla="*/ 90 w 123"/>
                  <a:gd name="T29" fmla="*/ 160 h 309"/>
                  <a:gd name="T30" fmla="*/ 61 w 123"/>
                  <a:gd name="T31" fmla="*/ 52 h 309"/>
                  <a:gd name="T32" fmla="*/ 83 w 123"/>
                  <a:gd name="T33" fmla="*/ 26 h 309"/>
                  <a:gd name="T34" fmla="*/ 61 w 123"/>
                  <a:gd name="T35" fmla="*/ 0 h 309"/>
                  <a:gd name="T36" fmla="*/ 39 w 123"/>
                  <a:gd name="T37" fmla="*/ 26 h 309"/>
                  <a:gd name="T38" fmla="*/ 61 w 123"/>
                  <a:gd name="T39" fmla="*/ 52 h 309"/>
                  <a:gd name="T40" fmla="*/ 102 w 123"/>
                  <a:gd name="T41" fmla="*/ 186 h 309"/>
                  <a:gd name="T42" fmla="*/ 123 w 123"/>
                  <a:gd name="T43" fmla="*/ 186 h 309"/>
                  <a:gd name="T44" fmla="*/ 123 w 123"/>
                  <a:gd name="T45" fmla="*/ 93 h 309"/>
                  <a:gd name="T46" fmla="*/ 88 w 123"/>
                  <a:gd name="T47" fmla="*/ 58 h 309"/>
                  <a:gd name="T48" fmla="*/ 34 w 123"/>
                  <a:gd name="T49" fmla="*/ 58 h 309"/>
                  <a:gd name="T50" fmla="*/ 0 w 123"/>
                  <a:gd name="T51" fmla="*/ 93 h 309"/>
                  <a:gd name="T52" fmla="*/ 0 w 123"/>
                  <a:gd name="T53" fmla="*/ 186 h 309"/>
                  <a:gd name="T54" fmla="*/ 21 w 123"/>
                  <a:gd name="T55" fmla="*/ 186 h 309"/>
                  <a:gd name="T56" fmla="*/ 21 w 123"/>
                  <a:gd name="T57" fmla="*/ 178 h 309"/>
                  <a:gd name="T58" fmla="*/ 8 w 123"/>
                  <a:gd name="T59" fmla="*/ 178 h 309"/>
                  <a:gd name="T60" fmla="*/ 8 w 123"/>
                  <a:gd name="T61" fmla="*/ 93 h 309"/>
                  <a:gd name="T62" fmla="*/ 34 w 123"/>
                  <a:gd name="T63" fmla="*/ 66 h 309"/>
                  <a:gd name="T64" fmla="*/ 55 w 123"/>
                  <a:gd name="T65" fmla="*/ 66 h 309"/>
                  <a:gd name="T66" fmla="*/ 58 w 123"/>
                  <a:gd name="T67" fmla="*/ 71 h 309"/>
                  <a:gd name="T68" fmla="*/ 53 w 123"/>
                  <a:gd name="T69" fmla="*/ 146 h 309"/>
                  <a:gd name="T70" fmla="*/ 61 w 123"/>
                  <a:gd name="T71" fmla="*/ 156 h 309"/>
                  <a:gd name="T72" fmla="*/ 69 w 123"/>
                  <a:gd name="T73" fmla="*/ 146 h 309"/>
                  <a:gd name="T74" fmla="*/ 64 w 123"/>
                  <a:gd name="T75" fmla="*/ 71 h 309"/>
                  <a:gd name="T76" fmla="*/ 67 w 123"/>
                  <a:gd name="T77" fmla="*/ 66 h 309"/>
                  <a:gd name="T78" fmla="*/ 88 w 123"/>
                  <a:gd name="T79" fmla="*/ 66 h 309"/>
                  <a:gd name="T80" fmla="*/ 115 w 123"/>
                  <a:gd name="T81" fmla="*/ 93 h 309"/>
                  <a:gd name="T82" fmla="*/ 115 w 123"/>
                  <a:gd name="T83" fmla="*/ 178 h 309"/>
                  <a:gd name="T84" fmla="*/ 102 w 123"/>
                  <a:gd name="T85" fmla="*/ 178 h 309"/>
                  <a:gd name="T86" fmla="*/ 102 w 123"/>
                  <a:gd name="T87" fmla="*/ 186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23" h="309">
                    <a:moveTo>
                      <a:pt x="90" y="160"/>
                    </a:moveTo>
                    <a:cubicBezTo>
                      <a:pt x="32" y="160"/>
                      <a:pt x="32" y="160"/>
                      <a:pt x="32" y="160"/>
                    </a:cubicBezTo>
                    <a:cubicBezTo>
                      <a:pt x="32" y="104"/>
                      <a:pt x="32" y="104"/>
                      <a:pt x="32" y="104"/>
                    </a:cubicBezTo>
                    <a:cubicBezTo>
                      <a:pt x="24" y="104"/>
                      <a:pt x="24" y="104"/>
                      <a:pt x="24" y="104"/>
                    </a:cubicBezTo>
                    <a:cubicBezTo>
                      <a:pt x="24" y="160"/>
                      <a:pt x="24" y="160"/>
                      <a:pt x="24" y="160"/>
                    </a:cubicBezTo>
                    <a:cubicBezTo>
                      <a:pt x="35" y="309"/>
                      <a:pt x="35" y="309"/>
                      <a:pt x="35" y="309"/>
                    </a:cubicBezTo>
                    <a:cubicBezTo>
                      <a:pt x="57" y="309"/>
                      <a:pt x="57" y="309"/>
                      <a:pt x="57" y="309"/>
                    </a:cubicBezTo>
                    <a:cubicBezTo>
                      <a:pt x="57" y="191"/>
                      <a:pt x="57" y="191"/>
                      <a:pt x="57" y="191"/>
                    </a:cubicBezTo>
                    <a:cubicBezTo>
                      <a:pt x="65" y="191"/>
                      <a:pt x="65" y="191"/>
                      <a:pt x="65" y="191"/>
                    </a:cubicBezTo>
                    <a:cubicBezTo>
                      <a:pt x="65" y="309"/>
                      <a:pt x="65" y="309"/>
                      <a:pt x="65" y="309"/>
                    </a:cubicBezTo>
                    <a:cubicBezTo>
                      <a:pt x="88" y="309"/>
                      <a:pt x="88" y="309"/>
                      <a:pt x="88" y="309"/>
                    </a:cubicBezTo>
                    <a:cubicBezTo>
                      <a:pt x="98" y="161"/>
                      <a:pt x="98" y="161"/>
                      <a:pt x="98" y="161"/>
                    </a:cubicBezTo>
                    <a:cubicBezTo>
                      <a:pt x="98" y="104"/>
                      <a:pt x="98" y="104"/>
                      <a:pt x="98" y="104"/>
                    </a:cubicBezTo>
                    <a:cubicBezTo>
                      <a:pt x="91" y="104"/>
                      <a:pt x="91" y="104"/>
                      <a:pt x="91" y="104"/>
                    </a:cubicBezTo>
                    <a:lnTo>
                      <a:pt x="90" y="160"/>
                    </a:lnTo>
                    <a:close/>
                    <a:moveTo>
                      <a:pt x="61" y="52"/>
                    </a:moveTo>
                    <a:cubicBezTo>
                      <a:pt x="73" y="52"/>
                      <a:pt x="83" y="40"/>
                      <a:pt x="83" y="26"/>
                    </a:cubicBezTo>
                    <a:cubicBezTo>
                      <a:pt x="83" y="12"/>
                      <a:pt x="73" y="0"/>
                      <a:pt x="61" y="0"/>
                    </a:cubicBezTo>
                    <a:cubicBezTo>
                      <a:pt x="49" y="0"/>
                      <a:pt x="39" y="12"/>
                      <a:pt x="39" y="26"/>
                    </a:cubicBezTo>
                    <a:cubicBezTo>
                      <a:pt x="39" y="40"/>
                      <a:pt x="49" y="52"/>
                      <a:pt x="61" y="52"/>
                    </a:cubicBezTo>
                    <a:close/>
                    <a:moveTo>
                      <a:pt x="102" y="186"/>
                    </a:moveTo>
                    <a:cubicBezTo>
                      <a:pt x="123" y="186"/>
                      <a:pt x="123" y="186"/>
                      <a:pt x="123" y="186"/>
                    </a:cubicBezTo>
                    <a:cubicBezTo>
                      <a:pt x="123" y="93"/>
                      <a:pt x="123" y="93"/>
                      <a:pt x="123" y="93"/>
                    </a:cubicBezTo>
                    <a:cubicBezTo>
                      <a:pt x="123" y="76"/>
                      <a:pt x="109" y="58"/>
                      <a:pt x="88" y="58"/>
                    </a:cubicBezTo>
                    <a:cubicBezTo>
                      <a:pt x="34" y="58"/>
                      <a:pt x="34" y="58"/>
                      <a:pt x="34" y="58"/>
                    </a:cubicBezTo>
                    <a:cubicBezTo>
                      <a:pt x="15" y="58"/>
                      <a:pt x="0" y="74"/>
                      <a:pt x="0" y="93"/>
                    </a:cubicBezTo>
                    <a:cubicBezTo>
                      <a:pt x="0" y="186"/>
                      <a:pt x="0" y="186"/>
                      <a:pt x="0" y="186"/>
                    </a:cubicBezTo>
                    <a:cubicBezTo>
                      <a:pt x="21" y="186"/>
                      <a:pt x="21" y="186"/>
                      <a:pt x="21" y="186"/>
                    </a:cubicBezTo>
                    <a:cubicBezTo>
                      <a:pt x="21" y="178"/>
                      <a:pt x="21" y="178"/>
                      <a:pt x="21" y="178"/>
                    </a:cubicBezTo>
                    <a:cubicBezTo>
                      <a:pt x="8" y="178"/>
                      <a:pt x="8" y="178"/>
                      <a:pt x="8" y="178"/>
                    </a:cubicBezTo>
                    <a:cubicBezTo>
                      <a:pt x="8" y="93"/>
                      <a:pt x="8" y="93"/>
                      <a:pt x="8" y="93"/>
                    </a:cubicBezTo>
                    <a:cubicBezTo>
                      <a:pt x="8" y="78"/>
                      <a:pt x="20" y="66"/>
                      <a:pt x="34" y="66"/>
                    </a:cubicBezTo>
                    <a:cubicBezTo>
                      <a:pt x="55" y="66"/>
                      <a:pt x="55" y="66"/>
                      <a:pt x="55" y="66"/>
                    </a:cubicBezTo>
                    <a:cubicBezTo>
                      <a:pt x="55" y="68"/>
                      <a:pt x="56" y="70"/>
                      <a:pt x="58" y="71"/>
                    </a:cubicBezTo>
                    <a:cubicBezTo>
                      <a:pt x="53" y="146"/>
                      <a:pt x="53" y="146"/>
                      <a:pt x="53" y="146"/>
                    </a:cubicBezTo>
                    <a:cubicBezTo>
                      <a:pt x="61" y="156"/>
                      <a:pt x="61" y="156"/>
                      <a:pt x="61" y="156"/>
                    </a:cubicBezTo>
                    <a:cubicBezTo>
                      <a:pt x="69" y="146"/>
                      <a:pt x="69" y="146"/>
                      <a:pt x="69" y="146"/>
                    </a:cubicBezTo>
                    <a:cubicBezTo>
                      <a:pt x="64" y="71"/>
                      <a:pt x="64" y="71"/>
                      <a:pt x="64" y="71"/>
                    </a:cubicBezTo>
                    <a:cubicBezTo>
                      <a:pt x="66" y="70"/>
                      <a:pt x="67" y="68"/>
                      <a:pt x="67" y="66"/>
                    </a:cubicBezTo>
                    <a:cubicBezTo>
                      <a:pt x="88" y="66"/>
                      <a:pt x="88" y="66"/>
                      <a:pt x="88" y="66"/>
                    </a:cubicBezTo>
                    <a:cubicBezTo>
                      <a:pt x="104" y="66"/>
                      <a:pt x="115" y="80"/>
                      <a:pt x="115" y="93"/>
                    </a:cubicBezTo>
                    <a:cubicBezTo>
                      <a:pt x="115" y="178"/>
                      <a:pt x="115" y="178"/>
                      <a:pt x="115" y="178"/>
                    </a:cubicBezTo>
                    <a:cubicBezTo>
                      <a:pt x="102" y="178"/>
                      <a:pt x="102" y="178"/>
                      <a:pt x="102" y="178"/>
                    </a:cubicBezTo>
                    <a:lnTo>
                      <a:pt x="102" y="186"/>
                    </a:lnTo>
                    <a:close/>
                  </a:path>
                </a:pathLst>
              </a:custGeom>
              <a:grpFill/>
              <a:ln>
                <a:noFill/>
              </a:ln>
            </p:spPr>
            <p:txBody>
              <a:bodyPr vert="horz" wrap="square" lIns="78191" tIns="39095" rIns="78191" bIns="39095"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539" b="0" i="0" u="none" strike="noStrike" kern="0" cap="none" spc="0" normalizeH="0" baseline="0" noProof="0" dirty="0">
                  <a:ln>
                    <a:noFill/>
                  </a:ln>
                  <a:solidFill>
                    <a:srgbClr val="646464"/>
                  </a:solidFill>
                  <a:effectLst/>
                  <a:uLnTx/>
                  <a:uFillTx/>
                  <a:latin typeface="EYInterstate Light"/>
                  <a:ea typeface="+mn-ea"/>
                  <a:cs typeface="+mn-cs"/>
                </a:endParaRPr>
              </a:p>
            </p:txBody>
          </p:sp>
        </p:grpSp>
        <p:sp>
          <p:nvSpPr>
            <p:cNvPr id="8" name="Text Box 26">
              <a:extLst>
                <a:ext uri="{FF2B5EF4-FFF2-40B4-BE49-F238E27FC236}">
                  <a16:creationId xmlns:a16="http://schemas.microsoft.com/office/drawing/2014/main" id="{1C4AAE4F-8408-41D2-BA04-86D50B60B112}"/>
                </a:ext>
              </a:extLst>
            </p:cNvPr>
            <p:cNvSpPr txBox="1">
              <a:spLocks noChangeArrowheads="1"/>
            </p:cNvSpPr>
            <p:nvPr/>
          </p:nvSpPr>
          <p:spPr bwMode="gray">
            <a:xfrm>
              <a:off x="278050" y="1787982"/>
              <a:ext cx="1620389" cy="215444"/>
            </a:xfrm>
            <a:prstGeom prst="rect">
              <a:avLst/>
            </a:prstGeom>
            <a:noFill/>
            <a:ln w="9525" algn="ctr">
              <a:noFill/>
              <a:miter lim="800000"/>
              <a:headEnd/>
              <a:tailEnd/>
            </a:ln>
          </p:spPr>
          <p:txBody>
            <a:bodyPr wrap="square" lIns="0" tIns="0" rIns="0" bIns="0" anchor="ctr">
              <a:spAutoFit/>
            </a:bodyPr>
            <a:lstStyle/>
            <a:p>
              <a:pPr marL="0" marR="0" lvl="0" indent="0" algn="ctr" defTabSz="781597"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EYInterstate Light"/>
                  <a:ea typeface="+mn-ea"/>
                  <a:cs typeface="Arial" pitchFamily="34" charset="0"/>
                </a:rPr>
                <a:t>1500+ </a:t>
              </a:r>
              <a:r>
                <a:rPr kumimoji="0" lang="en-GB" sz="1400" b="1" i="0" u="none" strike="noStrike" kern="0" cap="none" spc="0" normalizeH="0" baseline="0" noProof="0" dirty="0">
                  <a:ln>
                    <a:noFill/>
                  </a:ln>
                  <a:solidFill>
                    <a:srgbClr val="000000"/>
                  </a:solidFill>
                  <a:effectLst/>
                  <a:uLnTx/>
                  <a:uFillTx/>
                  <a:latin typeface="EYInterstate Light"/>
                  <a:ea typeface="+mn-ea"/>
                  <a:cs typeface="Arial" pitchFamily="34" charset="0"/>
                </a:rPr>
                <a:t>people</a:t>
              </a:r>
              <a:endParaRPr kumimoji="0" lang="en-GB" sz="1400" b="0" i="0" u="none" strike="noStrike" kern="0" cap="none" spc="0" normalizeH="0" baseline="0" noProof="0" dirty="0">
                <a:ln>
                  <a:noFill/>
                </a:ln>
                <a:solidFill>
                  <a:srgbClr val="000000"/>
                </a:solidFill>
                <a:effectLst/>
                <a:uLnTx/>
                <a:uFillTx/>
                <a:latin typeface="EYInterstate Light"/>
                <a:ea typeface="+mn-ea"/>
                <a:cs typeface="Arial" pitchFamily="34" charset="0"/>
              </a:endParaRPr>
            </a:p>
          </p:txBody>
        </p:sp>
      </p:grpSp>
      <p:sp>
        <p:nvSpPr>
          <p:cNvPr id="13" name="Text Box 26">
            <a:extLst>
              <a:ext uri="{FF2B5EF4-FFF2-40B4-BE49-F238E27FC236}">
                <a16:creationId xmlns:a16="http://schemas.microsoft.com/office/drawing/2014/main" id="{3E2B4557-5CF2-4594-9F1E-94CEA944CBA0}"/>
              </a:ext>
            </a:extLst>
          </p:cNvPr>
          <p:cNvSpPr txBox="1">
            <a:spLocks noChangeArrowheads="1"/>
          </p:cNvSpPr>
          <p:nvPr/>
        </p:nvSpPr>
        <p:spPr bwMode="gray">
          <a:xfrm>
            <a:off x="4171586" y="2006992"/>
            <a:ext cx="1165384" cy="210507"/>
          </a:xfrm>
          <a:prstGeom prst="rect">
            <a:avLst/>
          </a:prstGeom>
          <a:noFill/>
          <a:ln w="9525" algn="ctr">
            <a:noFill/>
            <a:miter lim="800000"/>
            <a:headEnd/>
            <a:tailEnd/>
          </a:ln>
        </p:spPr>
        <p:txBody>
          <a:bodyPr wrap="none" lIns="0" tIns="0" rIns="0" bIns="0" anchor="ctr">
            <a:spAutoFit/>
          </a:bodyPr>
          <a:lstStyle/>
          <a:p>
            <a:pPr marL="0" marR="0" lvl="0" indent="0" algn="l" defTabSz="781597" rtl="0" eaLnBrk="1" fontAlgn="auto" latinLnBrk="0" hangingPunct="1">
              <a:lnSpc>
                <a:spcPct val="100000"/>
              </a:lnSpc>
              <a:spcBef>
                <a:spcPts val="0"/>
              </a:spcBef>
              <a:spcAft>
                <a:spcPts val="0"/>
              </a:spcAft>
              <a:buClrTx/>
              <a:buSzTx/>
              <a:buFontTx/>
              <a:buNone/>
              <a:tabLst/>
              <a:defRPr/>
            </a:pPr>
            <a:r>
              <a:rPr kumimoji="0" lang="en-GB" sz="1368" b="1" i="0" u="none" strike="noStrike" kern="0" cap="none" spc="0" normalizeH="0" baseline="0" noProof="0" dirty="0">
                <a:ln>
                  <a:noFill/>
                </a:ln>
                <a:solidFill>
                  <a:srgbClr val="646464"/>
                </a:solidFill>
                <a:effectLst/>
                <a:uLnTx/>
                <a:uFillTx/>
                <a:latin typeface="EYInterstate Light"/>
                <a:ea typeface="+mn-ea"/>
                <a:cs typeface="Arial" pitchFamily="34" charset="0"/>
              </a:rPr>
              <a:t>&gt;15 </a:t>
            </a:r>
            <a:r>
              <a:rPr kumimoji="0" lang="en-GB" sz="1368" b="1" i="0" u="none" strike="noStrike" kern="0" cap="none" spc="0" normalizeH="0" baseline="0" noProof="0" dirty="0">
                <a:ln>
                  <a:noFill/>
                </a:ln>
                <a:solidFill>
                  <a:srgbClr val="000000"/>
                </a:solidFill>
                <a:effectLst/>
                <a:uLnTx/>
                <a:uFillTx/>
                <a:latin typeface="EYInterstate Light"/>
                <a:ea typeface="+mn-ea"/>
                <a:cs typeface="Arial" pitchFamily="34" charset="0"/>
              </a:rPr>
              <a:t>countries</a:t>
            </a:r>
          </a:p>
        </p:txBody>
      </p:sp>
      <p:sp>
        <p:nvSpPr>
          <p:cNvPr id="15" name="Text Box 26">
            <a:extLst>
              <a:ext uri="{FF2B5EF4-FFF2-40B4-BE49-F238E27FC236}">
                <a16:creationId xmlns:a16="http://schemas.microsoft.com/office/drawing/2014/main" id="{21D253DB-98FE-40FB-A89B-68708D7027B6}"/>
              </a:ext>
            </a:extLst>
          </p:cNvPr>
          <p:cNvSpPr txBox="1">
            <a:spLocks noChangeArrowheads="1"/>
          </p:cNvSpPr>
          <p:nvPr/>
        </p:nvSpPr>
        <p:spPr bwMode="gray">
          <a:xfrm>
            <a:off x="6190621" y="1986935"/>
            <a:ext cx="1487811" cy="1369093"/>
          </a:xfrm>
          <a:prstGeom prst="rect">
            <a:avLst/>
          </a:prstGeom>
          <a:noFill/>
          <a:ln w="9525" algn="ctr">
            <a:noFill/>
            <a:miter lim="800000"/>
            <a:headEnd/>
            <a:tailEnd/>
          </a:ln>
        </p:spPr>
        <p:txBody>
          <a:bodyPr wrap="square" lIns="0" tIns="0" rIns="0" bIns="0" anchor="ctr">
            <a:spAutoFit/>
          </a:bodyPr>
          <a:lstStyle/>
          <a:p>
            <a:pPr marL="0" marR="0" lvl="0" indent="0" algn="l" defTabSz="781597" rtl="0" eaLnBrk="1" fontAlgn="auto" latinLnBrk="0" hangingPunct="1">
              <a:lnSpc>
                <a:spcPct val="100000"/>
              </a:lnSpc>
              <a:spcBef>
                <a:spcPts val="0"/>
              </a:spcBef>
              <a:spcAft>
                <a:spcPts val="0"/>
              </a:spcAft>
              <a:buClrTx/>
              <a:buSzTx/>
              <a:buFontTx/>
              <a:buNone/>
              <a:tabLst/>
              <a:defRPr/>
            </a:pPr>
            <a:r>
              <a:rPr kumimoji="0" lang="en-AU" sz="1112" b="1" i="0" u="none" strike="noStrike" kern="0" cap="none" spc="0" normalizeH="0" baseline="0" noProof="0" dirty="0" err="1">
                <a:ln>
                  <a:noFill/>
                </a:ln>
                <a:solidFill>
                  <a:srgbClr val="646464"/>
                </a:solidFill>
                <a:effectLst/>
                <a:uLnTx/>
                <a:uFillTx/>
                <a:latin typeface="EYInterstate Light"/>
                <a:ea typeface="+mn-ea"/>
                <a:cs typeface="Arial" pitchFamily="34" charset="0"/>
              </a:rPr>
              <a:t>Ey’s</a:t>
            </a:r>
            <a:r>
              <a:rPr kumimoji="0" lang="en-AU" sz="1112" b="1" i="0" u="none" strike="noStrike" kern="0" cap="none" spc="0" normalizeH="0" baseline="0" noProof="0" dirty="0">
                <a:ln>
                  <a:noFill/>
                </a:ln>
                <a:solidFill>
                  <a:srgbClr val="646464"/>
                </a:solidFill>
                <a:effectLst/>
                <a:uLnTx/>
                <a:uFillTx/>
                <a:latin typeface="EYInterstate Light"/>
                <a:ea typeface="+mn-ea"/>
                <a:cs typeface="Arial" pitchFamily="34" charset="0"/>
              </a:rPr>
              <a:t> strong connectivity enables us to assemble the right teams, share leading practices across the world and address data and analytics’ needs</a:t>
            </a:r>
            <a:endParaRPr kumimoji="0" lang="en-US" sz="1112" b="0" i="0" u="none" strike="noStrike" kern="0" cap="none" spc="0" normalizeH="0" baseline="0" noProof="0" dirty="0">
              <a:ln>
                <a:noFill/>
              </a:ln>
              <a:solidFill>
                <a:srgbClr val="646464"/>
              </a:solidFill>
              <a:effectLst/>
              <a:uLnTx/>
              <a:uFillTx/>
              <a:latin typeface="EYInterstate Light"/>
              <a:ea typeface="+mn-ea"/>
              <a:cs typeface="Arial" pitchFamily="34" charset="0"/>
            </a:endParaRPr>
          </a:p>
        </p:txBody>
      </p:sp>
      <p:sp>
        <p:nvSpPr>
          <p:cNvPr id="16" name="Rectangle 6">
            <a:extLst>
              <a:ext uri="{FF2B5EF4-FFF2-40B4-BE49-F238E27FC236}">
                <a16:creationId xmlns:a16="http://schemas.microsoft.com/office/drawing/2014/main" id="{40698EDB-E767-474F-9CA2-6C00EE5E6BA4}"/>
              </a:ext>
            </a:extLst>
          </p:cNvPr>
          <p:cNvSpPr>
            <a:spLocks noChangeArrowheads="1"/>
          </p:cNvSpPr>
          <p:nvPr/>
        </p:nvSpPr>
        <p:spPr bwMode="gray">
          <a:xfrm rot="5400000">
            <a:off x="9130007" y="262712"/>
            <a:ext cx="756534" cy="3291692"/>
          </a:xfrm>
          <a:custGeom>
            <a:avLst/>
            <a:gdLst>
              <a:gd name="connsiteX0" fmla="*/ 0 w 1744741"/>
              <a:gd name="connsiteY0" fmla="*/ 0 h 1431732"/>
              <a:gd name="connsiteX1" fmla="*/ 1744741 w 1744741"/>
              <a:gd name="connsiteY1" fmla="*/ 0 h 1431732"/>
              <a:gd name="connsiteX2" fmla="*/ 1744741 w 1744741"/>
              <a:gd name="connsiteY2" fmla="*/ 1431732 h 1431732"/>
              <a:gd name="connsiteX3" fmla="*/ 0 w 1744741"/>
              <a:gd name="connsiteY3" fmla="*/ 1431732 h 1431732"/>
              <a:gd name="connsiteX4" fmla="*/ 0 w 1744741"/>
              <a:gd name="connsiteY4" fmla="*/ 0 h 1431732"/>
              <a:gd name="connsiteX0" fmla="*/ 0 w 1744741"/>
              <a:gd name="connsiteY0" fmla="*/ 0 h 1431732"/>
              <a:gd name="connsiteX1" fmla="*/ 1744741 w 1744741"/>
              <a:gd name="connsiteY1" fmla="*/ 0 h 1431732"/>
              <a:gd name="connsiteX2" fmla="*/ 1742535 w 1744741"/>
              <a:gd name="connsiteY2" fmla="*/ 741873 h 1431732"/>
              <a:gd name="connsiteX3" fmla="*/ 1744741 w 1744741"/>
              <a:gd name="connsiteY3" fmla="*/ 1431732 h 1431732"/>
              <a:gd name="connsiteX4" fmla="*/ 0 w 1744741"/>
              <a:gd name="connsiteY4" fmla="*/ 1431732 h 1431732"/>
              <a:gd name="connsiteX5" fmla="*/ 0 w 1744741"/>
              <a:gd name="connsiteY5" fmla="*/ 0 h 1431732"/>
              <a:gd name="connsiteX0" fmla="*/ 0 w 2165232"/>
              <a:gd name="connsiteY0" fmla="*/ 0 h 1431732"/>
              <a:gd name="connsiteX1" fmla="*/ 1744741 w 2165232"/>
              <a:gd name="connsiteY1" fmla="*/ 0 h 1431732"/>
              <a:gd name="connsiteX2" fmla="*/ 2165232 w 2165232"/>
              <a:gd name="connsiteY2" fmla="*/ 733247 h 1431732"/>
              <a:gd name="connsiteX3" fmla="*/ 1744741 w 2165232"/>
              <a:gd name="connsiteY3" fmla="*/ 1431732 h 1431732"/>
              <a:gd name="connsiteX4" fmla="*/ 0 w 2165232"/>
              <a:gd name="connsiteY4" fmla="*/ 1431732 h 1431732"/>
              <a:gd name="connsiteX5" fmla="*/ 0 w 2165232"/>
              <a:gd name="connsiteY5" fmla="*/ 0 h 1431732"/>
              <a:gd name="connsiteX0" fmla="*/ 0 w 2165232"/>
              <a:gd name="connsiteY0" fmla="*/ 0 h 1431732"/>
              <a:gd name="connsiteX1" fmla="*/ 1744741 w 2165232"/>
              <a:gd name="connsiteY1" fmla="*/ 0 h 1431732"/>
              <a:gd name="connsiteX2" fmla="*/ 2165232 w 2165232"/>
              <a:gd name="connsiteY2" fmla="*/ 733247 h 1431732"/>
              <a:gd name="connsiteX3" fmla="*/ 1744741 w 2165232"/>
              <a:gd name="connsiteY3" fmla="*/ 1431732 h 1431732"/>
              <a:gd name="connsiteX4" fmla="*/ 0 w 2165232"/>
              <a:gd name="connsiteY4" fmla="*/ 1431732 h 1431732"/>
              <a:gd name="connsiteX5" fmla="*/ 0 w 2165232"/>
              <a:gd name="connsiteY5" fmla="*/ 0 h 1431732"/>
              <a:gd name="connsiteX0" fmla="*/ 0 w 2165232"/>
              <a:gd name="connsiteY0" fmla="*/ 0 h 1431732"/>
              <a:gd name="connsiteX1" fmla="*/ 1744741 w 2165232"/>
              <a:gd name="connsiteY1" fmla="*/ 0 h 1431732"/>
              <a:gd name="connsiteX2" fmla="*/ 2165232 w 2165232"/>
              <a:gd name="connsiteY2" fmla="*/ 733247 h 1431732"/>
              <a:gd name="connsiteX3" fmla="*/ 1744741 w 2165232"/>
              <a:gd name="connsiteY3" fmla="*/ 1431732 h 1431732"/>
              <a:gd name="connsiteX4" fmla="*/ 0 w 2165232"/>
              <a:gd name="connsiteY4" fmla="*/ 1431732 h 1431732"/>
              <a:gd name="connsiteX5" fmla="*/ 0 w 2165232"/>
              <a:gd name="connsiteY5" fmla="*/ 0 h 1431732"/>
              <a:gd name="connsiteX0" fmla="*/ 0 w 2165232"/>
              <a:gd name="connsiteY0" fmla="*/ 8 h 1431740"/>
              <a:gd name="connsiteX1" fmla="*/ 1744741 w 2165232"/>
              <a:gd name="connsiteY1" fmla="*/ 8 h 1431740"/>
              <a:gd name="connsiteX2" fmla="*/ 2165232 w 2165232"/>
              <a:gd name="connsiteY2" fmla="*/ 733255 h 1431740"/>
              <a:gd name="connsiteX3" fmla="*/ 1744741 w 2165232"/>
              <a:gd name="connsiteY3" fmla="*/ 1431740 h 1431740"/>
              <a:gd name="connsiteX4" fmla="*/ 0 w 2165232"/>
              <a:gd name="connsiteY4" fmla="*/ 1431740 h 1431740"/>
              <a:gd name="connsiteX5" fmla="*/ 0 w 2165232"/>
              <a:gd name="connsiteY5" fmla="*/ 8 h 1431740"/>
              <a:gd name="connsiteX0" fmla="*/ 0 w 2165232"/>
              <a:gd name="connsiteY0" fmla="*/ 8 h 1431749"/>
              <a:gd name="connsiteX1" fmla="*/ 1744741 w 2165232"/>
              <a:gd name="connsiteY1" fmla="*/ 8 h 1431749"/>
              <a:gd name="connsiteX2" fmla="*/ 2165232 w 2165232"/>
              <a:gd name="connsiteY2" fmla="*/ 733255 h 1431749"/>
              <a:gd name="connsiteX3" fmla="*/ 1744741 w 2165232"/>
              <a:gd name="connsiteY3" fmla="*/ 1431740 h 1431749"/>
              <a:gd name="connsiteX4" fmla="*/ 0 w 2165232"/>
              <a:gd name="connsiteY4" fmla="*/ 1431740 h 1431749"/>
              <a:gd name="connsiteX5" fmla="*/ 0 w 2165232"/>
              <a:gd name="connsiteY5" fmla="*/ 8 h 1431749"/>
              <a:gd name="connsiteX0" fmla="*/ 0 w 2165232"/>
              <a:gd name="connsiteY0" fmla="*/ 8 h 1431749"/>
              <a:gd name="connsiteX1" fmla="*/ 1744741 w 2165232"/>
              <a:gd name="connsiteY1" fmla="*/ 8 h 1431749"/>
              <a:gd name="connsiteX2" fmla="*/ 2165232 w 2165232"/>
              <a:gd name="connsiteY2" fmla="*/ 733255 h 1431749"/>
              <a:gd name="connsiteX3" fmla="*/ 1744741 w 2165232"/>
              <a:gd name="connsiteY3" fmla="*/ 1431740 h 1431749"/>
              <a:gd name="connsiteX4" fmla="*/ 1274956 w 2165232"/>
              <a:gd name="connsiteY4" fmla="*/ 1431740 h 1431749"/>
              <a:gd name="connsiteX5" fmla="*/ 0 w 2165232"/>
              <a:gd name="connsiteY5" fmla="*/ 8 h 1431749"/>
              <a:gd name="connsiteX0" fmla="*/ 31097 w 890276"/>
              <a:gd name="connsiteY0" fmla="*/ 12305 h 1431749"/>
              <a:gd name="connsiteX1" fmla="*/ 469785 w 890276"/>
              <a:gd name="connsiteY1" fmla="*/ 8 h 1431749"/>
              <a:gd name="connsiteX2" fmla="*/ 890276 w 890276"/>
              <a:gd name="connsiteY2" fmla="*/ 733255 h 1431749"/>
              <a:gd name="connsiteX3" fmla="*/ 469785 w 890276"/>
              <a:gd name="connsiteY3" fmla="*/ 1431740 h 1431749"/>
              <a:gd name="connsiteX4" fmla="*/ 0 w 890276"/>
              <a:gd name="connsiteY4" fmla="*/ 1431740 h 1431749"/>
              <a:gd name="connsiteX5" fmla="*/ 31097 w 890276"/>
              <a:gd name="connsiteY5" fmla="*/ 12305 h 1431749"/>
              <a:gd name="connsiteX0" fmla="*/ 0 w 921368"/>
              <a:gd name="connsiteY0" fmla="*/ 12305 h 1431749"/>
              <a:gd name="connsiteX1" fmla="*/ 500877 w 921368"/>
              <a:gd name="connsiteY1" fmla="*/ 8 h 1431749"/>
              <a:gd name="connsiteX2" fmla="*/ 921368 w 921368"/>
              <a:gd name="connsiteY2" fmla="*/ 733255 h 1431749"/>
              <a:gd name="connsiteX3" fmla="*/ 500877 w 921368"/>
              <a:gd name="connsiteY3" fmla="*/ 1431740 h 1431749"/>
              <a:gd name="connsiteX4" fmla="*/ 31092 w 921368"/>
              <a:gd name="connsiteY4" fmla="*/ 1431740 h 1431749"/>
              <a:gd name="connsiteX5" fmla="*/ 0 w 921368"/>
              <a:gd name="connsiteY5" fmla="*/ 12305 h 1431749"/>
              <a:gd name="connsiteX0" fmla="*/ 0 w 921368"/>
              <a:gd name="connsiteY0" fmla="*/ 12305 h 1431749"/>
              <a:gd name="connsiteX1" fmla="*/ 500877 w 921368"/>
              <a:gd name="connsiteY1" fmla="*/ 8 h 1431749"/>
              <a:gd name="connsiteX2" fmla="*/ 921368 w 921368"/>
              <a:gd name="connsiteY2" fmla="*/ 733255 h 1431749"/>
              <a:gd name="connsiteX3" fmla="*/ 500877 w 921368"/>
              <a:gd name="connsiteY3" fmla="*/ 1431740 h 1431749"/>
              <a:gd name="connsiteX4" fmla="*/ 31092 w 921368"/>
              <a:gd name="connsiteY4" fmla="*/ 1431740 h 1431749"/>
              <a:gd name="connsiteX5" fmla="*/ 0 w 921368"/>
              <a:gd name="connsiteY5" fmla="*/ 12305 h 1431749"/>
              <a:gd name="connsiteX0" fmla="*/ 0 w 905820"/>
              <a:gd name="connsiteY0" fmla="*/ 24602 h 1431749"/>
              <a:gd name="connsiteX1" fmla="*/ 485329 w 905820"/>
              <a:gd name="connsiteY1" fmla="*/ 8 h 1431749"/>
              <a:gd name="connsiteX2" fmla="*/ 905820 w 905820"/>
              <a:gd name="connsiteY2" fmla="*/ 733255 h 1431749"/>
              <a:gd name="connsiteX3" fmla="*/ 485329 w 905820"/>
              <a:gd name="connsiteY3" fmla="*/ 1431740 h 1431749"/>
              <a:gd name="connsiteX4" fmla="*/ 15544 w 905820"/>
              <a:gd name="connsiteY4" fmla="*/ 1431740 h 1431749"/>
              <a:gd name="connsiteX5" fmla="*/ 0 w 905820"/>
              <a:gd name="connsiteY5" fmla="*/ 24602 h 1431749"/>
              <a:gd name="connsiteX0" fmla="*/ 0 w 905820"/>
              <a:gd name="connsiteY0" fmla="*/ 24602 h 1431749"/>
              <a:gd name="connsiteX1" fmla="*/ 485329 w 905820"/>
              <a:gd name="connsiteY1" fmla="*/ 8 h 1431749"/>
              <a:gd name="connsiteX2" fmla="*/ 905820 w 905820"/>
              <a:gd name="connsiteY2" fmla="*/ 733255 h 1431749"/>
              <a:gd name="connsiteX3" fmla="*/ 485329 w 905820"/>
              <a:gd name="connsiteY3" fmla="*/ 1431740 h 1431749"/>
              <a:gd name="connsiteX4" fmla="*/ 15544 w 905820"/>
              <a:gd name="connsiteY4" fmla="*/ 1431740 h 1431749"/>
              <a:gd name="connsiteX5" fmla="*/ 0 w 905820"/>
              <a:gd name="connsiteY5" fmla="*/ 24602 h 1431749"/>
              <a:gd name="connsiteX0" fmla="*/ 0 w 905820"/>
              <a:gd name="connsiteY0" fmla="*/ 24602 h 1431749"/>
              <a:gd name="connsiteX1" fmla="*/ 485329 w 905820"/>
              <a:gd name="connsiteY1" fmla="*/ 8 h 1431749"/>
              <a:gd name="connsiteX2" fmla="*/ 905820 w 905820"/>
              <a:gd name="connsiteY2" fmla="*/ 733255 h 1431749"/>
              <a:gd name="connsiteX3" fmla="*/ 485329 w 905820"/>
              <a:gd name="connsiteY3" fmla="*/ 1431740 h 1431749"/>
              <a:gd name="connsiteX4" fmla="*/ 15544 w 905820"/>
              <a:gd name="connsiteY4" fmla="*/ 1431740 h 1431749"/>
              <a:gd name="connsiteX5" fmla="*/ 0 w 905820"/>
              <a:gd name="connsiteY5" fmla="*/ 24602 h 1431749"/>
              <a:gd name="connsiteX0" fmla="*/ 485329 w 905820"/>
              <a:gd name="connsiteY0" fmla="*/ 8 h 1431749"/>
              <a:gd name="connsiteX1" fmla="*/ 905820 w 905820"/>
              <a:gd name="connsiteY1" fmla="*/ 733255 h 1431749"/>
              <a:gd name="connsiteX2" fmla="*/ 485329 w 905820"/>
              <a:gd name="connsiteY2" fmla="*/ 1431740 h 1431749"/>
              <a:gd name="connsiteX3" fmla="*/ 15544 w 905820"/>
              <a:gd name="connsiteY3" fmla="*/ 1431740 h 1431749"/>
              <a:gd name="connsiteX4" fmla="*/ 0 w 905820"/>
              <a:gd name="connsiteY4" fmla="*/ 24602 h 1431749"/>
              <a:gd name="connsiteX5" fmla="*/ 606605 w 905820"/>
              <a:gd name="connsiteY5" fmla="*/ 47967 h 1431749"/>
              <a:gd name="connsiteX0" fmla="*/ 485329 w 905820"/>
              <a:gd name="connsiteY0" fmla="*/ 8 h 1431749"/>
              <a:gd name="connsiteX1" fmla="*/ 905820 w 905820"/>
              <a:gd name="connsiteY1" fmla="*/ 733255 h 1431749"/>
              <a:gd name="connsiteX2" fmla="*/ 485329 w 905820"/>
              <a:gd name="connsiteY2" fmla="*/ 1431740 h 1431749"/>
              <a:gd name="connsiteX3" fmla="*/ 15544 w 905820"/>
              <a:gd name="connsiteY3" fmla="*/ 1431740 h 1431749"/>
              <a:gd name="connsiteX4" fmla="*/ 0 w 905820"/>
              <a:gd name="connsiteY4" fmla="*/ 24602 h 1431749"/>
              <a:gd name="connsiteX5" fmla="*/ 342288 w 905820"/>
              <a:gd name="connsiteY5" fmla="*/ 11075 h 1431749"/>
              <a:gd name="connsiteX0" fmla="*/ 485329 w 905820"/>
              <a:gd name="connsiteY0" fmla="*/ 8 h 1431749"/>
              <a:gd name="connsiteX1" fmla="*/ 905820 w 905820"/>
              <a:gd name="connsiteY1" fmla="*/ 733255 h 1431749"/>
              <a:gd name="connsiteX2" fmla="*/ 485329 w 905820"/>
              <a:gd name="connsiteY2" fmla="*/ 1431740 h 1431749"/>
              <a:gd name="connsiteX3" fmla="*/ 15544 w 905820"/>
              <a:gd name="connsiteY3" fmla="*/ 1431740 h 1431749"/>
              <a:gd name="connsiteX4" fmla="*/ 0 w 905820"/>
              <a:gd name="connsiteY4" fmla="*/ 24602 h 1431749"/>
              <a:gd name="connsiteX5" fmla="*/ 342288 w 905820"/>
              <a:gd name="connsiteY5" fmla="*/ 11075 h 1431749"/>
              <a:gd name="connsiteX0" fmla="*/ 916331 w 1336822"/>
              <a:gd name="connsiteY0" fmla="*/ 8 h 1431749"/>
              <a:gd name="connsiteX1" fmla="*/ 1336822 w 1336822"/>
              <a:gd name="connsiteY1" fmla="*/ 733255 h 1431749"/>
              <a:gd name="connsiteX2" fmla="*/ 916331 w 1336822"/>
              <a:gd name="connsiteY2" fmla="*/ 1431740 h 1431749"/>
              <a:gd name="connsiteX3" fmla="*/ 446546 w 1336822"/>
              <a:gd name="connsiteY3" fmla="*/ 1431740 h 1431749"/>
              <a:gd name="connsiteX4" fmla="*/ 431002 w 1336822"/>
              <a:gd name="connsiteY4" fmla="*/ 24602 h 1431749"/>
              <a:gd name="connsiteX5" fmla="*/ 58075 w 1336822"/>
              <a:gd name="connsiteY5" fmla="*/ 60263 h 1431749"/>
              <a:gd name="connsiteX0" fmla="*/ 858926 w 1279417"/>
              <a:gd name="connsiteY0" fmla="*/ 8 h 1431749"/>
              <a:gd name="connsiteX1" fmla="*/ 1279417 w 1279417"/>
              <a:gd name="connsiteY1" fmla="*/ 733255 h 1431749"/>
              <a:gd name="connsiteX2" fmla="*/ 858926 w 1279417"/>
              <a:gd name="connsiteY2" fmla="*/ 1431740 h 1431749"/>
              <a:gd name="connsiteX3" fmla="*/ 389141 w 1279417"/>
              <a:gd name="connsiteY3" fmla="*/ 1431740 h 1431749"/>
              <a:gd name="connsiteX4" fmla="*/ 373597 w 1279417"/>
              <a:gd name="connsiteY4" fmla="*/ 24602 h 1431749"/>
              <a:gd name="connsiteX5" fmla="*/ 670 w 1279417"/>
              <a:gd name="connsiteY5" fmla="*/ 60263 h 1431749"/>
              <a:gd name="connsiteX0" fmla="*/ 858854 w 1279345"/>
              <a:gd name="connsiteY0" fmla="*/ 18446 h 1450187"/>
              <a:gd name="connsiteX1" fmla="*/ 1279345 w 1279345"/>
              <a:gd name="connsiteY1" fmla="*/ 751693 h 1450187"/>
              <a:gd name="connsiteX2" fmla="*/ 858854 w 1279345"/>
              <a:gd name="connsiteY2" fmla="*/ 1450178 h 1450187"/>
              <a:gd name="connsiteX3" fmla="*/ 389069 w 1279345"/>
              <a:gd name="connsiteY3" fmla="*/ 1450178 h 1450187"/>
              <a:gd name="connsiteX4" fmla="*/ 451266 w 1279345"/>
              <a:gd name="connsiteY4" fmla="*/ 0 h 1450187"/>
              <a:gd name="connsiteX5" fmla="*/ 598 w 1279345"/>
              <a:gd name="connsiteY5" fmla="*/ 78701 h 1450187"/>
              <a:gd name="connsiteX0" fmla="*/ 859038 w 1279529"/>
              <a:gd name="connsiteY0" fmla="*/ 19275 h 1451016"/>
              <a:gd name="connsiteX1" fmla="*/ 1279529 w 1279529"/>
              <a:gd name="connsiteY1" fmla="*/ 752522 h 1451016"/>
              <a:gd name="connsiteX2" fmla="*/ 859038 w 1279529"/>
              <a:gd name="connsiteY2" fmla="*/ 1451007 h 1451016"/>
              <a:gd name="connsiteX3" fmla="*/ 389253 w 1279529"/>
              <a:gd name="connsiteY3" fmla="*/ 1451007 h 1451016"/>
              <a:gd name="connsiteX4" fmla="*/ 451450 w 1279529"/>
              <a:gd name="connsiteY4" fmla="*/ 829 h 1451016"/>
              <a:gd name="connsiteX5" fmla="*/ 782 w 1279529"/>
              <a:gd name="connsiteY5" fmla="*/ 79530 h 1451016"/>
              <a:gd name="connsiteX0" fmla="*/ 858255 w 1278746"/>
              <a:gd name="connsiteY0" fmla="*/ 9 h 1431750"/>
              <a:gd name="connsiteX1" fmla="*/ 1278746 w 1278746"/>
              <a:gd name="connsiteY1" fmla="*/ 733256 h 1431750"/>
              <a:gd name="connsiteX2" fmla="*/ 858255 w 1278746"/>
              <a:gd name="connsiteY2" fmla="*/ 1431741 h 1431750"/>
              <a:gd name="connsiteX3" fmla="*/ 388470 w 1278746"/>
              <a:gd name="connsiteY3" fmla="*/ 1431741 h 1431750"/>
              <a:gd name="connsiteX4" fmla="*/ -1 w 1278746"/>
              <a:gd name="connsiteY4" fmla="*/ 60264 h 1431750"/>
              <a:gd name="connsiteX0" fmla="*/ 469785 w 890276"/>
              <a:gd name="connsiteY0" fmla="*/ 9 h 1431750"/>
              <a:gd name="connsiteX1" fmla="*/ 890276 w 890276"/>
              <a:gd name="connsiteY1" fmla="*/ 733256 h 1431750"/>
              <a:gd name="connsiteX2" fmla="*/ 469785 w 890276"/>
              <a:gd name="connsiteY2" fmla="*/ 1431741 h 1431750"/>
              <a:gd name="connsiteX3" fmla="*/ 0 w 890276"/>
              <a:gd name="connsiteY3" fmla="*/ 1431741 h 1431750"/>
              <a:gd name="connsiteX4" fmla="*/ 109071 w 890276"/>
              <a:gd name="connsiteY4" fmla="*/ 11076 h 1431750"/>
              <a:gd name="connsiteX0" fmla="*/ 469785 w 890276"/>
              <a:gd name="connsiteY0" fmla="*/ 9 h 1431750"/>
              <a:gd name="connsiteX1" fmla="*/ 890276 w 890276"/>
              <a:gd name="connsiteY1" fmla="*/ 733256 h 1431750"/>
              <a:gd name="connsiteX2" fmla="*/ 469785 w 890276"/>
              <a:gd name="connsiteY2" fmla="*/ 1431741 h 1431750"/>
              <a:gd name="connsiteX3" fmla="*/ 0 w 890276"/>
              <a:gd name="connsiteY3" fmla="*/ 1431741 h 1431750"/>
              <a:gd name="connsiteX4" fmla="*/ 46882 w 890276"/>
              <a:gd name="connsiteY4" fmla="*/ 11076 h 1431750"/>
              <a:gd name="connsiteX0" fmla="*/ 469785 w 890276"/>
              <a:gd name="connsiteY0" fmla="*/ 9 h 1431750"/>
              <a:gd name="connsiteX1" fmla="*/ 890276 w 890276"/>
              <a:gd name="connsiteY1" fmla="*/ 733256 h 1431750"/>
              <a:gd name="connsiteX2" fmla="*/ 469785 w 890276"/>
              <a:gd name="connsiteY2" fmla="*/ 1431741 h 1431750"/>
              <a:gd name="connsiteX3" fmla="*/ 0 w 890276"/>
              <a:gd name="connsiteY3" fmla="*/ 1431741 h 1431750"/>
              <a:gd name="connsiteX4" fmla="*/ 46882 w 890276"/>
              <a:gd name="connsiteY4" fmla="*/ 11076 h 1431750"/>
              <a:gd name="connsiteX0" fmla="*/ 469785 w 890276"/>
              <a:gd name="connsiteY0" fmla="*/ 9 h 1431750"/>
              <a:gd name="connsiteX1" fmla="*/ 890276 w 890276"/>
              <a:gd name="connsiteY1" fmla="*/ 733256 h 1431750"/>
              <a:gd name="connsiteX2" fmla="*/ 469785 w 890276"/>
              <a:gd name="connsiteY2" fmla="*/ 1431741 h 1431750"/>
              <a:gd name="connsiteX3" fmla="*/ 0 w 890276"/>
              <a:gd name="connsiteY3" fmla="*/ 1431741 h 1431750"/>
              <a:gd name="connsiteX4" fmla="*/ 239 w 890276"/>
              <a:gd name="connsiteY4" fmla="*/ 17224 h 1431750"/>
              <a:gd name="connsiteX0" fmla="*/ 469785 w 890276"/>
              <a:gd name="connsiteY0" fmla="*/ 1231 h 1432972"/>
              <a:gd name="connsiteX1" fmla="*/ 890276 w 890276"/>
              <a:gd name="connsiteY1" fmla="*/ 734478 h 1432972"/>
              <a:gd name="connsiteX2" fmla="*/ 469785 w 890276"/>
              <a:gd name="connsiteY2" fmla="*/ 1432963 h 1432972"/>
              <a:gd name="connsiteX3" fmla="*/ 0 w 890276"/>
              <a:gd name="connsiteY3" fmla="*/ 1432963 h 1432972"/>
              <a:gd name="connsiteX4" fmla="*/ 242 w 890276"/>
              <a:gd name="connsiteY4" fmla="*/ 0 h 14329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0276" h="1432972">
                <a:moveTo>
                  <a:pt x="469785" y="1231"/>
                </a:moveTo>
                <a:cubicBezTo>
                  <a:pt x="477676" y="-1644"/>
                  <a:pt x="891011" y="737353"/>
                  <a:pt x="890276" y="734478"/>
                </a:cubicBezTo>
                <a:cubicBezTo>
                  <a:pt x="873758" y="731518"/>
                  <a:pt x="477677" y="1435923"/>
                  <a:pt x="469785" y="1432963"/>
                </a:cubicBezTo>
                <a:lnTo>
                  <a:pt x="0" y="1432963"/>
                </a:lnTo>
                <a:cubicBezTo>
                  <a:pt x="80" y="961457"/>
                  <a:pt x="162" y="471506"/>
                  <a:pt x="242" y="0"/>
                </a:cubicBezTo>
              </a:path>
            </a:pathLst>
          </a:custGeom>
          <a:solidFill>
            <a:schemeClr val="accent5"/>
          </a:solidFill>
          <a:ln>
            <a:noFill/>
          </a:ln>
          <a:effectLst/>
        </p:spPr>
        <p:txBody>
          <a:bodyPr vert="horz" wrap="square" lIns="78191" tIns="39095" rIns="78191" bIns="39095"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513"/>
              </a:spcAft>
              <a:buClrTx/>
              <a:buSzTx/>
              <a:buFontTx/>
              <a:buNone/>
              <a:tabLst/>
              <a:defRPr/>
            </a:pPr>
            <a:endParaRPr kumimoji="0" lang="de-DE" sz="1026" b="0" i="0" u="none" strike="noStrike" kern="0" cap="none" spc="0" normalizeH="0" baseline="0" noProof="0" dirty="0">
              <a:ln>
                <a:noFill/>
              </a:ln>
              <a:solidFill>
                <a:srgbClr val="FFFFFF"/>
              </a:solidFill>
              <a:effectLst/>
              <a:uLnTx/>
              <a:uFillTx/>
              <a:latin typeface="Arial"/>
              <a:ea typeface="+mn-ea"/>
              <a:cs typeface="+mn-cs"/>
            </a:endParaRPr>
          </a:p>
        </p:txBody>
      </p:sp>
      <p:grpSp>
        <p:nvGrpSpPr>
          <p:cNvPr id="17" name="Group 16">
            <a:extLst>
              <a:ext uri="{FF2B5EF4-FFF2-40B4-BE49-F238E27FC236}">
                <a16:creationId xmlns:a16="http://schemas.microsoft.com/office/drawing/2014/main" id="{C0809EE9-D8E8-4CE7-8170-1735DE76E6A6}"/>
              </a:ext>
            </a:extLst>
          </p:cNvPr>
          <p:cNvGrpSpPr/>
          <p:nvPr/>
        </p:nvGrpSpPr>
        <p:grpSpPr>
          <a:xfrm>
            <a:off x="8946248" y="2187928"/>
            <a:ext cx="1058720" cy="794027"/>
            <a:chOff x="9371717" y="1617053"/>
            <a:chExt cx="1058720" cy="794027"/>
          </a:xfrm>
        </p:grpSpPr>
        <p:sp>
          <p:nvSpPr>
            <p:cNvPr id="18" name="Freeform 5">
              <a:extLst>
                <a:ext uri="{FF2B5EF4-FFF2-40B4-BE49-F238E27FC236}">
                  <a16:creationId xmlns:a16="http://schemas.microsoft.com/office/drawing/2014/main" id="{0BD01481-4E29-4A0D-95D1-CB11CC0EC2CC}"/>
                </a:ext>
              </a:extLst>
            </p:cNvPr>
            <p:cNvSpPr>
              <a:spLocks noEditPoints="1"/>
            </p:cNvSpPr>
            <p:nvPr/>
          </p:nvSpPr>
          <p:spPr bwMode="auto">
            <a:xfrm>
              <a:off x="9727366" y="1617053"/>
              <a:ext cx="351883" cy="396073"/>
            </a:xfrm>
            <a:custGeom>
              <a:avLst/>
              <a:gdLst>
                <a:gd name="T0" fmla="*/ 59 w 309"/>
                <a:gd name="T1" fmla="*/ 280 h 328"/>
                <a:gd name="T2" fmla="*/ 35 w 309"/>
                <a:gd name="T3" fmla="*/ 294 h 328"/>
                <a:gd name="T4" fmla="*/ 35 w 309"/>
                <a:gd name="T5" fmla="*/ 328 h 328"/>
                <a:gd name="T6" fmla="*/ 274 w 309"/>
                <a:gd name="T7" fmla="*/ 328 h 328"/>
                <a:gd name="T8" fmla="*/ 274 w 309"/>
                <a:gd name="T9" fmla="*/ 293 h 328"/>
                <a:gd name="T10" fmla="*/ 246 w 309"/>
                <a:gd name="T11" fmla="*/ 280 h 328"/>
                <a:gd name="T12" fmla="*/ 59 w 309"/>
                <a:gd name="T13" fmla="*/ 280 h 328"/>
                <a:gd name="T14" fmla="*/ 95 w 309"/>
                <a:gd name="T15" fmla="*/ 251 h 328"/>
                <a:gd name="T16" fmla="*/ 95 w 309"/>
                <a:gd name="T17" fmla="*/ 268 h 328"/>
                <a:gd name="T18" fmla="*/ 212 w 309"/>
                <a:gd name="T19" fmla="*/ 268 h 328"/>
                <a:gd name="T20" fmla="*/ 212 w 309"/>
                <a:gd name="T21" fmla="*/ 251 h 328"/>
                <a:gd name="T22" fmla="*/ 181 w 309"/>
                <a:gd name="T23" fmla="*/ 251 h 328"/>
                <a:gd name="T24" fmla="*/ 181 w 309"/>
                <a:gd name="T25" fmla="*/ 234 h 328"/>
                <a:gd name="T26" fmla="*/ 227 w 309"/>
                <a:gd name="T27" fmla="*/ 54 h 328"/>
                <a:gd name="T28" fmla="*/ 81 w 309"/>
                <a:gd name="T29" fmla="*/ 54 h 328"/>
                <a:gd name="T30" fmla="*/ 125 w 309"/>
                <a:gd name="T31" fmla="*/ 234 h 328"/>
                <a:gd name="T32" fmla="*/ 125 w 309"/>
                <a:gd name="T33" fmla="*/ 251 h 328"/>
                <a:gd name="T34" fmla="*/ 95 w 309"/>
                <a:gd name="T35" fmla="*/ 251 h 328"/>
                <a:gd name="T36" fmla="*/ 286 w 309"/>
                <a:gd name="T37" fmla="*/ 13 h 328"/>
                <a:gd name="T38" fmla="*/ 257 w 309"/>
                <a:gd name="T39" fmla="*/ 0 h 328"/>
                <a:gd name="T40" fmla="*/ 223 w 309"/>
                <a:gd name="T41" fmla="*/ 28 h 328"/>
                <a:gd name="T42" fmla="*/ 86 w 309"/>
                <a:gd name="T43" fmla="*/ 28 h 328"/>
                <a:gd name="T44" fmla="*/ 52 w 309"/>
                <a:gd name="T45" fmla="*/ 0 h 328"/>
                <a:gd name="T46" fmla="*/ 22 w 309"/>
                <a:gd name="T47" fmla="*/ 13 h 328"/>
                <a:gd name="T48" fmla="*/ 28 w 309"/>
                <a:gd name="T49" fmla="*/ 127 h 328"/>
                <a:gd name="T50" fmla="*/ 61 w 309"/>
                <a:gd name="T51" fmla="*/ 174 h 328"/>
                <a:gd name="T52" fmla="*/ 93 w 309"/>
                <a:gd name="T53" fmla="*/ 200 h 328"/>
                <a:gd name="T54" fmla="*/ 85 w 309"/>
                <a:gd name="T55" fmla="*/ 176 h 328"/>
                <a:gd name="T56" fmla="*/ 67 w 309"/>
                <a:gd name="T57" fmla="*/ 157 h 328"/>
                <a:gd name="T58" fmla="*/ 26 w 309"/>
                <a:gd name="T59" fmla="*/ 45 h 328"/>
                <a:gd name="T60" fmla="*/ 58 w 309"/>
                <a:gd name="T61" fmla="*/ 17 h 328"/>
                <a:gd name="T62" fmla="*/ 69 w 309"/>
                <a:gd name="T63" fmla="*/ 28 h 328"/>
                <a:gd name="T64" fmla="*/ 58 w 309"/>
                <a:gd name="T65" fmla="*/ 28 h 328"/>
                <a:gd name="T66" fmla="*/ 58 w 309"/>
                <a:gd name="T67" fmla="*/ 42 h 328"/>
                <a:gd name="T68" fmla="*/ 249 w 309"/>
                <a:gd name="T69" fmla="*/ 42 h 328"/>
                <a:gd name="T70" fmla="*/ 249 w 309"/>
                <a:gd name="T71" fmla="*/ 28 h 328"/>
                <a:gd name="T72" fmla="*/ 239 w 309"/>
                <a:gd name="T73" fmla="*/ 28 h 328"/>
                <a:gd name="T74" fmla="*/ 250 w 309"/>
                <a:gd name="T75" fmla="*/ 17 h 328"/>
                <a:gd name="T76" fmla="*/ 282 w 309"/>
                <a:gd name="T77" fmla="*/ 45 h 328"/>
                <a:gd name="T78" fmla="*/ 242 w 309"/>
                <a:gd name="T79" fmla="*/ 157 h 328"/>
                <a:gd name="T80" fmla="*/ 223 w 309"/>
                <a:gd name="T81" fmla="*/ 176 h 328"/>
                <a:gd name="T82" fmla="*/ 215 w 309"/>
                <a:gd name="T83" fmla="*/ 200 h 328"/>
                <a:gd name="T84" fmla="*/ 248 w 309"/>
                <a:gd name="T85" fmla="*/ 174 h 328"/>
                <a:gd name="T86" fmla="*/ 280 w 309"/>
                <a:gd name="T87" fmla="*/ 127 h 328"/>
                <a:gd name="T88" fmla="*/ 286 w 309"/>
                <a:gd name="T89" fmla="*/ 13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09" h="328">
                  <a:moveTo>
                    <a:pt x="59" y="280"/>
                  </a:moveTo>
                  <a:cubicBezTo>
                    <a:pt x="35" y="294"/>
                    <a:pt x="35" y="294"/>
                    <a:pt x="35" y="294"/>
                  </a:cubicBezTo>
                  <a:cubicBezTo>
                    <a:pt x="35" y="328"/>
                    <a:pt x="35" y="328"/>
                    <a:pt x="35" y="328"/>
                  </a:cubicBezTo>
                  <a:cubicBezTo>
                    <a:pt x="274" y="328"/>
                    <a:pt x="274" y="328"/>
                    <a:pt x="274" y="328"/>
                  </a:cubicBezTo>
                  <a:cubicBezTo>
                    <a:pt x="274" y="293"/>
                    <a:pt x="274" y="293"/>
                    <a:pt x="274" y="293"/>
                  </a:cubicBezTo>
                  <a:cubicBezTo>
                    <a:pt x="246" y="280"/>
                    <a:pt x="246" y="280"/>
                    <a:pt x="246" y="280"/>
                  </a:cubicBezTo>
                  <a:lnTo>
                    <a:pt x="59" y="280"/>
                  </a:lnTo>
                  <a:close/>
                  <a:moveTo>
                    <a:pt x="95" y="251"/>
                  </a:moveTo>
                  <a:cubicBezTo>
                    <a:pt x="95" y="268"/>
                    <a:pt x="95" y="268"/>
                    <a:pt x="95" y="268"/>
                  </a:cubicBezTo>
                  <a:cubicBezTo>
                    <a:pt x="212" y="268"/>
                    <a:pt x="212" y="268"/>
                    <a:pt x="212" y="268"/>
                  </a:cubicBezTo>
                  <a:cubicBezTo>
                    <a:pt x="212" y="251"/>
                    <a:pt x="212" y="251"/>
                    <a:pt x="212" y="251"/>
                  </a:cubicBezTo>
                  <a:cubicBezTo>
                    <a:pt x="181" y="251"/>
                    <a:pt x="181" y="251"/>
                    <a:pt x="181" y="251"/>
                  </a:cubicBezTo>
                  <a:cubicBezTo>
                    <a:pt x="181" y="234"/>
                    <a:pt x="181" y="234"/>
                    <a:pt x="181" y="234"/>
                  </a:cubicBezTo>
                  <a:cubicBezTo>
                    <a:pt x="234" y="164"/>
                    <a:pt x="227" y="54"/>
                    <a:pt x="227" y="54"/>
                  </a:cubicBezTo>
                  <a:cubicBezTo>
                    <a:pt x="81" y="54"/>
                    <a:pt x="81" y="54"/>
                    <a:pt x="81" y="54"/>
                  </a:cubicBezTo>
                  <a:cubicBezTo>
                    <a:pt x="76" y="160"/>
                    <a:pt x="120" y="227"/>
                    <a:pt x="125" y="234"/>
                  </a:cubicBezTo>
                  <a:cubicBezTo>
                    <a:pt x="125" y="251"/>
                    <a:pt x="125" y="251"/>
                    <a:pt x="125" y="251"/>
                  </a:cubicBezTo>
                  <a:lnTo>
                    <a:pt x="95" y="251"/>
                  </a:lnTo>
                  <a:close/>
                  <a:moveTo>
                    <a:pt x="286" y="13"/>
                  </a:moveTo>
                  <a:cubicBezTo>
                    <a:pt x="278" y="4"/>
                    <a:pt x="266" y="0"/>
                    <a:pt x="257" y="0"/>
                  </a:cubicBezTo>
                  <a:cubicBezTo>
                    <a:pt x="234" y="1"/>
                    <a:pt x="225" y="21"/>
                    <a:pt x="223" y="28"/>
                  </a:cubicBezTo>
                  <a:cubicBezTo>
                    <a:pt x="86" y="28"/>
                    <a:pt x="86" y="28"/>
                    <a:pt x="86" y="28"/>
                  </a:cubicBezTo>
                  <a:cubicBezTo>
                    <a:pt x="83" y="21"/>
                    <a:pt x="74" y="1"/>
                    <a:pt x="52" y="0"/>
                  </a:cubicBezTo>
                  <a:cubicBezTo>
                    <a:pt x="42" y="0"/>
                    <a:pt x="30" y="4"/>
                    <a:pt x="22" y="13"/>
                  </a:cubicBezTo>
                  <a:cubicBezTo>
                    <a:pt x="9" y="28"/>
                    <a:pt x="0" y="67"/>
                    <a:pt x="28" y="127"/>
                  </a:cubicBezTo>
                  <a:cubicBezTo>
                    <a:pt x="38" y="146"/>
                    <a:pt x="49" y="161"/>
                    <a:pt x="61" y="174"/>
                  </a:cubicBezTo>
                  <a:cubicBezTo>
                    <a:pt x="76" y="190"/>
                    <a:pt x="87" y="197"/>
                    <a:pt x="93" y="200"/>
                  </a:cubicBezTo>
                  <a:cubicBezTo>
                    <a:pt x="90" y="192"/>
                    <a:pt x="87" y="184"/>
                    <a:pt x="85" y="176"/>
                  </a:cubicBezTo>
                  <a:cubicBezTo>
                    <a:pt x="79" y="171"/>
                    <a:pt x="72" y="164"/>
                    <a:pt x="67" y="157"/>
                  </a:cubicBezTo>
                  <a:cubicBezTo>
                    <a:pt x="46" y="130"/>
                    <a:pt x="23" y="94"/>
                    <a:pt x="26" y="45"/>
                  </a:cubicBezTo>
                  <a:cubicBezTo>
                    <a:pt x="27" y="20"/>
                    <a:pt x="46" y="12"/>
                    <a:pt x="58" y="17"/>
                  </a:cubicBezTo>
                  <a:cubicBezTo>
                    <a:pt x="63" y="20"/>
                    <a:pt x="67" y="24"/>
                    <a:pt x="69" y="28"/>
                  </a:cubicBezTo>
                  <a:cubicBezTo>
                    <a:pt x="58" y="28"/>
                    <a:pt x="58" y="28"/>
                    <a:pt x="58" y="28"/>
                  </a:cubicBezTo>
                  <a:cubicBezTo>
                    <a:pt x="58" y="42"/>
                    <a:pt x="58" y="42"/>
                    <a:pt x="58" y="42"/>
                  </a:cubicBezTo>
                  <a:cubicBezTo>
                    <a:pt x="249" y="42"/>
                    <a:pt x="249" y="42"/>
                    <a:pt x="249" y="42"/>
                  </a:cubicBezTo>
                  <a:cubicBezTo>
                    <a:pt x="249" y="28"/>
                    <a:pt x="249" y="28"/>
                    <a:pt x="249" y="28"/>
                  </a:cubicBezTo>
                  <a:cubicBezTo>
                    <a:pt x="239" y="28"/>
                    <a:pt x="239" y="28"/>
                    <a:pt x="239" y="28"/>
                  </a:cubicBezTo>
                  <a:cubicBezTo>
                    <a:pt x="242" y="24"/>
                    <a:pt x="245" y="20"/>
                    <a:pt x="250" y="17"/>
                  </a:cubicBezTo>
                  <a:cubicBezTo>
                    <a:pt x="263" y="12"/>
                    <a:pt x="281" y="20"/>
                    <a:pt x="282" y="45"/>
                  </a:cubicBezTo>
                  <a:cubicBezTo>
                    <a:pt x="285" y="94"/>
                    <a:pt x="263" y="130"/>
                    <a:pt x="242" y="157"/>
                  </a:cubicBezTo>
                  <a:cubicBezTo>
                    <a:pt x="236" y="164"/>
                    <a:pt x="229" y="171"/>
                    <a:pt x="223" y="176"/>
                  </a:cubicBezTo>
                  <a:cubicBezTo>
                    <a:pt x="221" y="184"/>
                    <a:pt x="218" y="192"/>
                    <a:pt x="215" y="200"/>
                  </a:cubicBezTo>
                  <a:cubicBezTo>
                    <a:pt x="221" y="197"/>
                    <a:pt x="232" y="190"/>
                    <a:pt x="248" y="174"/>
                  </a:cubicBezTo>
                  <a:cubicBezTo>
                    <a:pt x="259" y="161"/>
                    <a:pt x="271" y="146"/>
                    <a:pt x="280" y="127"/>
                  </a:cubicBezTo>
                  <a:cubicBezTo>
                    <a:pt x="309" y="67"/>
                    <a:pt x="299" y="28"/>
                    <a:pt x="286" y="13"/>
                  </a:cubicBezTo>
                  <a:close/>
                </a:path>
              </a:pathLst>
            </a:custGeom>
            <a:solidFill>
              <a:srgbClr val="000000"/>
            </a:solidFill>
            <a:ln>
              <a:noFill/>
            </a:ln>
          </p:spPr>
          <p:txBody>
            <a:bodyPr vert="horz" wrap="square" lIns="78191" tIns="39095" rIns="78191" bIns="39095" numCol="1" anchor="t" anchorCtr="0" compatLnSpc="1">
              <a:prstTxWarp prst="textNoShape">
                <a:avLst/>
              </a:prstTxWarp>
            </a:bodyPr>
            <a:lstStyle/>
            <a:p>
              <a:pPr marL="0" marR="0" lvl="0" indent="0" algn="ctr" defTabSz="914400" rtl="0" eaLnBrk="1" fontAlgn="base" latinLnBrk="0" hangingPunct="1">
                <a:lnSpc>
                  <a:spcPts val="1049"/>
                </a:lnSpc>
                <a:spcBef>
                  <a:spcPct val="0"/>
                </a:spcBef>
                <a:spcAft>
                  <a:spcPct val="0"/>
                </a:spcAft>
                <a:buClrTx/>
                <a:buSzTx/>
                <a:buFontTx/>
                <a:buNone/>
                <a:tabLst/>
                <a:defRPr/>
              </a:pPr>
              <a:endParaRPr kumimoji="0" lang="en-US" sz="342" b="0" i="0" u="none" strike="noStrike" kern="0" cap="none" spc="0" normalizeH="0" baseline="0" noProof="0" dirty="0">
                <a:ln>
                  <a:noFill/>
                </a:ln>
                <a:solidFill>
                  <a:srgbClr val="010024"/>
                </a:solidFill>
                <a:effectLst/>
                <a:uLnTx/>
                <a:uFillTx/>
                <a:latin typeface="EYInterstate Regular" pitchFamily="1" charset="0"/>
                <a:ea typeface="+mn-ea"/>
                <a:cs typeface="+mn-cs"/>
              </a:endParaRPr>
            </a:p>
          </p:txBody>
        </p:sp>
        <p:grpSp>
          <p:nvGrpSpPr>
            <p:cNvPr id="19" name="Group 18">
              <a:extLst>
                <a:ext uri="{FF2B5EF4-FFF2-40B4-BE49-F238E27FC236}">
                  <a16:creationId xmlns:a16="http://schemas.microsoft.com/office/drawing/2014/main" id="{BE2D353F-CDB8-4C9F-A7C6-8D9E2864790E}"/>
                </a:ext>
              </a:extLst>
            </p:cNvPr>
            <p:cNvGrpSpPr/>
            <p:nvPr/>
          </p:nvGrpSpPr>
          <p:grpSpPr>
            <a:xfrm>
              <a:off x="9371717" y="2019737"/>
              <a:ext cx="1058720" cy="391343"/>
              <a:chOff x="4420107" y="3857763"/>
              <a:chExt cx="2966120" cy="1033670"/>
            </a:xfrm>
            <a:solidFill>
              <a:srgbClr val="000000">
                <a:lumMod val="20000"/>
                <a:lumOff val="80000"/>
              </a:srgbClr>
            </a:solidFill>
          </p:grpSpPr>
          <p:sp>
            <p:nvSpPr>
              <p:cNvPr id="37" name="Rectangle 36">
                <a:extLst>
                  <a:ext uri="{FF2B5EF4-FFF2-40B4-BE49-F238E27FC236}">
                    <a16:creationId xmlns:a16="http://schemas.microsoft.com/office/drawing/2014/main" id="{B60662BF-FABF-44AB-9A1E-1CFB0AF65C2E}"/>
                  </a:ext>
                </a:extLst>
              </p:cNvPr>
              <p:cNvSpPr/>
              <p:nvPr/>
            </p:nvSpPr>
            <p:spPr>
              <a:xfrm>
                <a:off x="5418534" y="3857763"/>
                <a:ext cx="969264" cy="1033670"/>
              </a:xfrm>
              <a:prstGeom prst="rect">
                <a:avLst/>
              </a:prstGeom>
              <a:solidFill>
                <a:srgbClr val="FFFFFF"/>
              </a:solidFill>
              <a:ln>
                <a:noFill/>
              </a:ln>
            </p:spPr>
            <p:txBody>
              <a:bodyPr wrap="square" rtlCol="0" anchor="ctr">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0" cap="none" spc="0" normalizeH="0" baseline="0" noProof="0" dirty="0">
                    <a:ln>
                      <a:noFill/>
                    </a:ln>
                    <a:solidFill>
                      <a:srgbClr val="646464"/>
                    </a:solidFill>
                    <a:effectLst/>
                    <a:uLnTx/>
                    <a:uFillTx/>
                    <a:latin typeface="EYInterstate Regular" pitchFamily="2" charset="0"/>
                    <a:ea typeface="+mn-ea"/>
                    <a:cs typeface="+mn-cs"/>
                  </a:rPr>
                  <a:t>1</a:t>
                </a:r>
              </a:p>
            </p:txBody>
          </p:sp>
          <p:sp>
            <p:nvSpPr>
              <p:cNvPr id="38" name="Rectangle 37">
                <a:extLst>
                  <a:ext uri="{FF2B5EF4-FFF2-40B4-BE49-F238E27FC236}">
                    <a16:creationId xmlns:a16="http://schemas.microsoft.com/office/drawing/2014/main" id="{E689368E-AF3B-47EF-AD7B-2C7801C5EEE2}"/>
                  </a:ext>
                </a:extLst>
              </p:cNvPr>
              <p:cNvSpPr/>
              <p:nvPr/>
            </p:nvSpPr>
            <p:spPr>
              <a:xfrm>
                <a:off x="4420107" y="4229101"/>
                <a:ext cx="968661" cy="662332"/>
              </a:xfrm>
              <a:prstGeom prst="rect">
                <a:avLst/>
              </a:prstGeom>
              <a:grpFill/>
              <a:ln>
                <a:noFill/>
              </a:ln>
            </p:spPr>
            <p:txBody>
              <a:bodyPr wrap="square" rtlCol="0" anchor="ctr">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0" cap="none" spc="0" normalizeH="0" baseline="0" noProof="0" dirty="0">
                    <a:ln>
                      <a:noFill/>
                    </a:ln>
                    <a:solidFill>
                      <a:srgbClr val="646464"/>
                    </a:solidFill>
                    <a:effectLst/>
                    <a:uLnTx/>
                    <a:uFillTx/>
                    <a:latin typeface="EYInterstate Regular" pitchFamily="2" charset="0"/>
                    <a:ea typeface="+mn-ea"/>
                    <a:cs typeface="+mn-cs"/>
                  </a:rPr>
                  <a:t>2</a:t>
                </a:r>
              </a:p>
            </p:txBody>
          </p:sp>
          <p:sp>
            <p:nvSpPr>
              <p:cNvPr id="39" name="Rectangle 38">
                <a:extLst>
                  <a:ext uri="{FF2B5EF4-FFF2-40B4-BE49-F238E27FC236}">
                    <a16:creationId xmlns:a16="http://schemas.microsoft.com/office/drawing/2014/main" id="{0643FA93-85EA-4907-9DE0-134B7E119781}"/>
                  </a:ext>
                </a:extLst>
              </p:cNvPr>
              <p:cNvSpPr/>
              <p:nvPr/>
            </p:nvSpPr>
            <p:spPr>
              <a:xfrm>
                <a:off x="6417566" y="4345782"/>
                <a:ext cx="968661" cy="545651"/>
              </a:xfrm>
              <a:prstGeom prst="rect">
                <a:avLst/>
              </a:prstGeom>
              <a:grpFill/>
              <a:ln>
                <a:noFill/>
              </a:ln>
            </p:spPr>
            <p:txBody>
              <a:bodyPr wrap="square" rtlCol="0" anchor="ctr">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0" cap="none" spc="0" normalizeH="0" baseline="0" noProof="0" dirty="0">
                    <a:ln>
                      <a:noFill/>
                    </a:ln>
                    <a:solidFill>
                      <a:srgbClr val="646464"/>
                    </a:solidFill>
                    <a:effectLst/>
                    <a:uLnTx/>
                    <a:uFillTx/>
                    <a:latin typeface="EYInterstate Regular" pitchFamily="2" charset="0"/>
                    <a:ea typeface="+mn-ea"/>
                    <a:cs typeface="+mn-cs"/>
                  </a:rPr>
                  <a:t>3</a:t>
                </a:r>
                <a:endParaRPr kumimoji="0" lang="en-US" sz="1200" b="1" i="0" u="none" strike="noStrike" kern="0" cap="none" spc="0" normalizeH="0" baseline="0" noProof="0" dirty="0">
                  <a:ln>
                    <a:noFill/>
                  </a:ln>
                  <a:solidFill>
                    <a:srgbClr val="646464"/>
                  </a:solidFill>
                  <a:effectLst/>
                  <a:uLnTx/>
                  <a:uFillTx/>
                  <a:latin typeface="EYInterstate Light"/>
                  <a:ea typeface="+mn-ea"/>
                  <a:cs typeface="+mn-cs"/>
                </a:endParaRPr>
              </a:p>
            </p:txBody>
          </p:sp>
        </p:grpSp>
        <p:grpSp>
          <p:nvGrpSpPr>
            <p:cNvPr id="20" name="Group 19">
              <a:extLst>
                <a:ext uri="{FF2B5EF4-FFF2-40B4-BE49-F238E27FC236}">
                  <a16:creationId xmlns:a16="http://schemas.microsoft.com/office/drawing/2014/main" id="{476451A1-E63F-4981-8B81-6CD1E6947911}"/>
                </a:ext>
              </a:extLst>
            </p:cNvPr>
            <p:cNvGrpSpPr/>
            <p:nvPr/>
          </p:nvGrpSpPr>
          <p:grpSpPr>
            <a:xfrm>
              <a:off x="9424307" y="1873968"/>
              <a:ext cx="235136" cy="283264"/>
              <a:chOff x="3029643" y="1873516"/>
              <a:chExt cx="780633" cy="886621"/>
            </a:xfrm>
            <a:solidFill>
              <a:srgbClr val="000000">
                <a:lumMod val="50000"/>
                <a:lumOff val="50000"/>
              </a:srgbClr>
            </a:solidFill>
          </p:grpSpPr>
          <p:grpSp>
            <p:nvGrpSpPr>
              <p:cNvPr id="29" name="Group 28">
                <a:extLst>
                  <a:ext uri="{FF2B5EF4-FFF2-40B4-BE49-F238E27FC236}">
                    <a16:creationId xmlns:a16="http://schemas.microsoft.com/office/drawing/2014/main" id="{27371BA3-0795-477B-8C0E-459300ED23C9}"/>
                  </a:ext>
                </a:extLst>
              </p:cNvPr>
              <p:cNvGrpSpPr/>
              <p:nvPr/>
            </p:nvGrpSpPr>
            <p:grpSpPr>
              <a:xfrm>
                <a:off x="3029643" y="1873516"/>
                <a:ext cx="780633" cy="847723"/>
                <a:chOff x="4529346" y="1343025"/>
                <a:chExt cx="780633" cy="847723"/>
              </a:xfrm>
              <a:grpFill/>
            </p:grpSpPr>
            <p:grpSp>
              <p:nvGrpSpPr>
                <p:cNvPr id="31" name="Group 30">
                  <a:extLst>
                    <a:ext uri="{FF2B5EF4-FFF2-40B4-BE49-F238E27FC236}">
                      <a16:creationId xmlns:a16="http://schemas.microsoft.com/office/drawing/2014/main" id="{43232ED7-AE59-4585-ACC9-50E82BC796E7}"/>
                    </a:ext>
                  </a:extLst>
                </p:cNvPr>
                <p:cNvGrpSpPr/>
                <p:nvPr/>
              </p:nvGrpSpPr>
              <p:grpSpPr>
                <a:xfrm>
                  <a:off x="4529346" y="1343025"/>
                  <a:ext cx="780633" cy="847723"/>
                  <a:chOff x="4529346" y="1343025"/>
                  <a:chExt cx="780633" cy="847723"/>
                </a:xfrm>
                <a:grpFill/>
              </p:grpSpPr>
              <p:sp>
                <p:nvSpPr>
                  <p:cNvPr id="34" name="Trapezoid 11">
                    <a:extLst>
                      <a:ext uri="{FF2B5EF4-FFF2-40B4-BE49-F238E27FC236}">
                        <a16:creationId xmlns:a16="http://schemas.microsoft.com/office/drawing/2014/main" id="{BDDD12DC-D2DC-42B6-B1E6-0A686D940BE8}"/>
                      </a:ext>
                    </a:extLst>
                  </p:cNvPr>
                  <p:cNvSpPr/>
                  <p:nvPr/>
                </p:nvSpPr>
                <p:spPr>
                  <a:xfrm>
                    <a:off x="4651223" y="1364456"/>
                    <a:ext cx="524303" cy="826292"/>
                  </a:xfrm>
                  <a:custGeom>
                    <a:avLst/>
                    <a:gdLst>
                      <a:gd name="connsiteX0" fmla="*/ 4120 w 526619"/>
                      <a:gd name="connsiteY0" fmla="*/ 0 h 826294"/>
                      <a:gd name="connsiteX1" fmla="*/ 520851 w 526619"/>
                      <a:gd name="connsiteY1" fmla="*/ 9525 h 826294"/>
                      <a:gd name="connsiteX2" fmla="*/ 306539 w 526619"/>
                      <a:gd name="connsiteY2" fmla="*/ 490538 h 826294"/>
                      <a:gd name="connsiteX3" fmla="*/ 312493 w 526619"/>
                      <a:gd name="connsiteY3" fmla="*/ 492125 h 826294"/>
                      <a:gd name="connsiteX4" fmla="*/ 399407 w 526619"/>
                      <a:gd name="connsiteY4" fmla="*/ 826294 h 826294"/>
                      <a:gd name="connsiteX5" fmla="*/ 127953 w 526619"/>
                      <a:gd name="connsiteY5" fmla="*/ 826294 h 826294"/>
                      <a:gd name="connsiteX6" fmla="*/ 214203 w 526619"/>
                      <a:gd name="connsiteY6" fmla="*/ 494678 h 826294"/>
                      <a:gd name="connsiteX7" fmla="*/ 4120 w 526619"/>
                      <a:gd name="connsiteY7" fmla="*/ 0 h 826294"/>
                      <a:gd name="connsiteX0" fmla="*/ 4120 w 526619"/>
                      <a:gd name="connsiteY0" fmla="*/ 0 h 826294"/>
                      <a:gd name="connsiteX1" fmla="*/ 520851 w 526619"/>
                      <a:gd name="connsiteY1" fmla="*/ 9525 h 826294"/>
                      <a:gd name="connsiteX2" fmla="*/ 306539 w 526619"/>
                      <a:gd name="connsiteY2" fmla="*/ 490538 h 826294"/>
                      <a:gd name="connsiteX3" fmla="*/ 312493 w 526619"/>
                      <a:gd name="connsiteY3" fmla="*/ 492125 h 826294"/>
                      <a:gd name="connsiteX4" fmla="*/ 399407 w 526619"/>
                      <a:gd name="connsiteY4" fmla="*/ 826294 h 826294"/>
                      <a:gd name="connsiteX5" fmla="*/ 127953 w 526619"/>
                      <a:gd name="connsiteY5" fmla="*/ 826294 h 826294"/>
                      <a:gd name="connsiteX6" fmla="*/ 214203 w 526619"/>
                      <a:gd name="connsiteY6" fmla="*/ 494678 h 826294"/>
                      <a:gd name="connsiteX7" fmla="*/ 4120 w 526619"/>
                      <a:gd name="connsiteY7" fmla="*/ 0 h 826294"/>
                      <a:gd name="connsiteX0" fmla="*/ 4120 w 526619"/>
                      <a:gd name="connsiteY0" fmla="*/ 0 h 826294"/>
                      <a:gd name="connsiteX1" fmla="*/ 520851 w 526619"/>
                      <a:gd name="connsiteY1" fmla="*/ 9525 h 826294"/>
                      <a:gd name="connsiteX2" fmla="*/ 306539 w 526619"/>
                      <a:gd name="connsiteY2" fmla="*/ 490538 h 826294"/>
                      <a:gd name="connsiteX3" fmla="*/ 312493 w 526619"/>
                      <a:gd name="connsiteY3" fmla="*/ 492125 h 826294"/>
                      <a:gd name="connsiteX4" fmla="*/ 399407 w 526619"/>
                      <a:gd name="connsiteY4" fmla="*/ 826294 h 826294"/>
                      <a:gd name="connsiteX5" fmla="*/ 127953 w 526619"/>
                      <a:gd name="connsiteY5" fmla="*/ 826294 h 826294"/>
                      <a:gd name="connsiteX6" fmla="*/ 214203 w 526619"/>
                      <a:gd name="connsiteY6" fmla="*/ 494678 h 826294"/>
                      <a:gd name="connsiteX7" fmla="*/ 4120 w 526619"/>
                      <a:gd name="connsiteY7" fmla="*/ 0 h 826294"/>
                      <a:gd name="connsiteX0" fmla="*/ 4120 w 526619"/>
                      <a:gd name="connsiteY0" fmla="*/ 0 h 826294"/>
                      <a:gd name="connsiteX1" fmla="*/ 520851 w 526619"/>
                      <a:gd name="connsiteY1" fmla="*/ 9525 h 826294"/>
                      <a:gd name="connsiteX2" fmla="*/ 306539 w 526619"/>
                      <a:gd name="connsiteY2" fmla="*/ 490538 h 826294"/>
                      <a:gd name="connsiteX3" fmla="*/ 312493 w 526619"/>
                      <a:gd name="connsiteY3" fmla="*/ 492125 h 826294"/>
                      <a:gd name="connsiteX4" fmla="*/ 399407 w 526619"/>
                      <a:gd name="connsiteY4" fmla="*/ 826294 h 826294"/>
                      <a:gd name="connsiteX5" fmla="*/ 127953 w 526619"/>
                      <a:gd name="connsiteY5" fmla="*/ 826294 h 826294"/>
                      <a:gd name="connsiteX6" fmla="*/ 214203 w 526619"/>
                      <a:gd name="connsiteY6" fmla="*/ 494678 h 826294"/>
                      <a:gd name="connsiteX7" fmla="*/ 4120 w 526619"/>
                      <a:gd name="connsiteY7" fmla="*/ 0 h 826294"/>
                      <a:gd name="connsiteX0" fmla="*/ 4120 w 526619"/>
                      <a:gd name="connsiteY0" fmla="*/ 0 h 826294"/>
                      <a:gd name="connsiteX1" fmla="*/ 520851 w 526619"/>
                      <a:gd name="connsiteY1" fmla="*/ 9525 h 826294"/>
                      <a:gd name="connsiteX2" fmla="*/ 306539 w 526619"/>
                      <a:gd name="connsiteY2" fmla="*/ 490538 h 826294"/>
                      <a:gd name="connsiteX3" fmla="*/ 399407 w 526619"/>
                      <a:gd name="connsiteY3" fmla="*/ 826294 h 826294"/>
                      <a:gd name="connsiteX4" fmla="*/ 127953 w 526619"/>
                      <a:gd name="connsiteY4" fmla="*/ 826294 h 826294"/>
                      <a:gd name="connsiteX5" fmla="*/ 214203 w 526619"/>
                      <a:gd name="connsiteY5" fmla="*/ 494678 h 826294"/>
                      <a:gd name="connsiteX6" fmla="*/ 4120 w 526619"/>
                      <a:gd name="connsiteY6" fmla="*/ 0 h 826294"/>
                      <a:gd name="connsiteX0" fmla="*/ 4120 w 526619"/>
                      <a:gd name="connsiteY0" fmla="*/ 0 h 826294"/>
                      <a:gd name="connsiteX1" fmla="*/ 520851 w 526619"/>
                      <a:gd name="connsiteY1" fmla="*/ 9525 h 826294"/>
                      <a:gd name="connsiteX2" fmla="*/ 306539 w 526619"/>
                      <a:gd name="connsiteY2" fmla="*/ 490538 h 826294"/>
                      <a:gd name="connsiteX3" fmla="*/ 399407 w 526619"/>
                      <a:gd name="connsiteY3" fmla="*/ 826294 h 826294"/>
                      <a:gd name="connsiteX4" fmla="*/ 127953 w 526619"/>
                      <a:gd name="connsiteY4" fmla="*/ 826294 h 826294"/>
                      <a:gd name="connsiteX5" fmla="*/ 214203 w 526619"/>
                      <a:gd name="connsiteY5" fmla="*/ 494678 h 826294"/>
                      <a:gd name="connsiteX6" fmla="*/ 4120 w 526619"/>
                      <a:gd name="connsiteY6" fmla="*/ 0 h 826294"/>
                      <a:gd name="connsiteX0" fmla="*/ 4120 w 526619"/>
                      <a:gd name="connsiteY0" fmla="*/ 0 h 826294"/>
                      <a:gd name="connsiteX1" fmla="*/ 520851 w 526619"/>
                      <a:gd name="connsiteY1" fmla="*/ 9525 h 826294"/>
                      <a:gd name="connsiteX2" fmla="*/ 306539 w 526619"/>
                      <a:gd name="connsiteY2" fmla="*/ 490538 h 826294"/>
                      <a:gd name="connsiteX3" fmla="*/ 399407 w 526619"/>
                      <a:gd name="connsiteY3" fmla="*/ 826294 h 826294"/>
                      <a:gd name="connsiteX4" fmla="*/ 127953 w 526619"/>
                      <a:gd name="connsiteY4" fmla="*/ 826294 h 826294"/>
                      <a:gd name="connsiteX5" fmla="*/ 214203 w 526619"/>
                      <a:gd name="connsiteY5" fmla="*/ 494678 h 826294"/>
                      <a:gd name="connsiteX6" fmla="*/ 4120 w 526619"/>
                      <a:gd name="connsiteY6" fmla="*/ 0 h 826294"/>
                      <a:gd name="connsiteX0" fmla="*/ 4120 w 526619"/>
                      <a:gd name="connsiteY0" fmla="*/ 0 h 826294"/>
                      <a:gd name="connsiteX1" fmla="*/ 520851 w 526619"/>
                      <a:gd name="connsiteY1" fmla="*/ 9525 h 826294"/>
                      <a:gd name="connsiteX2" fmla="*/ 306539 w 526619"/>
                      <a:gd name="connsiteY2" fmla="*/ 490538 h 826294"/>
                      <a:gd name="connsiteX3" fmla="*/ 399407 w 526619"/>
                      <a:gd name="connsiteY3" fmla="*/ 826294 h 826294"/>
                      <a:gd name="connsiteX4" fmla="*/ 127953 w 526619"/>
                      <a:gd name="connsiteY4" fmla="*/ 826294 h 826294"/>
                      <a:gd name="connsiteX5" fmla="*/ 214203 w 526619"/>
                      <a:gd name="connsiteY5" fmla="*/ 494678 h 826294"/>
                      <a:gd name="connsiteX6" fmla="*/ 4120 w 526619"/>
                      <a:gd name="connsiteY6" fmla="*/ 0 h 826294"/>
                      <a:gd name="connsiteX0" fmla="*/ 4120 w 524302"/>
                      <a:gd name="connsiteY0" fmla="*/ 0 h 826294"/>
                      <a:gd name="connsiteX1" fmla="*/ 518470 w 524302"/>
                      <a:gd name="connsiteY1" fmla="*/ 2381 h 826294"/>
                      <a:gd name="connsiteX2" fmla="*/ 306539 w 524302"/>
                      <a:gd name="connsiteY2" fmla="*/ 490538 h 826294"/>
                      <a:gd name="connsiteX3" fmla="*/ 399407 w 524302"/>
                      <a:gd name="connsiteY3" fmla="*/ 826294 h 826294"/>
                      <a:gd name="connsiteX4" fmla="*/ 127953 w 524302"/>
                      <a:gd name="connsiteY4" fmla="*/ 826294 h 826294"/>
                      <a:gd name="connsiteX5" fmla="*/ 214203 w 524302"/>
                      <a:gd name="connsiteY5" fmla="*/ 494678 h 826294"/>
                      <a:gd name="connsiteX6" fmla="*/ 4120 w 524302"/>
                      <a:gd name="connsiteY6" fmla="*/ 0 h 826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24302" h="826294">
                        <a:moveTo>
                          <a:pt x="4120" y="0"/>
                        </a:moveTo>
                        <a:lnTo>
                          <a:pt x="518470" y="2381"/>
                        </a:lnTo>
                        <a:cubicBezTo>
                          <a:pt x="558952" y="207963"/>
                          <a:pt x="377976" y="330200"/>
                          <a:pt x="306539" y="490538"/>
                        </a:cubicBezTo>
                        <a:cubicBezTo>
                          <a:pt x="297014" y="685801"/>
                          <a:pt x="392263" y="661987"/>
                          <a:pt x="399407" y="826294"/>
                        </a:cubicBezTo>
                        <a:lnTo>
                          <a:pt x="127953" y="826294"/>
                        </a:lnTo>
                        <a:cubicBezTo>
                          <a:pt x="132890" y="710992"/>
                          <a:pt x="244984" y="624267"/>
                          <a:pt x="214203" y="494678"/>
                        </a:cubicBezTo>
                        <a:cubicBezTo>
                          <a:pt x="203723" y="375560"/>
                          <a:pt x="-33924" y="217400"/>
                          <a:pt x="4120" y="0"/>
                        </a:cubicBezTo>
                        <a:close/>
                      </a:path>
                    </a:pathLst>
                  </a:custGeom>
                  <a:grpFill/>
                  <a:ln>
                    <a:noFill/>
                  </a:ln>
                </p:spPr>
                <p:txBody>
                  <a:bodyPr wrap="square" rtlCol="0" anchor="ctr">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428" b="0" i="0" u="none" strike="noStrike" kern="0" cap="none" spc="0" normalizeH="0" baseline="0" noProof="0" dirty="0">
                      <a:ln>
                        <a:noFill/>
                      </a:ln>
                      <a:solidFill>
                        <a:srgbClr val="808080"/>
                      </a:solidFill>
                      <a:effectLst/>
                      <a:uLnTx/>
                      <a:uFillTx/>
                      <a:latin typeface="EYInterstate Light"/>
                      <a:ea typeface="+mn-ea"/>
                      <a:cs typeface="+mn-cs"/>
                    </a:endParaRPr>
                  </a:p>
                </p:txBody>
              </p:sp>
              <p:sp>
                <p:nvSpPr>
                  <p:cNvPr id="35" name="Freeform 176">
                    <a:extLst>
                      <a:ext uri="{FF2B5EF4-FFF2-40B4-BE49-F238E27FC236}">
                        <a16:creationId xmlns:a16="http://schemas.microsoft.com/office/drawing/2014/main" id="{0E5BBB5C-5A6A-43DC-8ED6-440A5CFB2166}"/>
                      </a:ext>
                    </a:extLst>
                  </p:cNvPr>
                  <p:cNvSpPr/>
                  <p:nvPr/>
                </p:nvSpPr>
                <p:spPr>
                  <a:xfrm>
                    <a:off x="4529346" y="1343025"/>
                    <a:ext cx="223627" cy="295275"/>
                  </a:xfrm>
                  <a:custGeom>
                    <a:avLst/>
                    <a:gdLst>
                      <a:gd name="connsiteX0" fmla="*/ 111919 w 188119"/>
                      <a:gd name="connsiteY0" fmla="*/ 47625 h 295275"/>
                      <a:gd name="connsiteX1" fmla="*/ 14288 w 188119"/>
                      <a:gd name="connsiteY1" fmla="*/ 0 h 295275"/>
                      <a:gd name="connsiteX2" fmla="*/ 0 w 188119"/>
                      <a:gd name="connsiteY2" fmla="*/ 188119 h 295275"/>
                      <a:gd name="connsiteX3" fmla="*/ 135732 w 188119"/>
                      <a:gd name="connsiteY3" fmla="*/ 288131 h 295275"/>
                      <a:gd name="connsiteX4" fmla="*/ 176213 w 188119"/>
                      <a:gd name="connsiteY4" fmla="*/ 295275 h 295275"/>
                      <a:gd name="connsiteX5" fmla="*/ 188119 w 188119"/>
                      <a:gd name="connsiteY5" fmla="*/ 290513 h 295275"/>
                      <a:gd name="connsiteX6" fmla="*/ 171450 w 188119"/>
                      <a:gd name="connsiteY6" fmla="*/ 250031 h 295275"/>
                      <a:gd name="connsiteX7" fmla="*/ 135732 w 188119"/>
                      <a:gd name="connsiteY7" fmla="*/ 238125 h 295275"/>
                      <a:gd name="connsiteX8" fmla="*/ 4763 w 188119"/>
                      <a:gd name="connsiteY8" fmla="*/ 130969 h 295275"/>
                      <a:gd name="connsiteX9" fmla="*/ 26194 w 188119"/>
                      <a:gd name="connsiteY9" fmla="*/ 40481 h 295275"/>
                      <a:gd name="connsiteX10" fmla="*/ 111919 w 188119"/>
                      <a:gd name="connsiteY10" fmla="*/ 47625 h 295275"/>
                      <a:gd name="connsiteX0" fmla="*/ 142803 w 219003"/>
                      <a:gd name="connsiteY0" fmla="*/ 47625 h 295275"/>
                      <a:gd name="connsiteX1" fmla="*/ 45172 w 219003"/>
                      <a:gd name="connsiteY1" fmla="*/ 0 h 295275"/>
                      <a:gd name="connsiteX2" fmla="*/ 30884 w 219003"/>
                      <a:gd name="connsiteY2" fmla="*/ 188119 h 295275"/>
                      <a:gd name="connsiteX3" fmla="*/ 166616 w 219003"/>
                      <a:gd name="connsiteY3" fmla="*/ 288131 h 295275"/>
                      <a:gd name="connsiteX4" fmla="*/ 207097 w 219003"/>
                      <a:gd name="connsiteY4" fmla="*/ 295275 h 295275"/>
                      <a:gd name="connsiteX5" fmla="*/ 219003 w 219003"/>
                      <a:gd name="connsiteY5" fmla="*/ 290513 h 295275"/>
                      <a:gd name="connsiteX6" fmla="*/ 202334 w 219003"/>
                      <a:gd name="connsiteY6" fmla="*/ 250031 h 295275"/>
                      <a:gd name="connsiteX7" fmla="*/ 166616 w 219003"/>
                      <a:gd name="connsiteY7" fmla="*/ 238125 h 295275"/>
                      <a:gd name="connsiteX8" fmla="*/ 35647 w 219003"/>
                      <a:gd name="connsiteY8" fmla="*/ 130969 h 295275"/>
                      <a:gd name="connsiteX9" fmla="*/ 57078 w 219003"/>
                      <a:gd name="connsiteY9" fmla="*/ 40481 h 295275"/>
                      <a:gd name="connsiteX10" fmla="*/ 142803 w 219003"/>
                      <a:gd name="connsiteY10" fmla="*/ 47625 h 295275"/>
                      <a:gd name="connsiteX0" fmla="*/ 107156 w 183356"/>
                      <a:gd name="connsiteY0" fmla="*/ 47625 h 295275"/>
                      <a:gd name="connsiteX1" fmla="*/ 9525 w 183356"/>
                      <a:gd name="connsiteY1" fmla="*/ 0 h 295275"/>
                      <a:gd name="connsiteX2" fmla="*/ 130969 w 183356"/>
                      <a:gd name="connsiteY2" fmla="*/ 288131 h 295275"/>
                      <a:gd name="connsiteX3" fmla="*/ 171450 w 183356"/>
                      <a:gd name="connsiteY3" fmla="*/ 295275 h 295275"/>
                      <a:gd name="connsiteX4" fmla="*/ 183356 w 183356"/>
                      <a:gd name="connsiteY4" fmla="*/ 290513 h 295275"/>
                      <a:gd name="connsiteX5" fmla="*/ 166687 w 183356"/>
                      <a:gd name="connsiteY5" fmla="*/ 250031 h 295275"/>
                      <a:gd name="connsiteX6" fmla="*/ 130969 w 183356"/>
                      <a:gd name="connsiteY6" fmla="*/ 238125 h 295275"/>
                      <a:gd name="connsiteX7" fmla="*/ 0 w 183356"/>
                      <a:gd name="connsiteY7" fmla="*/ 130969 h 295275"/>
                      <a:gd name="connsiteX8" fmla="*/ 21431 w 183356"/>
                      <a:gd name="connsiteY8" fmla="*/ 40481 h 295275"/>
                      <a:gd name="connsiteX9" fmla="*/ 107156 w 183356"/>
                      <a:gd name="connsiteY9" fmla="*/ 47625 h 295275"/>
                      <a:gd name="connsiteX0" fmla="*/ 147427 w 223627"/>
                      <a:gd name="connsiteY0" fmla="*/ 47625 h 295275"/>
                      <a:gd name="connsiteX1" fmla="*/ 49796 w 223627"/>
                      <a:gd name="connsiteY1" fmla="*/ 0 h 295275"/>
                      <a:gd name="connsiteX2" fmla="*/ 171240 w 223627"/>
                      <a:gd name="connsiteY2" fmla="*/ 288131 h 295275"/>
                      <a:gd name="connsiteX3" fmla="*/ 211721 w 223627"/>
                      <a:gd name="connsiteY3" fmla="*/ 295275 h 295275"/>
                      <a:gd name="connsiteX4" fmla="*/ 223627 w 223627"/>
                      <a:gd name="connsiteY4" fmla="*/ 290513 h 295275"/>
                      <a:gd name="connsiteX5" fmla="*/ 206958 w 223627"/>
                      <a:gd name="connsiteY5" fmla="*/ 250031 h 295275"/>
                      <a:gd name="connsiteX6" fmla="*/ 171240 w 223627"/>
                      <a:gd name="connsiteY6" fmla="*/ 238125 h 295275"/>
                      <a:gd name="connsiteX7" fmla="*/ 40271 w 223627"/>
                      <a:gd name="connsiteY7" fmla="*/ 130969 h 295275"/>
                      <a:gd name="connsiteX8" fmla="*/ 61702 w 223627"/>
                      <a:gd name="connsiteY8" fmla="*/ 40481 h 295275"/>
                      <a:gd name="connsiteX9" fmla="*/ 147427 w 223627"/>
                      <a:gd name="connsiteY9" fmla="*/ 47625 h 295275"/>
                      <a:gd name="connsiteX0" fmla="*/ 147427 w 223627"/>
                      <a:gd name="connsiteY0" fmla="*/ 47625 h 295275"/>
                      <a:gd name="connsiteX1" fmla="*/ 49796 w 223627"/>
                      <a:gd name="connsiteY1" fmla="*/ 0 h 295275"/>
                      <a:gd name="connsiteX2" fmla="*/ 171240 w 223627"/>
                      <a:gd name="connsiteY2" fmla="*/ 288131 h 295275"/>
                      <a:gd name="connsiteX3" fmla="*/ 211721 w 223627"/>
                      <a:gd name="connsiteY3" fmla="*/ 295275 h 295275"/>
                      <a:gd name="connsiteX4" fmla="*/ 223627 w 223627"/>
                      <a:gd name="connsiteY4" fmla="*/ 290513 h 295275"/>
                      <a:gd name="connsiteX5" fmla="*/ 206958 w 223627"/>
                      <a:gd name="connsiteY5" fmla="*/ 250031 h 295275"/>
                      <a:gd name="connsiteX6" fmla="*/ 171240 w 223627"/>
                      <a:gd name="connsiteY6" fmla="*/ 238125 h 295275"/>
                      <a:gd name="connsiteX7" fmla="*/ 40271 w 223627"/>
                      <a:gd name="connsiteY7" fmla="*/ 130969 h 295275"/>
                      <a:gd name="connsiteX8" fmla="*/ 61702 w 223627"/>
                      <a:gd name="connsiteY8" fmla="*/ 40481 h 295275"/>
                      <a:gd name="connsiteX9" fmla="*/ 147427 w 223627"/>
                      <a:gd name="connsiteY9" fmla="*/ 47625 h 295275"/>
                      <a:gd name="connsiteX0" fmla="*/ 147427 w 223627"/>
                      <a:gd name="connsiteY0" fmla="*/ 47625 h 295275"/>
                      <a:gd name="connsiteX1" fmla="*/ 49796 w 223627"/>
                      <a:gd name="connsiteY1" fmla="*/ 0 h 295275"/>
                      <a:gd name="connsiteX2" fmla="*/ 171240 w 223627"/>
                      <a:gd name="connsiteY2" fmla="*/ 288131 h 295275"/>
                      <a:gd name="connsiteX3" fmla="*/ 211721 w 223627"/>
                      <a:gd name="connsiteY3" fmla="*/ 295275 h 295275"/>
                      <a:gd name="connsiteX4" fmla="*/ 223627 w 223627"/>
                      <a:gd name="connsiteY4" fmla="*/ 290513 h 295275"/>
                      <a:gd name="connsiteX5" fmla="*/ 206958 w 223627"/>
                      <a:gd name="connsiteY5" fmla="*/ 250031 h 295275"/>
                      <a:gd name="connsiteX6" fmla="*/ 171240 w 223627"/>
                      <a:gd name="connsiteY6" fmla="*/ 238125 h 295275"/>
                      <a:gd name="connsiteX7" fmla="*/ 61702 w 223627"/>
                      <a:gd name="connsiteY7" fmla="*/ 40481 h 295275"/>
                      <a:gd name="connsiteX8" fmla="*/ 147427 w 223627"/>
                      <a:gd name="connsiteY8" fmla="*/ 47625 h 295275"/>
                      <a:gd name="connsiteX0" fmla="*/ 147427 w 223627"/>
                      <a:gd name="connsiteY0" fmla="*/ 47625 h 295275"/>
                      <a:gd name="connsiteX1" fmla="*/ 49796 w 223627"/>
                      <a:gd name="connsiteY1" fmla="*/ 0 h 295275"/>
                      <a:gd name="connsiteX2" fmla="*/ 171240 w 223627"/>
                      <a:gd name="connsiteY2" fmla="*/ 288131 h 295275"/>
                      <a:gd name="connsiteX3" fmla="*/ 211721 w 223627"/>
                      <a:gd name="connsiteY3" fmla="*/ 295275 h 295275"/>
                      <a:gd name="connsiteX4" fmla="*/ 223627 w 223627"/>
                      <a:gd name="connsiteY4" fmla="*/ 290513 h 295275"/>
                      <a:gd name="connsiteX5" fmla="*/ 206958 w 223627"/>
                      <a:gd name="connsiteY5" fmla="*/ 250031 h 295275"/>
                      <a:gd name="connsiteX6" fmla="*/ 171240 w 223627"/>
                      <a:gd name="connsiteY6" fmla="*/ 238125 h 295275"/>
                      <a:gd name="connsiteX7" fmla="*/ 61702 w 223627"/>
                      <a:gd name="connsiteY7" fmla="*/ 40481 h 295275"/>
                      <a:gd name="connsiteX8" fmla="*/ 147427 w 223627"/>
                      <a:gd name="connsiteY8" fmla="*/ 47625 h 295275"/>
                      <a:gd name="connsiteX0" fmla="*/ 147427 w 223627"/>
                      <a:gd name="connsiteY0" fmla="*/ 47625 h 295275"/>
                      <a:gd name="connsiteX1" fmla="*/ 49796 w 223627"/>
                      <a:gd name="connsiteY1" fmla="*/ 0 h 295275"/>
                      <a:gd name="connsiteX2" fmla="*/ 171240 w 223627"/>
                      <a:gd name="connsiteY2" fmla="*/ 288131 h 295275"/>
                      <a:gd name="connsiteX3" fmla="*/ 211721 w 223627"/>
                      <a:gd name="connsiteY3" fmla="*/ 295275 h 295275"/>
                      <a:gd name="connsiteX4" fmla="*/ 223627 w 223627"/>
                      <a:gd name="connsiteY4" fmla="*/ 290513 h 295275"/>
                      <a:gd name="connsiteX5" fmla="*/ 206958 w 223627"/>
                      <a:gd name="connsiteY5" fmla="*/ 250031 h 295275"/>
                      <a:gd name="connsiteX6" fmla="*/ 171240 w 223627"/>
                      <a:gd name="connsiteY6" fmla="*/ 238125 h 295275"/>
                      <a:gd name="connsiteX7" fmla="*/ 61702 w 223627"/>
                      <a:gd name="connsiteY7" fmla="*/ 40481 h 295275"/>
                      <a:gd name="connsiteX8" fmla="*/ 147427 w 223627"/>
                      <a:gd name="connsiteY8" fmla="*/ 47625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3627" h="295275">
                        <a:moveTo>
                          <a:pt x="147427" y="47625"/>
                        </a:moveTo>
                        <a:lnTo>
                          <a:pt x="49796" y="0"/>
                        </a:lnTo>
                        <a:cubicBezTo>
                          <a:pt x="53765" y="40084"/>
                          <a:pt x="-124828" y="103188"/>
                          <a:pt x="171240" y="288131"/>
                        </a:cubicBezTo>
                        <a:lnTo>
                          <a:pt x="211721" y="295275"/>
                        </a:lnTo>
                        <a:lnTo>
                          <a:pt x="223627" y="290513"/>
                        </a:lnTo>
                        <a:lnTo>
                          <a:pt x="206958" y="250031"/>
                        </a:lnTo>
                        <a:lnTo>
                          <a:pt x="171240" y="238125"/>
                        </a:lnTo>
                        <a:cubicBezTo>
                          <a:pt x="141871" y="210344"/>
                          <a:pt x="-23229" y="170656"/>
                          <a:pt x="61702" y="40481"/>
                        </a:cubicBezTo>
                        <a:cubicBezTo>
                          <a:pt x="206958" y="109537"/>
                          <a:pt x="118852" y="45244"/>
                          <a:pt x="147427" y="47625"/>
                        </a:cubicBezTo>
                        <a:close/>
                      </a:path>
                    </a:pathLst>
                  </a:custGeom>
                  <a:grpFill/>
                  <a:ln>
                    <a:noFill/>
                  </a:ln>
                </p:spPr>
                <p:txBody>
                  <a:bodyPr wrap="square" rtlCol="0" anchor="ctr">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428" b="0" i="0" u="none" strike="noStrike" kern="0" cap="none" spc="0" normalizeH="0" baseline="0" noProof="0" dirty="0">
                      <a:ln>
                        <a:noFill/>
                      </a:ln>
                      <a:solidFill>
                        <a:srgbClr val="808080"/>
                      </a:solidFill>
                      <a:effectLst/>
                      <a:uLnTx/>
                      <a:uFillTx/>
                      <a:latin typeface="EYInterstate Light"/>
                      <a:ea typeface="+mn-ea"/>
                      <a:cs typeface="+mn-cs"/>
                    </a:endParaRPr>
                  </a:p>
                </p:txBody>
              </p:sp>
              <p:sp>
                <p:nvSpPr>
                  <p:cNvPr id="36" name="Freeform 177">
                    <a:extLst>
                      <a:ext uri="{FF2B5EF4-FFF2-40B4-BE49-F238E27FC236}">
                        <a16:creationId xmlns:a16="http://schemas.microsoft.com/office/drawing/2014/main" id="{A092A027-CEC2-4F87-B69A-DBFCF8B8D470}"/>
                      </a:ext>
                    </a:extLst>
                  </p:cNvPr>
                  <p:cNvSpPr/>
                  <p:nvPr/>
                </p:nvSpPr>
                <p:spPr>
                  <a:xfrm flipH="1">
                    <a:off x="5086352" y="1343025"/>
                    <a:ext cx="223627" cy="295275"/>
                  </a:xfrm>
                  <a:custGeom>
                    <a:avLst/>
                    <a:gdLst>
                      <a:gd name="connsiteX0" fmla="*/ 111919 w 188119"/>
                      <a:gd name="connsiteY0" fmla="*/ 47625 h 295275"/>
                      <a:gd name="connsiteX1" fmla="*/ 14288 w 188119"/>
                      <a:gd name="connsiteY1" fmla="*/ 0 h 295275"/>
                      <a:gd name="connsiteX2" fmla="*/ 0 w 188119"/>
                      <a:gd name="connsiteY2" fmla="*/ 188119 h 295275"/>
                      <a:gd name="connsiteX3" fmla="*/ 135732 w 188119"/>
                      <a:gd name="connsiteY3" fmla="*/ 288131 h 295275"/>
                      <a:gd name="connsiteX4" fmla="*/ 176213 w 188119"/>
                      <a:gd name="connsiteY4" fmla="*/ 295275 h 295275"/>
                      <a:gd name="connsiteX5" fmla="*/ 188119 w 188119"/>
                      <a:gd name="connsiteY5" fmla="*/ 290513 h 295275"/>
                      <a:gd name="connsiteX6" fmla="*/ 171450 w 188119"/>
                      <a:gd name="connsiteY6" fmla="*/ 250031 h 295275"/>
                      <a:gd name="connsiteX7" fmla="*/ 135732 w 188119"/>
                      <a:gd name="connsiteY7" fmla="*/ 238125 h 295275"/>
                      <a:gd name="connsiteX8" fmla="*/ 4763 w 188119"/>
                      <a:gd name="connsiteY8" fmla="*/ 130969 h 295275"/>
                      <a:gd name="connsiteX9" fmla="*/ 26194 w 188119"/>
                      <a:gd name="connsiteY9" fmla="*/ 40481 h 295275"/>
                      <a:gd name="connsiteX10" fmla="*/ 111919 w 188119"/>
                      <a:gd name="connsiteY10" fmla="*/ 47625 h 295275"/>
                      <a:gd name="connsiteX0" fmla="*/ 142803 w 219003"/>
                      <a:gd name="connsiteY0" fmla="*/ 47625 h 295275"/>
                      <a:gd name="connsiteX1" fmla="*/ 45172 w 219003"/>
                      <a:gd name="connsiteY1" fmla="*/ 0 h 295275"/>
                      <a:gd name="connsiteX2" fmla="*/ 30884 w 219003"/>
                      <a:gd name="connsiteY2" fmla="*/ 188119 h 295275"/>
                      <a:gd name="connsiteX3" fmla="*/ 166616 w 219003"/>
                      <a:gd name="connsiteY3" fmla="*/ 288131 h 295275"/>
                      <a:gd name="connsiteX4" fmla="*/ 207097 w 219003"/>
                      <a:gd name="connsiteY4" fmla="*/ 295275 h 295275"/>
                      <a:gd name="connsiteX5" fmla="*/ 219003 w 219003"/>
                      <a:gd name="connsiteY5" fmla="*/ 290513 h 295275"/>
                      <a:gd name="connsiteX6" fmla="*/ 202334 w 219003"/>
                      <a:gd name="connsiteY6" fmla="*/ 250031 h 295275"/>
                      <a:gd name="connsiteX7" fmla="*/ 166616 w 219003"/>
                      <a:gd name="connsiteY7" fmla="*/ 238125 h 295275"/>
                      <a:gd name="connsiteX8" fmla="*/ 35647 w 219003"/>
                      <a:gd name="connsiteY8" fmla="*/ 130969 h 295275"/>
                      <a:gd name="connsiteX9" fmla="*/ 57078 w 219003"/>
                      <a:gd name="connsiteY9" fmla="*/ 40481 h 295275"/>
                      <a:gd name="connsiteX10" fmla="*/ 142803 w 219003"/>
                      <a:gd name="connsiteY10" fmla="*/ 47625 h 295275"/>
                      <a:gd name="connsiteX0" fmla="*/ 107156 w 183356"/>
                      <a:gd name="connsiteY0" fmla="*/ 47625 h 295275"/>
                      <a:gd name="connsiteX1" fmla="*/ 9525 w 183356"/>
                      <a:gd name="connsiteY1" fmla="*/ 0 h 295275"/>
                      <a:gd name="connsiteX2" fmla="*/ 130969 w 183356"/>
                      <a:gd name="connsiteY2" fmla="*/ 288131 h 295275"/>
                      <a:gd name="connsiteX3" fmla="*/ 171450 w 183356"/>
                      <a:gd name="connsiteY3" fmla="*/ 295275 h 295275"/>
                      <a:gd name="connsiteX4" fmla="*/ 183356 w 183356"/>
                      <a:gd name="connsiteY4" fmla="*/ 290513 h 295275"/>
                      <a:gd name="connsiteX5" fmla="*/ 166687 w 183356"/>
                      <a:gd name="connsiteY5" fmla="*/ 250031 h 295275"/>
                      <a:gd name="connsiteX6" fmla="*/ 130969 w 183356"/>
                      <a:gd name="connsiteY6" fmla="*/ 238125 h 295275"/>
                      <a:gd name="connsiteX7" fmla="*/ 0 w 183356"/>
                      <a:gd name="connsiteY7" fmla="*/ 130969 h 295275"/>
                      <a:gd name="connsiteX8" fmla="*/ 21431 w 183356"/>
                      <a:gd name="connsiteY8" fmla="*/ 40481 h 295275"/>
                      <a:gd name="connsiteX9" fmla="*/ 107156 w 183356"/>
                      <a:gd name="connsiteY9" fmla="*/ 47625 h 295275"/>
                      <a:gd name="connsiteX0" fmla="*/ 147427 w 223627"/>
                      <a:gd name="connsiteY0" fmla="*/ 47625 h 295275"/>
                      <a:gd name="connsiteX1" fmla="*/ 49796 w 223627"/>
                      <a:gd name="connsiteY1" fmla="*/ 0 h 295275"/>
                      <a:gd name="connsiteX2" fmla="*/ 171240 w 223627"/>
                      <a:gd name="connsiteY2" fmla="*/ 288131 h 295275"/>
                      <a:gd name="connsiteX3" fmla="*/ 211721 w 223627"/>
                      <a:gd name="connsiteY3" fmla="*/ 295275 h 295275"/>
                      <a:gd name="connsiteX4" fmla="*/ 223627 w 223627"/>
                      <a:gd name="connsiteY4" fmla="*/ 290513 h 295275"/>
                      <a:gd name="connsiteX5" fmla="*/ 206958 w 223627"/>
                      <a:gd name="connsiteY5" fmla="*/ 250031 h 295275"/>
                      <a:gd name="connsiteX6" fmla="*/ 171240 w 223627"/>
                      <a:gd name="connsiteY6" fmla="*/ 238125 h 295275"/>
                      <a:gd name="connsiteX7" fmla="*/ 40271 w 223627"/>
                      <a:gd name="connsiteY7" fmla="*/ 130969 h 295275"/>
                      <a:gd name="connsiteX8" fmla="*/ 61702 w 223627"/>
                      <a:gd name="connsiteY8" fmla="*/ 40481 h 295275"/>
                      <a:gd name="connsiteX9" fmla="*/ 147427 w 223627"/>
                      <a:gd name="connsiteY9" fmla="*/ 47625 h 295275"/>
                      <a:gd name="connsiteX0" fmla="*/ 147427 w 223627"/>
                      <a:gd name="connsiteY0" fmla="*/ 47625 h 295275"/>
                      <a:gd name="connsiteX1" fmla="*/ 49796 w 223627"/>
                      <a:gd name="connsiteY1" fmla="*/ 0 h 295275"/>
                      <a:gd name="connsiteX2" fmla="*/ 171240 w 223627"/>
                      <a:gd name="connsiteY2" fmla="*/ 288131 h 295275"/>
                      <a:gd name="connsiteX3" fmla="*/ 211721 w 223627"/>
                      <a:gd name="connsiteY3" fmla="*/ 295275 h 295275"/>
                      <a:gd name="connsiteX4" fmla="*/ 223627 w 223627"/>
                      <a:gd name="connsiteY4" fmla="*/ 290513 h 295275"/>
                      <a:gd name="connsiteX5" fmla="*/ 206958 w 223627"/>
                      <a:gd name="connsiteY5" fmla="*/ 250031 h 295275"/>
                      <a:gd name="connsiteX6" fmla="*/ 171240 w 223627"/>
                      <a:gd name="connsiteY6" fmla="*/ 238125 h 295275"/>
                      <a:gd name="connsiteX7" fmla="*/ 40271 w 223627"/>
                      <a:gd name="connsiteY7" fmla="*/ 130969 h 295275"/>
                      <a:gd name="connsiteX8" fmla="*/ 61702 w 223627"/>
                      <a:gd name="connsiteY8" fmla="*/ 40481 h 295275"/>
                      <a:gd name="connsiteX9" fmla="*/ 147427 w 223627"/>
                      <a:gd name="connsiteY9" fmla="*/ 47625 h 295275"/>
                      <a:gd name="connsiteX0" fmla="*/ 147427 w 223627"/>
                      <a:gd name="connsiteY0" fmla="*/ 47625 h 295275"/>
                      <a:gd name="connsiteX1" fmla="*/ 49796 w 223627"/>
                      <a:gd name="connsiteY1" fmla="*/ 0 h 295275"/>
                      <a:gd name="connsiteX2" fmla="*/ 171240 w 223627"/>
                      <a:gd name="connsiteY2" fmla="*/ 288131 h 295275"/>
                      <a:gd name="connsiteX3" fmla="*/ 211721 w 223627"/>
                      <a:gd name="connsiteY3" fmla="*/ 295275 h 295275"/>
                      <a:gd name="connsiteX4" fmla="*/ 223627 w 223627"/>
                      <a:gd name="connsiteY4" fmla="*/ 290513 h 295275"/>
                      <a:gd name="connsiteX5" fmla="*/ 206958 w 223627"/>
                      <a:gd name="connsiteY5" fmla="*/ 250031 h 295275"/>
                      <a:gd name="connsiteX6" fmla="*/ 171240 w 223627"/>
                      <a:gd name="connsiteY6" fmla="*/ 238125 h 295275"/>
                      <a:gd name="connsiteX7" fmla="*/ 61702 w 223627"/>
                      <a:gd name="connsiteY7" fmla="*/ 40481 h 295275"/>
                      <a:gd name="connsiteX8" fmla="*/ 147427 w 223627"/>
                      <a:gd name="connsiteY8" fmla="*/ 47625 h 295275"/>
                      <a:gd name="connsiteX0" fmla="*/ 147427 w 223627"/>
                      <a:gd name="connsiteY0" fmla="*/ 47625 h 295275"/>
                      <a:gd name="connsiteX1" fmla="*/ 49796 w 223627"/>
                      <a:gd name="connsiteY1" fmla="*/ 0 h 295275"/>
                      <a:gd name="connsiteX2" fmla="*/ 171240 w 223627"/>
                      <a:gd name="connsiteY2" fmla="*/ 288131 h 295275"/>
                      <a:gd name="connsiteX3" fmla="*/ 211721 w 223627"/>
                      <a:gd name="connsiteY3" fmla="*/ 295275 h 295275"/>
                      <a:gd name="connsiteX4" fmla="*/ 223627 w 223627"/>
                      <a:gd name="connsiteY4" fmla="*/ 290513 h 295275"/>
                      <a:gd name="connsiteX5" fmla="*/ 206958 w 223627"/>
                      <a:gd name="connsiteY5" fmla="*/ 250031 h 295275"/>
                      <a:gd name="connsiteX6" fmla="*/ 171240 w 223627"/>
                      <a:gd name="connsiteY6" fmla="*/ 238125 h 295275"/>
                      <a:gd name="connsiteX7" fmla="*/ 61702 w 223627"/>
                      <a:gd name="connsiteY7" fmla="*/ 40481 h 295275"/>
                      <a:gd name="connsiteX8" fmla="*/ 147427 w 223627"/>
                      <a:gd name="connsiteY8" fmla="*/ 47625 h 295275"/>
                      <a:gd name="connsiteX0" fmla="*/ 147427 w 223627"/>
                      <a:gd name="connsiteY0" fmla="*/ 47625 h 295275"/>
                      <a:gd name="connsiteX1" fmla="*/ 49796 w 223627"/>
                      <a:gd name="connsiteY1" fmla="*/ 0 h 295275"/>
                      <a:gd name="connsiteX2" fmla="*/ 171240 w 223627"/>
                      <a:gd name="connsiteY2" fmla="*/ 288131 h 295275"/>
                      <a:gd name="connsiteX3" fmla="*/ 211721 w 223627"/>
                      <a:gd name="connsiteY3" fmla="*/ 295275 h 295275"/>
                      <a:gd name="connsiteX4" fmla="*/ 223627 w 223627"/>
                      <a:gd name="connsiteY4" fmla="*/ 290513 h 295275"/>
                      <a:gd name="connsiteX5" fmla="*/ 206958 w 223627"/>
                      <a:gd name="connsiteY5" fmla="*/ 250031 h 295275"/>
                      <a:gd name="connsiteX6" fmla="*/ 171240 w 223627"/>
                      <a:gd name="connsiteY6" fmla="*/ 238125 h 295275"/>
                      <a:gd name="connsiteX7" fmla="*/ 61702 w 223627"/>
                      <a:gd name="connsiteY7" fmla="*/ 40481 h 295275"/>
                      <a:gd name="connsiteX8" fmla="*/ 147427 w 223627"/>
                      <a:gd name="connsiteY8" fmla="*/ 47625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3627" h="295275">
                        <a:moveTo>
                          <a:pt x="147427" y="47625"/>
                        </a:moveTo>
                        <a:lnTo>
                          <a:pt x="49796" y="0"/>
                        </a:lnTo>
                        <a:cubicBezTo>
                          <a:pt x="53765" y="40084"/>
                          <a:pt x="-124828" y="103188"/>
                          <a:pt x="171240" y="288131"/>
                        </a:cubicBezTo>
                        <a:lnTo>
                          <a:pt x="211721" y="295275"/>
                        </a:lnTo>
                        <a:lnTo>
                          <a:pt x="223627" y="290513"/>
                        </a:lnTo>
                        <a:lnTo>
                          <a:pt x="206958" y="250031"/>
                        </a:lnTo>
                        <a:lnTo>
                          <a:pt x="171240" y="238125"/>
                        </a:lnTo>
                        <a:cubicBezTo>
                          <a:pt x="141871" y="210344"/>
                          <a:pt x="-23229" y="170656"/>
                          <a:pt x="61702" y="40481"/>
                        </a:cubicBezTo>
                        <a:cubicBezTo>
                          <a:pt x="206958" y="109537"/>
                          <a:pt x="118852" y="45244"/>
                          <a:pt x="147427" y="47625"/>
                        </a:cubicBezTo>
                        <a:close/>
                      </a:path>
                    </a:pathLst>
                  </a:custGeom>
                  <a:grpFill/>
                  <a:ln>
                    <a:noFill/>
                  </a:ln>
                </p:spPr>
                <p:txBody>
                  <a:bodyPr wrap="square" rtlCol="0" anchor="ctr">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428" b="0" i="0" u="none" strike="noStrike" kern="0" cap="none" spc="0" normalizeH="0" baseline="0" noProof="0" dirty="0">
                      <a:ln>
                        <a:noFill/>
                      </a:ln>
                      <a:solidFill>
                        <a:srgbClr val="808080"/>
                      </a:solidFill>
                      <a:effectLst/>
                      <a:uLnTx/>
                      <a:uFillTx/>
                      <a:latin typeface="EYInterstate Light"/>
                      <a:ea typeface="+mn-ea"/>
                      <a:cs typeface="+mn-cs"/>
                    </a:endParaRPr>
                  </a:p>
                </p:txBody>
              </p:sp>
            </p:grpSp>
            <p:sp>
              <p:nvSpPr>
                <p:cNvPr id="32" name="Oval 31">
                  <a:extLst>
                    <a:ext uri="{FF2B5EF4-FFF2-40B4-BE49-F238E27FC236}">
                      <a16:creationId xmlns:a16="http://schemas.microsoft.com/office/drawing/2014/main" id="{C645A1B6-EC6A-4758-A28D-D7D68DDBAB95}"/>
                    </a:ext>
                  </a:extLst>
                </p:cNvPr>
                <p:cNvSpPr/>
                <p:nvPr/>
              </p:nvSpPr>
              <p:spPr>
                <a:xfrm>
                  <a:off x="4667894" y="1593378"/>
                  <a:ext cx="61270" cy="61270"/>
                </a:xfrm>
                <a:prstGeom prst="ellipse">
                  <a:avLst/>
                </a:prstGeom>
                <a:grpFill/>
              </p:spPr>
              <p:txBody>
                <a:bodyPr wrap="square" rtlCol="0" anchor="ctr">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428" b="0" i="0" u="none" strike="noStrike" kern="0" cap="none" spc="0" normalizeH="0" baseline="0" noProof="0" dirty="0">
                    <a:ln>
                      <a:noFill/>
                    </a:ln>
                    <a:solidFill>
                      <a:srgbClr val="808080"/>
                    </a:solidFill>
                    <a:effectLst/>
                    <a:uLnTx/>
                    <a:uFillTx/>
                    <a:latin typeface="EYInterstate Light"/>
                    <a:ea typeface="+mn-ea"/>
                    <a:cs typeface="+mn-cs"/>
                  </a:endParaRPr>
                </a:p>
              </p:txBody>
            </p:sp>
            <p:sp>
              <p:nvSpPr>
                <p:cNvPr id="33" name="Oval 32">
                  <a:extLst>
                    <a:ext uri="{FF2B5EF4-FFF2-40B4-BE49-F238E27FC236}">
                      <a16:creationId xmlns:a16="http://schemas.microsoft.com/office/drawing/2014/main" id="{944A1021-A41F-47E4-90B1-9DF0423DA3E1}"/>
                    </a:ext>
                  </a:extLst>
                </p:cNvPr>
                <p:cNvSpPr/>
                <p:nvPr/>
              </p:nvSpPr>
              <p:spPr>
                <a:xfrm>
                  <a:off x="5103019" y="1593378"/>
                  <a:ext cx="61270" cy="61270"/>
                </a:xfrm>
                <a:prstGeom prst="ellipse">
                  <a:avLst/>
                </a:prstGeom>
                <a:grpFill/>
              </p:spPr>
              <p:txBody>
                <a:bodyPr wrap="square" rtlCol="0" anchor="ctr">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428" b="0" i="0" u="none" strike="noStrike" kern="0" cap="none" spc="0" normalizeH="0" baseline="0" noProof="0" dirty="0">
                    <a:ln>
                      <a:noFill/>
                    </a:ln>
                    <a:solidFill>
                      <a:srgbClr val="808080"/>
                    </a:solidFill>
                    <a:effectLst/>
                    <a:uLnTx/>
                    <a:uFillTx/>
                    <a:latin typeface="EYInterstate Light"/>
                    <a:ea typeface="+mn-ea"/>
                    <a:cs typeface="+mn-cs"/>
                  </a:endParaRPr>
                </a:p>
              </p:txBody>
            </p:sp>
          </p:grpSp>
          <p:sp>
            <p:nvSpPr>
              <p:cNvPr id="30" name="Rectangle 29">
                <a:extLst>
                  <a:ext uri="{FF2B5EF4-FFF2-40B4-BE49-F238E27FC236}">
                    <a16:creationId xmlns:a16="http://schemas.microsoft.com/office/drawing/2014/main" id="{95E7E46E-917F-4D0E-89D3-53E8009C0228}"/>
                  </a:ext>
                </a:extLst>
              </p:cNvPr>
              <p:cNvSpPr/>
              <p:nvPr/>
            </p:nvSpPr>
            <p:spPr>
              <a:xfrm>
                <a:off x="3260413" y="2714418"/>
                <a:ext cx="311461" cy="45719"/>
              </a:xfrm>
              <a:prstGeom prst="rect">
                <a:avLst/>
              </a:prstGeom>
              <a:grpFill/>
            </p:spPr>
            <p:txBody>
              <a:bodyPr wrap="square" rtlCol="0" anchor="ctr">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428" b="0" i="0" u="none" strike="noStrike" kern="0" cap="none" spc="0" normalizeH="0" baseline="0" noProof="0" dirty="0">
                  <a:ln>
                    <a:noFill/>
                  </a:ln>
                  <a:solidFill>
                    <a:srgbClr val="808080"/>
                  </a:solidFill>
                  <a:effectLst/>
                  <a:uLnTx/>
                  <a:uFillTx/>
                  <a:latin typeface="EYInterstate Light"/>
                  <a:ea typeface="+mn-ea"/>
                  <a:cs typeface="+mn-cs"/>
                </a:endParaRPr>
              </a:p>
            </p:txBody>
          </p:sp>
        </p:grpSp>
        <p:grpSp>
          <p:nvGrpSpPr>
            <p:cNvPr id="21" name="Group 20">
              <a:extLst>
                <a:ext uri="{FF2B5EF4-FFF2-40B4-BE49-F238E27FC236}">
                  <a16:creationId xmlns:a16="http://schemas.microsoft.com/office/drawing/2014/main" id="{93F9444C-94F7-47B7-B102-98058C48E75F}"/>
                </a:ext>
              </a:extLst>
            </p:cNvPr>
            <p:cNvGrpSpPr/>
            <p:nvPr/>
          </p:nvGrpSpPr>
          <p:grpSpPr>
            <a:xfrm>
              <a:off x="10149803" y="1916877"/>
              <a:ext cx="220192" cy="283874"/>
              <a:chOff x="7506352" y="2015530"/>
              <a:chExt cx="616896" cy="799781"/>
            </a:xfrm>
            <a:solidFill>
              <a:srgbClr val="000000">
                <a:lumMod val="50000"/>
                <a:lumOff val="50000"/>
              </a:srgbClr>
            </a:solidFill>
          </p:grpSpPr>
          <p:sp>
            <p:nvSpPr>
              <p:cNvPr id="23" name="Freeform 164">
                <a:extLst>
                  <a:ext uri="{FF2B5EF4-FFF2-40B4-BE49-F238E27FC236}">
                    <a16:creationId xmlns:a16="http://schemas.microsoft.com/office/drawing/2014/main" id="{CED9B346-FD4E-476C-9939-6037734C4420}"/>
                  </a:ext>
                </a:extLst>
              </p:cNvPr>
              <p:cNvSpPr/>
              <p:nvPr/>
            </p:nvSpPr>
            <p:spPr>
              <a:xfrm>
                <a:off x="7589530" y="2015530"/>
                <a:ext cx="443228" cy="521493"/>
              </a:xfrm>
              <a:custGeom>
                <a:avLst/>
                <a:gdLst>
                  <a:gd name="connsiteX0" fmla="*/ 0 w 440531"/>
                  <a:gd name="connsiteY0" fmla="*/ 0 h 531018"/>
                  <a:gd name="connsiteX1" fmla="*/ 440531 w 440531"/>
                  <a:gd name="connsiteY1" fmla="*/ 9525 h 531018"/>
                  <a:gd name="connsiteX2" fmla="*/ 395287 w 440531"/>
                  <a:gd name="connsiteY2" fmla="*/ 369093 h 531018"/>
                  <a:gd name="connsiteX3" fmla="*/ 271462 w 440531"/>
                  <a:gd name="connsiteY3" fmla="*/ 531018 h 531018"/>
                  <a:gd name="connsiteX4" fmla="*/ 178593 w 440531"/>
                  <a:gd name="connsiteY4" fmla="*/ 531018 h 531018"/>
                  <a:gd name="connsiteX5" fmla="*/ 54768 w 440531"/>
                  <a:gd name="connsiteY5" fmla="*/ 369093 h 531018"/>
                  <a:gd name="connsiteX6" fmla="*/ 28575 w 440531"/>
                  <a:gd name="connsiteY6" fmla="*/ 273843 h 531018"/>
                  <a:gd name="connsiteX7" fmla="*/ 0 w 440531"/>
                  <a:gd name="connsiteY7" fmla="*/ 0 h 531018"/>
                  <a:gd name="connsiteX0" fmla="*/ 0 w 440531"/>
                  <a:gd name="connsiteY0" fmla="*/ 0 h 531018"/>
                  <a:gd name="connsiteX1" fmla="*/ 440531 w 440531"/>
                  <a:gd name="connsiteY1" fmla="*/ 9525 h 531018"/>
                  <a:gd name="connsiteX2" fmla="*/ 271462 w 440531"/>
                  <a:gd name="connsiteY2" fmla="*/ 531018 h 531018"/>
                  <a:gd name="connsiteX3" fmla="*/ 178593 w 440531"/>
                  <a:gd name="connsiteY3" fmla="*/ 531018 h 531018"/>
                  <a:gd name="connsiteX4" fmla="*/ 54768 w 440531"/>
                  <a:gd name="connsiteY4" fmla="*/ 369093 h 531018"/>
                  <a:gd name="connsiteX5" fmla="*/ 28575 w 440531"/>
                  <a:gd name="connsiteY5" fmla="*/ 273843 h 531018"/>
                  <a:gd name="connsiteX6" fmla="*/ 0 w 440531"/>
                  <a:gd name="connsiteY6" fmla="*/ 0 h 531018"/>
                  <a:gd name="connsiteX0" fmla="*/ 0 w 440531"/>
                  <a:gd name="connsiteY0" fmla="*/ 0 h 531018"/>
                  <a:gd name="connsiteX1" fmla="*/ 440531 w 440531"/>
                  <a:gd name="connsiteY1" fmla="*/ 9525 h 531018"/>
                  <a:gd name="connsiteX2" fmla="*/ 271462 w 440531"/>
                  <a:gd name="connsiteY2" fmla="*/ 531018 h 531018"/>
                  <a:gd name="connsiteX3" fmla="*/ 178593 w 440531"/>
                  <a:gd name="connsiteY3" fmla="*/ 531018 h 531018"/>
                  <a:gd name="connsiteX4" fmla="*/ 54768 w 440531"/>
                  <a:gd name="connsiteY4" fmla="*/ 369093 h 531018"/>
                  <a:gd name="connsiteX5" fmla="*/ 28575 w 440531"/>
                  <a:gd name="connsiteY5" fmla="*/ 273843 h 531018"/>
                  <a:gd name="connsiteX6" fmla="*/ 0 w 440531"/>
                  <a:gd name="connsiteY6" fmla="*/ 0 h 531018"/>
                  <a:gd name="connsiteX0" fmla="*/ 0 w 440531"/>
                  <a:gd name="connsiteY0" fmla="*/ 0 h 531018"/>
                  <a:gd name="connsiteX1" fmla="*/ 440531 w 440531"/>
                  <a:gd name="connsiteY1" fmla="*/ 9525 h 531018"/>
                  <a:gd name="connsiteX2" fmla="*/ 271462 w 440531"/>
                  <a:gd name="connsiteY2" fmla="*/ 531018 h 531018"/>
                  <a:gd name="connsiteX3" fmla="*/ 178593 w 440531"/>
                  <a:gd name="connsiteY3" fmla="*/ 531018 h 531018"/>
                  <a:gd name="connsiteX4" fmla="*/ 54768 w 440531"/>
                  <a:gd name="connsiteY4" fmla="*/ 369093 h 531018"/>
                  <a:gd name="connsiteX5" fmla="*/ 28575 w 440531"/>
                  <a:gd name="connsiteY5" fmla="*/ 273843 h 531018"/>
                  <a:gd name="connsiteX6" fmla="*/ 0 w 440531"/>
                  <a:gd name="connsiteY6" fmla="*/ 0 h 531018"/>
                  <a:gd name="connsiteX0" fmla="*/ 0 w 440531"/>
                  <a:gd name="connsiteY0" fmla="*/ 0 h 531018"/>
                  <a:gd name="connsiteX1" fmla="*/ 440531 w 440531"/>
                  <a:gd name="connsiteY1" fmla="*/ 9525 h 531018"/>
                  <a:gd name="connsiteX2" fmla="*/ 271462 w 440531"/>
                  <a:gd name="connsiteY2" fmla="*/ 531018 h 531018"/>
                  <a:gd name="connsiteX3" fmla="*/ 178593 w 440531"/>
                  <a:gd name="connsiteY3" fmla="*/ 531018 h 531018"/>
                  <a:gd name="connsiteX4" fmla="*/ 54768 w 440531"/>
                  <a:gd name="connsiteY4" fmla="*/ 369093 h 531018"/>
                  <a:gd name="connsiteX5" fmla="*/ 28575 w 440531"/>
                  <a:gd name="connsiteY5" fmla="*/ 273843 h 531018"/>
                  <a:gd name="connsiteX6" fmla="*/ 0 w 440531"/>
                  <a:gd name="connsiteY6" fmla="*/ 0 h 531018"/>
                  <a:gd name="connsiteX0" fmla="*/ 0 w 440531"/>
                  <a:gd name="connsiteY0" fmla="*/ 0 h 531018"/>
                  <a:gd name="connsiteX1" fmla="*/ 440531 w 440531"/>
                  <a:gd name="connsiteY1" fmla="*/ 9525 h 531018"/>
                  <a:gd name="connsiteX2" fmla="*/ 271462 w 440531"/>
                  <a:gd name="connsiteY2" fmla="*/ 531018 h 531018"/>
                  <a:gd name="connsiteX3" fmla="*/ 178593 w 440531"/>
                  <a:gd name="connsiteY3" fmla="*/ 531018 h 531018"/>
                  <a:gd name="connsiteX4" fmla="*/ 54768 w 440531"/>
                  <a:gd name="connsiteY4" fmla="*/ 369093 h 531018"/>
                  <a:gd name="connsiteX5" fmla="*/ 28575 w 440531"/>
                  <a:gd name="connsiteY5" fmla="*/ 273843 h 531018"/>
                  <a:gd name="connsiteX6" fmla="*/ 0 w 440531"/>
                  <a:gd name="connsiteY6" fmla="*/ 0 h 531018"/>
                  <a:gd name="connsiteX0" fmla="*/ 0 w 440531"/>
                  <a:gd name="connsiteY0" fmla="*/ 0 h 531018"/>
                  <a:gd name="connsiteX1" fmla="*/ 440531 w 440531"/>
                  <a:gd name="connsiteY1" fmla="*/ 9525 h 531018"/>
                  <a:gd name="connsiteX2" fmla="*/ 271462 w 440531"/>
                  <a:gd name="connsiteY2" fmla="*/ 531018 h 531018"/>
                  <a:gd name="connsiteX3" fmla="*/ 178593 w 440531"/>
                  <a:gd name="connsiteY3" fmla="*/ 531018 h 531018"/>
                  <a:gd name="connsiteX4" fmla="*/ 54768 w 440531"/>
                  <a:gd name="connsiteY4" fmla="*/ 369093 h 531018"/>
                  <a:gd name="connsiteX5" fmla="*/ 0 w 440531"/>
                  <a:gd name="connsiteY5" fmla="*/ 0 h 531018"/>
                  <a:gd name="connsiteX0" fmla="*/ 6867 w 447398"/>
                  <a:gd name="connsiteY0" fmla="*/ 0 h 531018"/>
                  <a:gd name="connsiteX1" fmla="*/ 447398 w 447398"/>
                  <a:gd name="connsiteY1" fmla="*/ 9525 h 531018"/>
                  <a:gd name="connsiteX2" fmla="*/ 278329 w 447398"/>
                  <a:gd name="connsiteY2" fmla="*/ 531018 h 531018"/>
                  <a:gd name="connsiteX3" fmla="*/ 185460 w 447398"/>
                  <a:gd name="connsiteY3" fmla="*/ 531018 h 531018"/>
                  <a:gd name="connsiteX4" fmla="*/ 6867 w 447398"/>
                  <a:gd name="connsiteY4" fmla="*/ 0 h 531018"/>
                  <a:gd name="connsiteX0" fmla="*/ 322 w 440853"/>
                  <a:gd name="connsiteY0" fmla="*/ 0 h 531018"/>
                  <a:gd name="connsiteX1" fmla="*/ 440853 w 440853"/>
                  <a:gd name="connsiteY1" fmla="*/ 9525 h 531018"/>
                  <a:gd name="connsiteX2" fmla="*/ 271784 w 440853"/>
                  <a:gd name="connsiteY2" fmla="*/ 531018 h 531018"/>
                  <a:gd name="connsiteX3" fmla="*/ 178915 w 440853"/>
                  <a:gd name="connsiteY3" fmla="*/ 531018 h 531018"/>
                  <a:gd name="connsiteX4" fmla="*/ 322 w 440853"/>
                  <a:gd name="connsiteY4" fmla="*/ 0 h 531018"/>
                  <a:gd name="connsiteX0" fmla="*/ 322 w 440853"/>
                  <a:gd name="connsiteY0" fmla="*/ 0 h 531018"/>
                  <a:gd name="connsiteX1" fmla="*/ 440853 w 440853"/>
                  <a:gd name="connsiteY1" fmla="*/ 9525 h 531018"/>
                  <a:gd name="connsiteX2" fmla="*/ 271784 w 440853"/>
                  <a:gd name="connsiteY2" fmla="*/ 531018 h 531018"/>
                  <a:gd name="connsiteX3" fmla="*/ 178915 w 440853"/>
                  <a:gd name="connsiteY3" fmla="*/ 531018 h 531018"/>
                  <a:gd name="connsiteX4" fmla="*/ 322 w 440853"/>
                  <a:gd name="connsiteY4" fmla="*/ 0 h 531018"/>
                  <a:gd name="connsiteX0" fmla="*/ 316 w 443228"/>
                  <a:gd name="connsiteY0" fmla="*/ 0 h 521493"/>
                  <a:gd name="connsiteX1" fmla="*/ 443228 w 443228"/>
                  <a:gd name="connsiteY1" fmla="*/ 0 h 521493"/>
                  <a:gd name="connsiteX2" fmla="*/ 274159 w 443228"/>
                  <a:gd name="connsiteY2" fmla="*/ 521493 h 521493"/>
                  <a:gd name="connsiteX3" fmla="*/ 181290 w 443228"/>
                  <a:gd name="connsiteY3" fmla="*/ 521493 h 521493"/>
                  <a:gd name="connsiteX4" fmla="*/ 316 w 443228"/>
                  <a:gd name="connsiteY4" fmla="*/ 0 h 5214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3228" h="521493">
                    <a:moveTo>
                      <a:pt x="316" y="0"/>
                    </a:moveTo>
                    <a:lnTo>
                      <a:pt x="443228" y="0"/>
                    </a:lnTo>
                    <a:cubicBezTo>
                      <a:pt x="429734" y="440531"/>
                      <a:pt x="282890" y="466725"/>
                      <a:pt x="274159" y="521493"/>
                    </a:cubicBezTo>
                    <a:lnTo>
                      <a:pt x="181290" y="521493"/>
                    </a:lnTo>
                    <a:cubicBezTo>
                      <a:pt x="136046" y="432990"/>
                      <a:pt x="-7621" y="339328"/>
                      <a:pt x="316" y="0"/>
                    </a:cubicBezTo>
                    <a:close/>
                  </a:path>
                </a:pathLst>
              </a:custGeom>
              <a:grpFill/>
              <a:ln>
                <a:noFill/>
              </a:ln>
            </p:spPr>
            <p:txBody>
              <a:bodyPr wrap="square" rtlCol="0" anchor="ctr">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428" b="0" i="0" u="none" strike="noStrike" kern="0" cap="none" spc="0" normalizeH="0" baseline="0" noProof="0" dirty="0">
                  <a:ln>
                    <a:noFill/>
                  </a:ln>
                  <a:solidFill>
                    <a:srgbClr val="808080"/>
                  </a:solidFill>
                  <a:effectLst/>
                  <a:uLnTx/>
                  <a:uFillTx/>
                  <a:latin typeface="EYInterstate Light"/>
                  <a:ea typeface="+mn-ea"/>
                  <a:cs typeface="+mn-cs"/>
                </a:endParaRPr>
              </a:p>
            </p:txBody>
          </p:sp>
          <p:sp>
            <p:nvSpPr>
              <p:cNvPr id="24" name="Freeform 165">
                <a:extLst>
                  <a:ext uri="{FF2B5EF4-FFF2-40B4-BE49-F238E27FC236}">
                    <a16:creationId xmlns:a16="http://schemas.microsoft.com/office/drawing/2014/main" id="{0FBC0707-B8E4-4E39-8ED5-C486E415A919}"/>
                  </a:ext>
                </a:extLst>
              </p:cNvPr>
              <p:cNvSpPr/>
              <p:nvPr/>
            </p:nvSpPr>
            <p:spPr>
              <a:xfrm>
                <a:off x="7925595" y="2020293"/>
                <a:ext cx="197653" cy="340896"/>
              </a:xfrm>
              <a:custGeom>
                <a:avLst/>
                <a:gdLst>
                  <a:gd name="connsiteX0" fmla="*/ 57150 w 157163"/>
                  <a:gd name="connsiteY0" fmla="*/ 7144 h 340519"/>
                  <a:gd name="connsiteX1" fmla="*/ 157163 w 157163"/>
                  <a:gd name="connsiteY1" fmla="*/ 0 h 340519"/>
                  <a:gd name="connsiteX2" fmla="*/ 0 w 157163"/>
                  <a:gd name="connsiteY2" fmla="*/ 340519 h 340519"/>
                  <a:gd name="connsiteX3" fmla="*/ 2381 w 157163"/>
                  <a:gd name="connsiteY3" fmla="*/ 264319 h 340519"/>
                  <a:gd name="connsiteX4" fmla="*/ 33338 w 157163"/>
                  <a:gd name="connsiteY4" fmla="*/ 261938 h 340519"/>
                  <a:gd name="connsiteX5" fmla="*/ 126206 w 157163"/>
                  <a:gd name="connsiteY5" fmla="*/ 54769 h 340519"/>
                  <a:gd name="connsiteX6" fmla="*/ 80963 w 157163"/>
                  <a:gd name="connsiteY6" fmla="*/ 64294 h 340519"/>
                  <a:gd name="connsiteX7" fmla="*/ 42863 w 157163"/>
                  <a:gd name="connsiteY7" fmla="*/ 61913 h 340519"/>
                  <a:gd name="connsiteX8" fmla="*/ 57150 w 157163"/>
                  <a:gd name="connsiteY8" fmla="*/ 7144 h 340519"/>
                  <a:gd name="connsiteX0" fmla="*/ 57150 w 157163"/>
                  <a:gd name="connsiteY0" fmla="*/ 7144 h 340519"/>
                  <a:gd name="connsiteX1" fmla="*/ 157163 w 157163"/>
                  <a:gd name="connsiteY1" fmla="*/ 0 h 340519"/>
                  <a:gd name="connsiteX2" fmla="*/ 0 w 157163"/>
                  <a:gd name="connsiteY2" fmla="*/ 340519 h 340519"/>
                  <a:gd name="connsiteX3" fmla="*/ 2381 w 157163"/>
                  <a:gd name="connsiteY3" fmla="*/ 264319 h 340519"/>
                  <a:gd name="connsiteX4" fmla="*/ 33338 w 157163"/>
                  <a:gd name="connsiteY4" fmla="*/ 261938 h 340519"/>
                  <a:gd name="connsiteX5" fmla="*/ 126206 w 157163"/>
                  <a:gd name="connsiteY5" fmla="*/ 54769 h 340519"/>
                  <a:gd name="connsiteX6" fmla="*/ 80963 w 157163"/>
                  <a:gd name="connsiteY6" fmla="*/ 64294 h 340519"/>
                  <a:gd name="connsiteX7" fmla="*/ 42863 w 157163"/>
                  <a:gd name="connsiteY7" fmla="*/ 61913 h 340519"/>
                  <a:gd name="connsiteX8" fmla="*/ 57150 w 157163"/>
                  <a:gd name="connsiteY8" fmla="*/ 7144 h 340519"/>
                  <a:gd name="connsiteX0" fmla="*/ 57150 w 157163"/>
                  <a:gd name="connsiteY0" fmla="*/ 7144 h 340519"/>
                  <a:gd name="connsiteX1" fmla="*/ 157163 w 157163"/>
                  <a:gd name="connsiteY1" fmla="*/ 0 h 340519"/>
                  <a:gd name="connsiteX2" fmla="*/ 0 w 157163"/>
                  <a:gd name="connsiteY2" fmla="*/ 340519 h 340519"/>
                  <a:gd name="connsiteX3" fmla="*/ 2381 w 157163"/>
                  <a:gd name="connsiteY3" fmla="*/ 264319 h 340519"/>
                  <a:gd name="connsiteX4" fmla="*/ 33338 w 157163"/>
                  <a:gd name="connsiteY4" fmla="*/ 261938 h 340519"/>
                  <a:gd name="connsiteX5" fmla="*/ 126206 w 157163"/>
                  <a:gd name="connsiteY5" fmla="*/ 54769 h 340519"/>
                  <a:gd name="connsiteX6" fmla="*/ 80963 w 157163"/>
                  <a:gd name="connsiteY6" fmla="*/ 64294 h 340519"/>
                  <a:gd name="connsiteX7" fmla="*/ 42863 w 157163"/>
                  <a:gd name="connsiteY7" fmla="*/ 61913 h 340519"/>
                  <a:gd name="connsiteX8" fmla="*/ 57150 w 157163"/>
                  <a:gd name="connsiteY8" fmla="*/ 7144 h 340519"/>
                  <a:gd name="connsiteX0" fmla="*/ 57150 w 157163"/>
                  <a:gd name="connsiteY0" fmla="*/ 7144 h 340519"/>
                  <a:gd name="connsiteX1" fmla="*/ 157163 w 157163"/>
                  <a:gd name="connsiteY1" fmla="*/ 0 h 340519"/>
                  <a:gd name="connsiteX2" fmla="*/ 0 w 157163"/>
                  <a:gd name="connsiteY2" fmla="*/ 340519 h 340519"/>
                  <a:gd name="connsiteX3" fmla="*/ 2381 w 157163"/>
                  <a:gd name="connsiteY3" fmla="*/ 264319 h 340519"/>
                  <a:gd name="connsiteX4" fmla="*/ 33338 w 157163"/>
                  <a:gd name="connsiteY4" fmla="*/ 261938 h 340519"/>
                  <a:gd name="connsiteX5" fmla="*/ 126206 w 157163"/>
                  <a:gd name="connsiteY5" fmla="*/ 54769 h 340519"/>
                  <a:gd name="connsiteX6" fmla="*/ 80963 w 157163"/>
                  <a:gd name="connsiteY6" fmla="*/ 64294 h 340519"/>
                  <a:gd name="connsiteX7" fmla="*/ 42863 w 157163"/>
                  <a:gd name="connsiteY7" fmla="*/ 61913 h 340519"/>
                  <a:gd name="connsiteX8" fmla="*/ 57150 w 157163"/>
                  <a:gd name="connsiteY8" fmla="*/ 7144 h 340519"/>
                  <a:gd name="connsiteX0" fmla="*/ 57150 w 157163"/>
                  <a:gd name="connsiteY0" fmla="*/ 7144 h 340519"/>
                  <a:gd name="connsiteX1" fmla="*/ 157163 w 157163"/>
                  <a:gd name="connsiteY1" fmla="*/ 0 h 340519"/>
                  <a:gd name="connsiteX2" fmla="*/ 0 w 157163"/>
                  <a:gd name="connsiteY2" fmla="*/ 340519 h 340519"/>
                  <a:gd name="connsiteX3" fmla="*/ 2381 w 157163"/>
                  <a:gd name="connsiteY3" fmla="*/ 264319 h 340519"/>
                  <a:gd name="connsiteX4" fmla="*/ 126206 w 157163"/>
                  <a:gd name="connsiteY4" fmla="*/ 54769 h 340519"/>
                  <a:gd name="connsiteX5" fmla="*/ 80963 w 157163"/>
                  <a:gd name="connsiteY5" fmla="*/ 64294 h 340519"/>
                  <a:gd name="connsiteX6" fmla="*/ 42863 w 157163"/>
                  <a:gd name="connsiteY6" fmla="*/ 61913 h 340519"/>
                  <a:gd name="connsiteX7" fmla="*/ 57150 w 157163"/>
                  <a:gd name="connsiteY7" fmla="*/ 7144 h 340519"/>
                  <a:gd name="connsiteX0" fmla="*/ 57314 w 157327"/>
                  <a:gd name="connsiteY0" fmla="*/ 7144 h 340763"/>
                  <a:gd name="connsiteX1" fmla="*/ 157327 w 157327"/>
                  <a:gd name="connsiteY1" fmla="*/ 0 h 340763"/>
                  <a:gd name="connsiteX2" fmla="*/ 164 w 157327"/>
                  <a:gd name="connsiteY2" fmla="*/ 340519 h 340763"/>
                  <a:gd name="connsiteX3" fmla="*/ 126370 w 157327"/>
                  <a:gd name="connsiteY3" fmla="*/ 54769 h 340763"/>
                  <a:gd name="connsiteX4" fmla="*/ 81127 w 157327"/>
                  <a:gd name="connsiteY4" fmla="*/ 64294 h 340763"/>
                  <a:gd name="connsiteX5" fmla="*/ 43027 w 157327"/>
                  <a:gd name="connsiteY5" fmla="*/ 61913 h 340763"/>
                  <a:gd name="connsiteX6" fmla="*/ 57314 w 157327"/>
                  <a:gd name="connsiteY6" fmla="*/ 7144 h 340763"/>
                  <a:gd name="connsiteX0" fmla="*/ 57295 w 157308"/>
                  <a:gd name="connsiteY0" fmla="*/ 7144 h 340896"/>
                  <a:gd name="connsiteX1" fmla="*/ 157308 w 157308"/>
                  <a:gd name="connsiteY1" fmla="*/ 0 h 340896"/>
                  <a:gd name="connsiteX2" fmla="*/ 145 w 157308"/>
                  <a:gd name="connsiteY2" fmla="*/ 340519 h 340896"/>
                  <a:gd name="connsiteX3" fmla="*/ 126351 w 157308"/>
                  <a:gd name="connsiteY3" fmla="*/ 54769 h 340896"/>
                  <a:gd name="connsiteX4" fmla="*/ 81108 w 157308"/>
                  <a:gd name="connsiteY4" fmla="*/ 64294 h 340896"/>
                  <a:gd name="connsiteX5" fmla="*/ 43008 w 157308"/>
                  <a:gd name="connsiteY5" fmla="*/ 61913 h 340896"/>
                  <a:gd name="connsiteX6" fmla="*/ 57295 w 157308"/>
                  <a:gd name="connsiteY6" fmla="*/ 7144 h 340896"/>
                  <a:gd name="connsiteX0" fmla="*/ 43008 w 157308"/>
                  <a:gd name="connsiteY0" fmla="*/ 61913 h 340896"/>
                  <a:gd name="connsiteX1" fmla="*/ 157308 w 157308"/>
                  <a:gd name="connsiteY1" fmla="*/ 0 h 340896"/>
                  <a:gd name="connsiteX2" fmla="*/ 145 w 157308"/>
                  <a:gd name="connsiteY2" fmla="*/ 340519 h 340896"/>
                  <a:gd name="connsiteX3" fmla="*/ 126351 w 157308"/>
                  <a:gd name="connsiteY3" fmla="*/ 54769 h 340896"/>
                  <a:gd name="connsiteX4" fmla="*/ 81108 w 157308"/>
                  <a:gd name="connsiteY4" fmla="*/ 64294 h 340896"/>
                  <a:gd name="connsiteX5" fmla="*/ 43008 w 157308"/>
                  <a:gd name="connsiteY5" fmla="*/ 61913 h 340896"/>
                  <a:gd name="connsiteX0" fmla="*/ 43008 w 157308"/>
                  <a:gd name="connsiteY0" fmla="*/ 61913 h 340896"/>
                  <a:gd name="connsiteX1" fmla="*/ 157308 w 157308"/>
                  <a:gd name="connsiteY1" fmla="*/ 0 h 340896"/>
                  <a:gd name="connsiteX2" fmla="*/ 145 w 157308"/>
                  <a:gd name="connsiteY2" fmla="*/ 340519 h 340896"/>
                  <a:gd name="connsiteX3" fmla="*/ 126351 w 157308"/>
                  <a:gd name="connsiteY3" fmla="*/ 54769 h 340896"/>
                  <a:gd name="connsiteX4" fmla="*/ 81108 w 157308"/>
                  <a:gd name="connsiteY4" fmla="*/ 64294 h 340896"/>
                  <a:gd name="connsiteX5" fmla="*/ 43008 w 157308"/>
                  <a:gd name="connsiteY5" fmla="*/ 61913 h 340896"/>
                  <a:gd name="connsiteX0" fmla="*/ 43008 w 157308"/>
                  <a:gd name="connsiteY0" fmla="*/ 61913 h 340896"/>
                  <a:gd name="connsiteX1" fmla="*/ 157308 w 157308"/>
                  <a:gd name="connsiteY1" fmla="*/ 0 h 340896"/>
                  <a:gd name="connsiteX2" fmla="*/ 145 w 157308"/>
                  <a:gd name="connsiteY2" fmla="*/ 340519 h 340896"/>
                  <a:gd name="connsiteX3" fmla="*/ 126351 w 157308"/>
                  <a:gd name="connsiteY3" fmla="*/ 54769 h 340896"/>
                  <a:gd name="connsiteX4" fmla="*/ 81108 w 157308"/>
                  <a:gd name="connsiteY4" fmla="*/ 64294 h 340896"/>
                  <a:gd name="connsiteX5" fmla="*/ 43008 w 157308"/>
                  <a:gd name="connsiteY5" fmla="*/ 61913 h 340896"/>
                  <a:gd name="connsiteX0" fmla="*/ 7289 w 157308"/>
                  <a:gd name="connsiteY0" fmla="*/ 69057 h 340896"/>
                  <a:gd name="connsiteX1" fmla="*/ 157308 w 157308"/>
                  <a:gd name="connsiteY1" fmla="*/ 0 h 340896"/>
                  <a:gd name="connsiteX2" fmla="*/ 145 w 157308"/>
                  <a:gd name="connsiteY2" fmla="*/ 340519 h 340896"/>
                  <a:gd name="connsiteX3" fmla="*/ 126351 w 157308"/>
                  <a:gd name="connsiteY3" fmla="*/ 54769 h 340896"/>
                  <a:gd name="connsiteX4" fmla="*/ 81108 w 157308"/>
                  <a:gd name="connsiteY4" fmla="*/ 64294 h 340896"/>
                  <a:gd name="connsiteX5" fmla="*/ 7289 w 157308"/>
                  <a:gd name="connsiteY5" fmla="*/ 69057 h 340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7308" h="340896">
                    <a:moveTo>
                      <a:pt x="7289" y="69057"/>
                    </a:moveTo>
                    <a:cubicBezTo>
                      <a:pt x="54914" y="12701"/>
                      <a:pt x="119208" y="20638"/>
                      <a:pt x="157308" y="0"/>
                    </a:cubicBezTo>
                    <a:cubicBezTo>
                      <a:pt x="150163" y="284956"/>
                      <a:pt x="12051" y="312738"/>
                      <a:pt x="145" y="340519"/>
                    </a:cubicBezTo>
                    <a:cubicBezTo>
                      <a:pt x="-5015" y="349647"/>
                      <a:pt x="129525" y="191294"/>
                      <a:pt x="126351" y="54769"/>
                    </a:cubicBezTo>
                    <a:cubicBezTo>
                      <a:pt x="120795" y="24607"/>
                      <a:pt x="96189" y="61119"/>
                      <a:pt x="81108" y="64294"/>
                    </a:cubicBezTo>
                    <a:lnTo>
                      <a:pt x="7289" y="69057"/>
                    </a:lnTo>
                    <a:close/>
                  </a:path>
                </a:pathLst>
              </a:custGeom>
              <a:grpFill/>
              <a:ln>
                <a:noFill/>
              </a:ln>
            </p:spPr>
            <p:txBody>
              <a:bodyPr wrap="square" rtlCol="0" anchor="ctr">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428" b="0" i="0" u="none" strike="noStrike" kern="0" cap="none" spc="0" normalizeH="0" baseline="0" noProof="0" dirty="0">
                  <a:ln>
                    <a:noFill/>
                  </a:ln>
                  <a:solidFill>
                    <a:srgbClr val="808080"/>
                  </a:solidFill>
                  <a:effectLst/>
                  <a:uLnTx/>
                  <a:uFillTx/>
                  <a:latin typeface="EYInterstate Light"/>
                  <a:ea typeface="+mn-ea"/>
                  <a:cs typeface="+mn-cs"/>
                </a:endParaRPr>
              </a:p>
            </p:txBody>
          </p:sp>
          <p:sp>
            <p:nvSpPr>
              <p:cNvPr id="25" name="Freeform 166">
                <a:extLst>
                  <a:ext uri="{FF2B5EF4-FFF2-40B4-BE49-F238E27FC236}">
                    <a16:creationId xmlns:a16="http://schemas.microsoft.com/office/drawing/2014/main" id="{6B2E01B6-6034-41BD-82F5-6A8B7D8A53DB}"/>
                  </a:ext>
                </a:extLst>
              </p:cNvPr>
              <p:cNvSpPr/>
              <p:nvPr/>
            </p:nvSpPr>
            <p:spPr>
              <a:xfrm flipH="1">
                <a:off x="7506352" y="2020293"/>
                <a:ext cx="202547" cy="340896"/>
              </a:xfrm>
              <a:custGeom>
                <a:avLst/>
                <a:gdLst>
                  <a:gd name="connsiteX0" fmla="*/ 57150 w 157163"/>
                  <a:gd name="connsiteY0" fmla="*/ 7144 h 340519"/>
                  <a:gd name="connsiteX1" fmla="*/ 157163 w 157163"/>
                  <a:gd name="connsiteY1" fmla="*/ 0 h 340519"/>
                  <a:gd name="connsiteX2" fmla="*/ 0 w 157163"/>
                  <a:gd name="connsiteY2" fmla="*/ 340519 h 340519"/>
                  <a:gd name="connsiteX3" fmla="*/ 2381 w 157163"/>
                  <a:gd name="connsiteY3" fmla="*/ 264319 h 340519"/>
                  <a:gd name="connsiteX4" fmla="*/ 33338 w 157163"/>
                  <a:gd name="connsiteY4" fmla="*/ 261938 h 340519"/>
                  <a:gd name="connsiteX5" fmla="*/ 126206 w 157163"/>
                  <a:gd name="connsiteY5" fmla="*/ 54769 h 340519"/>
                  <a:gd name="connsiteX6" fmla="*/ 80963 w 157163"/>
                  <a:gd name="connsiteY6" fmla="*/ 64294 h 340519"/>
                  <a:gd name="connsiteX7" fmla="*/ 42863 w 157163"/>
                  <a:gd name="connsiteY7" fmla="*/ 61913 h 340519"/>
                  <a:gd name="connsiteX8" fmla="*/ 57150 w 157163"/>
                  <a:gd name="connsiteY8" fmla="*/ 7144 h 340519"/>
                  <a:gd name="connsiteX0" fmla="*/ 57150 w 157163"/>
                  <a:gd name="connsiteY0" fmla="*/ 7144 h 340519"/>
                  <a:gd name="connsiteX1" fmla="*/ 157163 w 157163"/>
                  <a:gd name="connsiteY1" fmla="*/ 0 h 340519"/>
                  <a:gd name="connsiteX2" fmla="*/ 0 w 157163"/>
                  <a:gd name="connsiteY2" fmla="*/ 340519 h 340519"/>
                  <a:gd name="connsiteX3" fmla="*/ 2381 w 157163"/>
                  <a:gd name="connsiteY3" fmla="*/ 264319 h 340519"/>
                  <a:gd name="connsiteX4" fmla="*/ 33338 w 157163"/>
                  <a:gd name="connsiteY4" fmla="*/ 261938 h 340519"/>
                  <a:gd name="connsiteX5" fmla="*/ 126206 w 157163"/>
                  <a:gd name="connsiteY5" fmla="*/ 54769 h 340519"/>
                  <a:gd name="connsiteX6" fmla="*/ 80963 w 157163"/>
                  <a:gd name="connsiteY6" fmla="*/ 64294 h 340519"/>
                  <a:gd name="connsiteX7" fmla="*/ 42863 w 157163"/>
                  <a:gd name="connsiteY7" fmla="*/ 61913 h 340519"/>
                  <a:gd name="connsiteX8" fmla="*/ 57150 w 157163"/>
                  <a:gd name="connsiteY8" fmla="*/ 7144 h 340519"/>
                  <a:gd name="connsiteX0" fmla="*/ 57150 w 157163"/>
                  <a:gd name="connsiteY0" fmla="*/ 7144 h 340519"/>
                  <a:gd name="connsiteX1" fmla="*/ 157163 w 157163"/>
                  <a:gd name="connsiteY1" fmla="*/ 0 h 340519"/>
                  <a:gd name="connsiteX2" fmla="*/ 0 w 157163"/>
                  <a:gd name="connsiteY2" fmla="*/ 340519 h 340519"/>
                  <a:gd name="connsiteX3" fmla="*/ 2381 w 157163"/>
                  <a:gd name="connsiteY3" fmla="*/ 264319 h 340519"/>
                  <a:gd name="connsiteX4" fmla="*/ 33338 w 157163"/>
                  <a:gd name="connsiteY4" fmla="*/ 261938 h 340519"/>
                  <a:gd name="connsiteX5" fmla="*/ 126206 w 157163"/>
                  <a:gd name="connsiteY5" fmla="*/ 54769 h 340519"/>
                  <a:gd name="connsiteX6" fmla="*/ 80963 w 157163"/>
                  <a:gd name="connsiteY6" fmla="*/ 64294 h 340519"/>
                  <a:gd name="connsiteX7" fmla="*/ 42863 w 157163"/>
                  <a:gd name="connsiteY7" fmla="*/ 61913 h 340519"/>
                  <a:gd name="connsiteX8" fmla="*/ 57150 w 157163"/>
                  <a:gd name="connsiteY8" fmla="*/ 7144 h 340519"/>
                  <a:gd name="connsiteX0" fmla="*/ 57150 w 157163"/>
                  <a:gd name="connsiteY0" fmla="*/ 7144 h 340519"/>
                  <a:gd name="connsiteX1" fmla="*/ 157163 w 157163"/>
                  <a:gd name="connsiteY1" fmla="*/ 0 h 340519"/>
                  <a:gd name="connsiteX2" fmla="*/ 0 w 157163"/>
                  <a:gd name="connsiteY2" fmla="*/ 340519 h 340519"/>
                  <a:gd name="connsiteX3" fmla="*/ 2381 w 157163"/>
                  <a:gd name="connsiteY3" fmla="*/ 264319 h 340519"/>
                  <a:gd name="connsiteX4" fmla="*/ 33338 w 157163"/>
                  <a:gd name="connsiteY4" fmla="*/ 261938 h 340519"/>
                  <a:gd name="connsiteX5" fmla="*/ 126206 w 157163"/>
                  <a:gd name="connsiteY5" fmla="*/ 54769 h 340519"/>
                  <a:gd name="connsiteX6" fmla="*/ 80963 w 157163"/>
                  <a:gd name="connsiteY6" fmla="*/ 64294 h 340519"/>
                  <a:gd name="connsiteX7" fmla="*/ 42863 w 157163"/>
                  <a:gd name="connsiteY7" fmla="*/ 61913 h 340519"/>
                  <a:gd name="connsiteX8" fmla="*/ 57150 w 157163"/>
                  <a:gd name="connsiteY8" fmla="*/ 7144 h 340519"/>
                  <a:gd name="connsiteX0" fmla="*/ 57150 w 157163"/>
                  <a:gd name="connsiteY0" fmla="*/ 7144 h 340519"/>
                  <a:gd name="connsiteX1" fmla="*/ 157163 w 157163"/>
                  <a:gd name="connsiteY1" fmla="*/ 0 h 340519"/>
                  <a:gd name="connsiteX2" fmla="*/ 0 w 157163"/>
                  <a:gd name="connsiteY2" fmla="*/ 340519 h 340519"/>
                  <a:gd name="connsiteX3" fmla="*/ 2381 w 157163"/>
                  <a:gd name="connsiteY3" fmla="*/ 264319 h 340519"/>
                  <a:gd name="connsiteX4" fmla="*/ 126206 w 157163"/>
                  <a:gd name="connsiteY4" fmla="*/ 54769 h 340519"/>
                  <a:gd name="connsiteX5" fmla="*/ 80963 w 157163"/>
                  <a:gd name="connsiteY5" fmla="*/ 64294 h 340519"/>
                  <a:gd name="connsiteX6" fmla="*/ 42863 w 157163"/>
                  <a:gd name="connsiteY6" fmla="*/ 61913 h 340519"/>
                  <a:gd name="connsiteX7" fmla="*/ 57150 w 157163"/>
                  <a:gd name="connsiteY7" fmla="*/ 7144 h 340519"/>
                  <a:gd name="connsiteX0" fmla="*/ 57314 w 157327"/>
                  <a:gd name="connsiteY0" fmla="*/ 7144 h 340763"/>
                  <a:gd name="connsiteX1" fmla="*/ 157327 w 157327"/>
                  <a:gd name="connsiteY1" fmla="*/ 0 h 340763"/>
                  <a:gd name="connsiteX2" fmla="*/ 164 w 157327"/>
                  <a:gd name="connsiteY2" fmla="*/ 340519 h 340763"/>
                  <a:gd name="connsiteX3" fmla="*/ 126370 w 157327"/>
                  <a:gd name="connsiteY3" fmla="*/ 54769 h 340763"/>
                  <a:gd name="connsiteX4" fmla="*/ 81127 w 157327"/>
                  <a:gd name="connsiteY4" fmla="*/ 64294 h 340763"/>
                  <a:gd name="connsiteX5" fmla="*/ 43027 w 157327"/>
                  <a:gd name="connsiteY5" fmla="*/ 61913 h 340763"/>
                  <a:gd name="connsiteX6" fmla="*/ 57314 w 157327"/>
                  <a:gd name="connsiteY6" fmla="*/ 7144 h 340763"/>
                  <a:gd name="connsiteX0" fmla="*/ 57295 w 157308"/>
                  <a:gd name="connsiteY0" fmla="*/ 7144 h 340896"/>
                  <a:gd name="connsiteX1" fmla="*/ 157308 w 157308"/>
                  <a:gd name="connsiteY1" fmla="*/ 0 h 340896"/>
                  <a:gd name="connsiteX2" fmla="*/ 145 w 157308"/>
                  <a:gd name="connsiteY2" fmla="*/ 340519 h 340896"/>
                  <a:gd name="connsiteX3" fmla="*/ 126351 w 157308"/>
                  <a:gd name="connsiteY3" fmla="*/ 54769 h 340896"/>
                  <a:gd name="connsiteX4" fmla="*/ 81108 w 157308"/>
                  <a:gd name="connsiteY4" fmla="*/ 64294 h 340896"/>
                  <a:gd name="connsiteX5" fmla="*/ 43008 w 157308"/>
                  <a:gd name="connsiteY5" fmla="*/ 61913 h 340896"/>
                  <a:gd name="connsiteX6" fmla="*/ 57295 w 157308"/>
                  <a:gd name="connsiteY6" fmla="*/ 7144 h 340896"/>
                  <a:gd name="connsiteX0" fmla="*/ 43008 w 157308"/>
                  <a:gd name="connsiteY0" fmla="*/ 61913 h 340896"/>
                  <a:gd name="connsiteX1" fmla="*/ 157308 w 157308"/>
                  <a:gd name="connsiteY1" fmla="*/ 0 h 340896"/>
                  <a:gd name="connsiteX2" fmla="*/ 145 w 157308"/>
                  <a:gd name="connsiteY2" fmla="*/ 340519 h 340896"/>
                  <a:gd name="connsiteX3" fmla="*/ 126351 w 157308"/>
                  <a:gd name="connsiteY3" fmla="*/ 54769 h 340896"/>
                  <a:gd name="connsiteX4" fmla="*/ 81108 w 157308"/>
                  <a:gd name="connsiteY4" fmla="*/ 64294 h 340896"/>
                  <a:gd name="connsiteX5" fmla="*/ 43008 w 157308"/>
                  <a:gd name="connsiteY5" fmla="*/ 61913 h 340896"/>
                  <a:gd name="connsiteX0" fmla="*/ 43008 w 157308"/>
                  <a:gd name="connsiteY0" fmla="*/ 61913 h 340896"/>
                  <a:gd name="connsiteX1" fmla="*/ 157308 w 157308"/>
                  <a:gd name="connsiteY1" fmla="*/ 0 h 340896"/>
                  <a:gd name="connsiteX2" fmla="*/ 145 w 157308"/>
                  <a:gd name="connsiteY2" fmla="*/ 340519 h 340896"/>
                  <a:gd name="connsiteX3" fmla="*/ 126351 w 157308"/>
                  <a:gd name="connsiteY3" fmla="*/ 54769 h 340896"/>
                  <a:gd name="connsiteX4" fmla="*/ 81108 w 157308"/>
                  <a:gd name="connsiteY4" fmla="*/ 64294 h 340896"/>
                  <a:gd name="connsiteX5" fmla="*/ 43008 w 157308"/>
                  <a:gd name="connsiteY5" fmla="*/ 61913 h 340896"/>
                  <a:gd name="connsiteX0" fmla="*/ 43008 w 157308"/>
                  <a:gd name="connsiteY0" fmla="*/ 61913 h 340896"/>
                  <a:gd name="connsiteX1" fmla="*/ 157308 w 157308"/>
                  <a:gd name="connsiteY1" fmla="*/ 0 h 340896"/>
                  <a:gd name="connsiteX2" fmla="*/ 145 w 157308"/>
                  <a:gd name="connsiteY2" fmla="*/ 340519 h 340896"/>
                  <a:gd name="connsiteX3" fmla="*/ 126351 w 157308"/>
                  <a:gd name="connsiteY3" fmla="*/ 54769 h 340896"/>
                  <a:gd name="connsiteX4" fmla="*/ 81108 w 157308"/>
                  <a:gd name="connsiteY4" fmla="*/ 64294 h 340896"/>
                  <a:gd name="connsiteX5" fmla="*/ 43008 w 157308"/>
                  <a:gd name="connsiteY5" fmla="*/ 61913 h 340896"/>
                  <a:gd name="connsiteX0" fmla="*/ 7289 w 157308"/>
                  <a:gd name="connsiteY0" fmla="*/ 69057 h 340896"/>
                  <a:gd name="connsiteX1" fmla="*/ 157308 w 157308"/>
                  <a:gd name="connsiteY1" fmla="*/ 0 h 340896"/>
                  <a:gd name="connsiteX2" fmla="*/ 145 w 157308"/>
                  <a:gd name="connsiteY2" fmla="*/ 340519 h 340896"/>
                  <a:gd name="connsiteX3" fmla="*/ 126351 w 157308"/>
                  <a:gd name="connsiteY3" fmla="*/ 54769 h 340896"/>
                  <a:gd name="connsiteX4" fmla="*/ 81108 w 157308"/>
                  <a:gd name="connsiteY4" fmla="*/ 64294 h 340896"/>
                  <a:gd name="connsiteX5" fmla="*/ 7289 w 157308"/>
                  <a:gd name="connsiteY5" fmla="*/ 69057 h 340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7308" h="340896">
                    <a:moveTo>
                      <a:pt x="7289" y="69057"/>
                    </a:moveTo>
                    <a:cubicBezTo>
                      <a:pt x="54914" y="12701"/>
                      <a:pt x="119208" y="20638"/>
                      <a:pt x="157308" y="0"/>
                    </a:cubicBezTo>
                    <a:cubicBezTo>
                      <a:pt x="150163" y="284956"/>
                      <a:pt x="12051" y="312738"/>
                      <a:pt x="145" y="340519"/>
                    </a:cubicBezTo>
                    <a:cubicBezTo>
                      <a:pt x="-5015" y="349647"/>
                      <a:pt x="129525" y="191294"/>
                      <a:pt x="126351" y="54769"/>
                    </a:cubicBezTo>
                    <a:cubicBezTo>
                      <a:pt x="120795" y="24607"/>
                      <a:pt x="96189" y="61119"/>
                      <a:pt x="81108" y="64294"/>
                    </a:cubicBezTo>
                    <a:lnTo>
                      <a:pt x="7289" y="69057"/>
                    </a:lnTo>
                    <a:close/>
                  </a:path>
                </a:pathLst>
              </a:custGeom>
              <a:grpFill/>
              <a:ln>
                <a:noFill/>
              </a:ln>
            </p:spPr>
            <p:txBody>
              <a:bodyPr wrap="square" rtlCol="0" anchor="ctr">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428" b="0" i="0" u="none" strike="noStrike" kern="0" cap="none" spc="0" normalizeH="0" baseline="0" noProof="0" dirty="0">
                  <a:ln>
                    <a:noFill/>
                  </a:ln>
                  <a:solidFill>
                    <a:srgbClr val="808080"/>
                  </a:solidFill>
                  <a:effectLst/>
                  <a:uLnTx/>
                  <a:uFillTx/>
                  <a:latin typeface="EYInterstate Light"/>
                  <a:ea typeface="+mn-ea"/>
                  <a:cs typeface="+mn-cs"/>
                </a:endParaRPr>
              </a:p>
            </p:txBody>
          </p:sp>
          <p:sp>
            <p:nvSpPr>
              <p:cNvPr id="26" name="Oval 25">
                <a:extLst>
                  <a:ext uri="{FF2B5EF4-FFF2-40B4-BE49-F238E27FC236}">
                    <a16:creationId xmlns:a16="http://schemas.microsoft.com/office/drawing/2014/main" id="{63F17705-1771-476D-8773-2119A7171EEF}"/>
                  </a:ext>
                </a:extLst>
              </p:cNvPr>
              <p:cNvSpPr/>
              <p:nvPr/>
            </p:nvSpPr>
            <p:spPr>
              <a:xfrm>
                <a:off x="7754149" y="2517973"/>
                <a:ext cx="130969" cy="130968"/>
              </a:xfrm>
              <a:prstGeom prst="ellipse">
                <a:avLst/>
              </a:prstGeom>
              <a:grpFill/>
              <a:ln>
                <a:noFill/>
              </a:ln>
            </p:spPr>
            <p:txBody>
              <a:bodyPr wrap="square" rtlCol="0" anchor="ctr">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428" b="0" i="0" u="none" strike="noStrike" kern="0" cap="none" spc="0" normalizeH="0" baseline="0" noProof="0" dirty="0">
                  <a:ln>
                    <a:noFill/>
                  </a:ln>
                  <a:solidFill>
                    <a:srgbClr val="808080"/>
                  </a:solidFill>
                  <a:effectLst/>
                  <a:uLnTx/>
                  <a:uFillTx/>
                  <a:latin typeface="EYInterstate Light"/>
                  <a:ea typeface="+mn-ea"/>
                  <a:cs typeface="+mn-cs"/>
                </a:endParaRPr>
              </a:p>
            </p:txBody>
          </p:sp>
          <p:sp>
            <p:nvSpPr>
              <p:cNvPr id="27" name="Trapezoid 26">
                <a:extLst>
                  <a:ext uri="{FF2B5EF4-FFF2-40B4-BE49-F238E27FC236}">
                    <a16:creationId xmlns:a16="http://schemas.microsoft.com/office/drawing/2014/main" id="{17976839-956B-477B-B8A7-35B1E7FD0A12}"/>
                  </a:ext>
                </a:extLst>
              </p:cNvPr>
              <p:cNvSpPr/>
              <p:nvPr/>
            </p:nvSpPr>
            <p:spPr>
              <a:xfrm>
                <a:off x="7663661" y="2583457"/>
                <a:ext cx="314184" cy="188516"/>
              </a:xfrm>
              <a:prstGeom prst="trapezoid">
                <a:avLst>
                  <a:gd name="adj" fmla="val 68709"/>
                </a:avLst>
              </a:prstGeom>
              <a:grpFill/>
              <a:ln>
                <a:noFill/>
              </a:ln>
            </p:spPr>
            <p:txBody>
              <a:bodyPr wrap="square" rtlCol="0" anchor="ctr">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428" b="0" i="0" u="none" strike="noStrike" kern="0" cap="none" spc="0" normalizeH="0" baseline="0" noProof="0" dirty="0">
                  <a:ln>
                    <a:noFill/>
                  </a:ln>
                  <a:solidFill>
                    <a:srgbClr val="808080"/>
                  </a:solidFill>
                  <a:effectLst/>
                  <a:uLnTx/>
                  <a:uFillTx/>
                  <a:latin typeface="EYInterstate Light"/>
                  <a:ea typeface="+mn-ea"/>
                  <a:cs typeface="+mn-cs"/>
                </a:endParaRPr>
              </a:p>
            </p:txBody>
          </p:sp>
          <p:sp>
            <p:nvSpPr>
              <p:cNvPr id="28" name="Rectangle 27">
                <a:extLst>
                  <a:ext uri="{FF2B5EF4-FFF2-40B4-BE49-F238E27FC236}">
                    <a16:creationId xmlns:a16="http://schemas.microsoft.com/office/drawing/2014/main" id="{3C8E3CC2-3EEB-40C8-A302-8AD73F0F5151}"/>
                  </a:ext>
                </a:extLst>
              </p:cNvPr>
              <p:cNvSpPr/>
              <p:nvPr/>
            </p:nvSpPr>
            <p:spPr>
              <a:xfrm>
                <a:off x="7639051" y="2769592"/>
                <a:ext cx="362825" cy="45719"/>
              </a:xfrm>
              <a:prstGeom prst="rect">
                <a:avLst/>
              </a:prstGeom>
              <a:grpFill/>
            </p:spPr>
            <p:txBody>
              <a:bodyPr wrap="square" rtlCol="0" anchor="ctr">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428" b="0" i="0" u="none" strike="noStrike" kern="0" cap="none" spc="0" normalizeH="0" baseline="0" noProof="0" dirty="0">
                  <a:ln>
                    <a:noFill/>
                  </a:ln>
                  <a:solidFill>
                    <a:srgbClr val="808080"/>
                  </a:solidFill>
                  <a:effectLst/>
                  <a:uLnTx/>
                  <a:uFillTx/>
                  <a:latin typeface="EYInterstate Light"/>
                  <a:ea typeface="+mn-ea"/>
                  <a:cs typeface="+mn-cs"/>
                </a:endParaRPr>
              </a:p>
            </p:txBody>
          </p:sp>
        </p:grpSp>
        <p:sp>
          <p:nvSpPr>
            <p:cNvPr id="22" name="TextBox 21">
              <a:extLst>
                <a:ext uri="{FF2B5EF4-FFF2-40B4-BE49-F238E27FC236}">
                  <a16:creationId xmlns:a16="http://schemas.microsoft.com/office/drawing/2014/main" id="{D31E65A6-D1F5-40F9-A3AE-AA6FECFD2B5B}"/>
                </a:ext>
              </a:extLst>
            </p:cNvPr>
            <p:cNvSpPr txBox="1"/>
            <p:nvPr/>
          </p:nvSpPr>
          <p:spPr>
            <a:xfrm>
              <a:off x="9804597" y="1663400"/>
              <a:ext cx="192970" cy="164401"/>
            </a:xfrm>
            <a:prstGeom prst="rect">
              <a:avLst/>
            </a:prstGeom>
            <a:noFill/>
            <a:ln>
              <a:noFill/>
            </a:ln>
          </p:spPr>
          <p:txBody>
            <a:bodyPr wrap="square" lIns="0" rIns="0" rtlCol="0">
              <a:noAutofit/>
            </a:bodyPr>
            <a:lstStyle/>
            <a:p>
              <a:pPr marL="0" marR="0" lvl="0" indent="0" algn="ctr" defTabSz="914400" rtl="0" eaLnBrk="1" fontAlgn="base" latinLnBrk="0" hangingPunct="1">
                <a:lnSpc>
                  <a:spcPts val="1049"/>
                </a:lnSpc>
                <a:spcBef>
                  <a:spcPct val="0"/>
                </a:spcBef>
                <a:spcAft>
                  <a:spcPct val="0"/>
                </a:spcAft>
                <a:buClrTx/>
                <a:buSzTx/>
                <a:buFontTx/>
                <a:buNone/>
                <a:tabLst/>
                <a:defRPr/>
              </a:pPr>
              <a:r>
                <a:rPr kumimoji="0" lang="en-US" sz="684" b="1" i="0" u="none" strike="noStrike" kern="0" cap="none" spc="0" normalizeH="0" baseline="0" noProof="0" dirty="0" err="1">
                  <a:ln>
                    <a:noFill/>
                  </a:ln>
                  <a:solidFill>
                    <a:srgbClr val="FFE600"/>
                  </a:solidFill>
                  <a:effectLst/>
                  <a:uLnTx/>
                  <a:uFillTx/>
                  <a:latin typeface="EYInterstate Regular" pitchFamily="1" charset="0"/>
                  <a:ea typeface="+mn-ea"/>
                  <a:cs typeface="+mn-cs"/>
                </a:rPr>
                <a:t>Ey</a:t>
              </a:r>
              <a:endParaRPr kumimoji="0" lang="en-US" sz="684" b="1" i="0" u="none" strike="noStrike" kern="0" cap="none" spc="0" normalizeH="0" baseline="0" noProof="0" dirty="0">
                <a:ln>
                  <a:noFill/>
                </a:ln>
                <a:solidFill>
                  <a:srgbClr val="FFE600"/>
                </a:solidFill>
                <a:effectLst/>
                <a:uLnTx/>
                <a:uFillTx/>
                <a:latin typeface="EYInterstate Regular" pitchFamily="1" charset="0"/>
                <a:ea typeface="+mn-ea"/>
                <a:cs typeface="+mn-cs"/>
              </a:endParaRPr>
            </a:p>
          </p:txBody>
        </p:sp>
      </p:grpSp>
      <p:sp>
        <p:nvSpPr>
          <p:cNvPr id="40" name="Title 1">
            <a:extLst>
              <a:ext uri="{FF2B5EF4-FFF2-40B4-BE49-F238E27FC236}">
                <a16:creationId xmlns:a16="http://schemas.microsoft.com/office/drawing/2014/main" id="{F7C32F01-64AB-40F6-9D53-61A729B2B3B2}"/>
              </a:ext>
            </a:extLst>
          </p:cNvPr>
          <p:cNvSpPr txBox="1">
            <a:spLocks/>
          </p:cNvSpPr>
          <p:nvPr/>
        </p:nvSpPr>
        <p:spPr bwMode="auto">
          <a:xfrm>
            <a:off x="7883587" y="1651204"/>
            <a:ext cx="3270533" cy="4841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algn="l" defTabSz="995363" rtl="0" eaLnBrk="1" fontAlgn="base" hangingPunct="1">
              <a:lnSpc>
                <a:spcPct val="85000"/>
              </a:lnSpc>
              <a:spcBef>
                <a:spcPct val="0"/>
              </a:spcBef>
              <a:spcAft>
                <a:spcPct val="0"/>
              </a:spcAft>
              <a:defRPr sz="2400">
                <a:solidFill>
                  <a:schemeClr val="accent1"/>
                </a:solidFill>
                <a:latin typeface="EYInterstate" panose="02000503020000020004" pitchFamily="2" charset="0"/>
                <a:ea typeface="+mj-ea"/>
                <a:cs typeface="+mj-cs"/>
              </a:defRPr>
            </a:lvl1pPr>
            <a:lvl2pPr algn="l" defTabSz="995363" rtl="0" eaLnBrk="1" fontAlgn="base" hangingPunct="1">
              <a:lnSpc>
                <a:spcPts val="2938"/>
              </a:lnSpc>
              <a:spcBef>
                <a:spcPct val="0"/>
              </a:spcBef>
              <a:spcAft>
                <a:spcPct val="0"/>
              </a:spcAft>
              <a:defRPr sz="2400">
                <a:solidFill>
                  <a:schemeClr val="tx1"/>
                </a:solidFill>
                <a:latin typeface="EYInterstate" pitchFamily="2" charset="0"/>
              </a:defRPr>
            </a:lvl2pPr>
            <a:lvl3pPr algn="l" defTabSz="995363" rtl="0" eaLnBrk="1" fontAlgn="base" hangingPunct="1">
              <a:lnSpc>
                <a:spcPts val="2938"/>
              </a:lnSpc>
              <a:spcBef>
                <a:spcPct val="0"/>
              </a:spcBef>
              <a:spcAft>
                <a:spcPct val="0"/>
              </a:spcAft>
              <a:defRPr sz="2400">
                <a:solidFill>
                  <a:schemeClr val="tx1"/>
                </a:solidFill>
                <a:latin typeface="EYInterstate" pitchFamily="2" charset="0"/>
              </a:defRPr>
            </a:lvl3pPr>
            <a:lvl4pPr algn="l" defTabSz="995363" rtl="0" eaLnBrk="1" fontAlgn="base" hangingPunct="1">
              <a:lnSpc>
                <a:spcPts val="2938"/>
              </a:lnSpc>
              <a:spcBef>
                <a:spcPct val="0"/>
              </a:spcBef>
              <a:spcAft>
                <a:spcPct val="0"/>
              </a:spcAft>
              <a:defRPr sz="2400">
                <a:solidFill>
                  <a:schemeClr val="tx1"/>
                </a:solidFill>
                <a:latin typeface="EYInterstate" pitchFamily="2" charset="0"/>
              </a:defRPr>
            </a:lvl4pPr>
            <a:lvl5pPr algn="l" defTabSz="995363" rtl="0" eaLnBrk="1" fontAlgn="base" hangingPunct="1">
              <a:lnSpc>
                <a:spcPts val="2938"/>
              </a:lnSpc>
              <a:spcBef>
                <a:spcPct val="0"/>
              </a:spcBef>
              <a:spcAft>
                <a:spcPct val="0"/>
              </a:spcAft>
              <a:defRPr sz="2400">
                <a:solidFill>
                  <a:schemeClr val="tx1"/>
                </a:solidFill>
                <a:latin typeface="EYInterstate" pitchFamily="2" charset="0"/>
              </a:defRPr>
            </a:lvl5pPr>
            <a:lvl6pPr marL="457200" algn="l" defTabSz="995363" rtl="0" eaLnBrk="1" fontAlgn="base" hangingPunct="1">
              <a:lnSpc>
                <a:spcPts val="2938"/>
              </a:lnSpc>
              <a:spcBef>
                <a:spcPct val="0"/>
              </a:spcBef>
              <a:spcAft>
                <a:spcPct val="0"/>
              </a:spcAft>
              <a:defRPr sz="2400">
                <a:solidFill>
                  <a:schemeClr val="tx1"/>
                </a:solidFill>
                <a:latin typeface="EYInterstate" pitchFamily="2" charset="0"/>
              </a:defRPr>
            </a:lvl6pPr>
            <a:lvl7pPr marL="914400" algn="l" defTabSz="995363" rtl="0" eaLnBrk="1" fontAlgn="base" hangingPunct="1">
              <a:lnSpc>
                <a:spcPts val="2938"/>
              </a:lnSpc>
              <a:spcBef>
                <a:spcPct val="0"/>
              </a:spcBef>
              <a:spcAft>
                <a:spcPct val="0"/>
              </a:spcAft>
              <a:defRPr sz="2400">
                <a:solidFill>
                  <a:schemeClr val="tx1"/>
                </a:solidFill>
                <a:latin typeface="EYInterstate" pitchFamily="2" charset="0"/>
              </a:defRPr>
            </a:lvl7pPr>
            <a:lvl8pPr marL="1371600" algn="l" defTabSz="995363" rtl="0" eaLnBrk="1" fontAlgn="base" hangingPunct="1">
              <a:lnSpc>
                <a:spcPts val="2938"/>
              </a:lnSpc>
              <a:spcBef>
                <a:spcPct val="0"/>
              </a:spcBef>
              <a:spcAft>
                <a:spcPct val="0"/>
              </a:spcAft>
              <a:defRPr sz="2400">
                <a:solidFill>
                  <a:schemeClr val="tx1"/>
                </a:solidFill>
                <a:latin typeface="EYInterstate" pitchFamily="2" charset="0"/>
              </a:defRPr>
            </a:lvl8pPr>
            <a:lvl9pPr marL="1828800" algn="l" defTabSz="995363" rtl="0" eaLnBrk="1" fontAlgn="base" hangingPunct="1">
              <a:lnSpc>
                <a:spcPts val="2938"/>
              </a:lnSpc>
              <a:spcBef>
                <a:spcPct val="0"/>
              </a:spcBef>
              <a:spcAft>
                <a:spcPct val="0"/>
              </a:spcAft>
              <a:defRPr sz="2400">
                <a:solidFill>
                  <a:schemeClr val="tx1"/>
                </a:solidFill>
                <a:latin typeface="EYInterstate" pitchFamily="2" charset="0"/>
              </a:defRPr>
            </a:lvl9pPr>
          </a:lstStyle>
          <a:p>
            <a:pPr marL="0" marR="0" lvl="0" indent="0" algn="ctr" defTabSz="995363" rtl="0" eaLnBrk="1" fontAlgn="base" latinLnBrk="0" hangingPunct="1">
              <a:lnSpc>
                <a:spcPct val="85000"/>
              </a:lnSpc>
              <a:spcBef>
                <a:spcPct val="0"/>
              </a:spcBef>
              <a:spcAft>
                <a:spcPts val="513"/>
              </a:spcAft>
              <a:buClr>
                <a:srgbClr val="FFE600"/>
              </a:buClr>
              <a:buSzPct val="70000"/>
              <a:buFontTx/>
              <a:buNone/>
              <a:tabLst/>
              <a:defRPr/>
            </a:pPr>
            <a:r>
              <a:rPr kumimoji="0" lang="en-US" sz="1400" b="1" i="0" u="none" strike="noStrike" kern="0" cap="none" spc="0" normalizeH="0" baseline="0" noProof="0" dirty="0">
                <a:ln>
                  <a:noFill/>
                </a:ln>
                <a:solidFill>
                  <a:srgbClr val="FFFFFF"/>
                </a:solidFill>
                <a:effectLst/>
                <a:uLnTx/>
                <a:uFillTx/>
                <a:latin typeface="EYInterstate" panose="02000503020000020004" pitchFamily="2" charset="0"/>
                <a:ea typeface="+mj-ea"/>
                <a:cs typeface="+mj-cs"/>
              </a:rPr>
              <a:t>EY recognized as a market leader</a:t>
            </a:r>
          </a:p>
          <a:p>
            <a:pPr marL="0" marR="0" lvl="0" indent="0" algn="ctr" defTabSz="995363" rtl="0" eaLnBrk="1" fontAlgn="base" latinLnBrk="0" hangingPunct="1">
              <a:lnSpc>
                <a:spcPct val="85000"/>
              </a:lnSpc>
              <a:spcBef>
                <a:spcPct val="0"/>
              </a:spcBef>
              <a:spcAft>
                <a:spcPts val="513"/>
              </a:spcAft>
              <a:buClr>
                <a:srgbClr val="FFE600"/>
              </a:buClr>
              <a:buSzPct val="70000"/>
              <a:buFontTx/>
              <a:buNone/>
              <a:tabLst/>
              <a:defRPr/>
            </a:pPr>
            <a:r>
              <a:rPr kumimoji="0" lang="en-US" sz="1400" b="1" i="0" u="none" strike="noStrike" kern="0" cap="none" spc="0" normalizeH="0" baseline="0" noProof="0" dirty="0">
                <a:ln>
                  <a:noFill/>
                </a:ln>
                <a:solidFill>
                  <a:srgbClr val="FFFFFF"/>
                </a:solidFill>
                <a:effectLst/>
                <a:uLnTx/>
                <a:uFillTx/>
                <a:latin typeface="EYInterstate" panose="02000503020000020004" pitchFamily="2" charset="0"/>
                <a:ea typeface="+mj-ea"/>
                <a:cs typeface="+mj-cs"/>
              </a:rPr>
              <a:t>In D&amp;A consulting</a:t>
            </a:r>
          </a:p>
        </p:txBody>
      </p:sp>
      <p:grpSp>
        <p:nvGrpSpPr>
          <p:cNvPr id="41" name="Group 40">
            <a:extLst>
              <a:ext uri="{FF2B5EF4-FFF2-40B4-BE49-F238E27FC236}">
                <a16:creationId xmlns:a16="http://schemas.microsoft.com/office/drawing/2014/main" id="{3E4C9E7B-44DC-4F48-98FE-229F342B3073}"/>
              </a:ext>
            </a:extLst>
          </p:cNvPr>
          <p:cNvGrpSpPr/>
          <p:nvPr/>
        </p:nvGrpSpPr>
        <p:grpSpPr>
          <a:xfrm>
            <a:off x="8280287" y="5325890"/>
            <a:ext cx="2461261" cy="793578"/>
            <a:chOff x="6503927" y="4244915"/>
            <a:chExt cx="2461261" cy="793578"/>
          </a:xfrm>
        </p:grpSpPr>
        <p:sp>
          <p:nvSpPr>
            <p:cNvPr id="42" name="TextBox 7">
              <a:hlinkClick r:id="rId8"/>
              <a:extLst>
                <a:ext uri="{FF2B5EF4-FFF2-40B4-BE49-F238E27FC236}">
                  <a16:creationId xmlns:a16="http://schemas.microsoft.com/office/drawing/2014/main" id="{2EBB5DFA-03B6-49FB-A1A5-9F6F57BDA8E2}"/>
                </a:ext>
              </a:extLst>
            </p:cNvPr>
            <p:cNvSpPr txBox="1"/>
            <p:nvPr/>
          </p:nvSpPr>
          <p:spPr>
            <a:xfrm>
              <a:off x="6503927" y="4422136"/>
              <a:ext cx="2461261" cy="616357"/>
            </a:xfrm>
            <a:prstGeom prst="rect">
              <a:avLst/>
            </a:prstGeom>
            <a:noFill/>
          </p:spPr>
          <p:txBody>
            <a:bodyPr wrap="square" lIns="0" tIns="31276"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E600"/>
                </a:buClr>
                <a:buSzPct val="70000"/>
                <a:buFontTx/>
                <a:buNone/>
                <a:tabLst/>
                <a:defRPr/>
              </a:pPr>
              <a:r>
                <a:rPr kumimoji="0" lang="en-US" sz="950" b="1" i="0" u="none" strike="noStrike" kern="1200" cap="none" spc="0" normalizeH="0" baseline="0" noProof="0" dirty="0">
                  <a:ln>
                    <a:noFill/>
                  </a:ln>
                  <a:solidFill>
                    <a:srgbClr val="646464"/>
                  </a:solidFill>
                  <a:effectLst/>
                  <a:uLnTx/>
                  <a:uFillTx/>
                  <a:latin typeface="EYInterstate" panose="02000503020000020004" pitchFamily="2" charset="0"/>
                  <a:ea typeface="+mn-ea"/>
                  <a:cs typeface="+mn-cs"/>
                </a:rPr>
                <a:t> 2018 </a:t>
              </a:r>
            </a:p>
            <a:p>
              <a:pPr marL="0" marR="0" lvl="0" indent="0" algn="ctr" defTabSz="914400" rtl="0" eaLnBrk="1" fontAlgn="auto" latinLnBrk="0" hangingPunct="1">
                <a:lnSpc>
                  <a:spcPct val="100000"/>
                </a:lnSpc>
                <a:spcBef>
                  <a:spcPts val="0"/>
                </a:spcBef>
                <a:spcAft>
                  <a:spcPts val="0"/>
                </a:spcAft>
                <a:buClr>
                  <a:srgbClr val="FFE600"/>
                </a:buClr>
                <a:buSzPct val="70000"/>
                <a:buFontTx/>
                <a:buNone/>
                <a:tabLst/>
                <a:defRPr/>
              </a:pPr>
              <a:r>
                <a:rPr kumimoji="0" lang="en-US" sz="950" b="1" i="0" u="none" strike="noStrike" kern="1200" cap="none" spc="0" normalizeH="0" baseline="0" noProof="0" dirty="0">
                  <a:ln>
                    <a:noFill/>
                  </a:ln>
                  <a:solidFill>
                    <a:srgbClr val="646464"/>
                  </a:solidFill>
                  <a:effectLst/>
                  <a:uLnTx/>
                  <a:uFillTx/>
                  <a:latin typeface="EYInterstate" panose="02000503020000020004" pitchFamily="2" charset="0"/>
                  <a:ea typeface="+mn-ea"/>
                  <a:cs typeface="+mn-cs"/>
                </a:rPr>
                <a:t>Certifications in platinum for delivery</a:t>
              </a:r>
              <a:br>
                <a:rPr kumimoji="0" lang="en-US" sz="950" b="1" i="0" u="none" strike="noStrike" kern="1200" cap="none" spc="0" normalizeH="0" baseline="0" noProof="0" dirty="0">
                  <a:ln>
                    <a:noFill/>
                  </a:ln>
                  <a:solidFill>
                    <a:srgbClr val="646464"/>
                  </a:solidFill>
                  <a:effectLst/>
                  <a:uLnTx/>
                  <a:uFillTx/>
                  <a:latin typeface="EYInterstate" panose="02000503020000020004" pitchFamily="2" charset="0"/>
                  <a:ea typeface="+mn-ea"/>
                  <a:cs typeface="+mn-cs"/>
                </a:rPr>
              </a:br>
              <a:r>
                <a:rPr kumimoji="0" lang="en-US" sz="950" b="1" i="0" u="none" strike="noStrike" kern="1200" cap="none" spc="0" normalizeH="0" baseline="0" noProof="0" dirty="0">
                  <a:ln>
                    <a:noFill/>
                  </a:ln>
                  <a:solidFill>
                    <a:srgbClr val="646464"/>
                  </a:solidFill>
                  <a:effectLst/>
                  <a:uLnTx/>
                  <a:uFillTx/>
                  <a:latin typeface="EYInterstate" panose="02000503020000020004" pitchFamily="2" charset="0"/>
                  <a:ea typeface="+mn-ea"/>
                  <a:cs typeface="+mn-cs"/>
                </a:rPr>
                <a:t>and gold for capability</a:t>
              </a:r>
              <a:br>
                <a:rPr kumimoji="0" lang="pl-PL" sz="950" b="1" i="0" u="none" strike="noStrike" kern="1200" cap="none" spc="0" normalizeH="0" baseline="0" noProof="0" dirty="0">
                  <a:ln>
                    <a:noFill/>
                  </a:ln>
                  <a:solidFill>
                    <a:srgbClr val="646464"/>
                  </a:solidFill>
                  <a:effectLst/>
                  <a:uLnTx/>
                  <a:uFillTx/>
                  <a:latin typeface="EYInterstate" panose="02000503020000020004" pitchFamily="2" charset="0"/>
                  <a:ea typeface="+mn-ea"/>
                  <a:cs typeface="+mn-cs"/>
                </a:rPr>
              </a:br>
              <a:r>
                <a:rPr kumimoji="0" lang="pl-PL" sz="950" b="0" i="1" u="none" strike="noStrike" kern="1200" cap="none" spc="0" normalizeH="0" baseline="0" noProof="0" dirty="0">
                  <a:ln>
                    <a:noFill/>
                  </a:ln>
                  <a:solidFill>
                    <a:srgbClr val="646464"/>
                  </a:solidFill>
                  <a:effectLst/>
                  <a:uLnTx/>
                  <a:uFillTx/>
                  <a:latin typeface="EYInterstate" panose="02000503020000020004" pitchFamily="2" charset="0"/>
                  <a:ea typeface="+mn-ea"/>
                  <a:cs typeface="+mn-cs"/>
                </a:rPr>
                <a:t>(</a:t>
              </a:r>
              <a:r>
                <a:rPr kumimoji="0" lang="en-US" sz="950" b="0" i="1" u="none" strike="noStrike" kern="1200" cap="none" spc="0" normalizeH="0" baseline="0" noProof="0" dirty="0">
                  <a:ln>
                    <a:noFill/>
                  </a:ln>
                  <a:solidFill>
                    <a:srgbClr val="646464"/>
                  </a:solidFill>
                  <a:effectLst/>
                  <a:uLnTx/>
                  <a:uFillTx/>
                  <a:latin typeface="EYInterstate" panose="02000503020000020004" pitchFamily="2" charset="0"/>
                  <a:ea typeface="+mn-ea"/>
                  <a:cs typeface="+mn-cs"/>
                </a:rPr>
                <a:t>implementing </a:t>
              </a:r>
              <a:r>
                <a:rPr kumimoji="0" lang="en-US" sz="950" b="0" i="1" u="none" strike="noStrike" kern="1200" cap="none" spc="0" normalizeH="0" baseline="0" noProof="0" dirty="0" err="1">
                  <a:ln>
                    <a:noFill/>
                  </a:ln>
                  <a:solidFill>
                    <a:srgbClr val="646464"/>
                  </a:solidFill>
                  <a:effectLst/>
                  <a:uLnTx/>
                  <a:uFillTx/>
                  <a:latin typeface="EYInterstate" panose="02000503020000020004" pitchFamily="2" charset="0"/>
                  <a:ea typeface="+mn-ea"/>
                  <a:cs typeface="+mn-cs"/>
                </a:rPr>
                <a:t>rpa</a:t>
              </a:r>
              <a:r>
                <a:rPr kumimoji="0" lang="en-US" sz="950" b="0" i="1" u="none" strike="noStrike" kern="1200" cap="none" spc="0" normalizeH="0" baseline="0" noProof="0" dirty="0">
                  <a:ln>
                    <a:noFill/>
                  </a:ln>
                  <a:solidFill>
                    <a:srgbClr val="646464"/>
                  </a:solidFill>
                  <a:effectLst/>
                  <a:uLnTx/>
                  <a:uFillTx/>
                  <a:latin typeface="EYInterstate" panose="02000503020000020004" pitchFamily="2" charset="0"/>
                  <a:ea typeface="+mn-ea"/>
                  <a:cs typeface="+mn-cs"/>
                </a:rPr>
                <a:t>)</a:t>
              </a:r>
            </a:p>
          </p:txBody>
        </p:sp>
        <p:pic>
          <p:nvPicPr>
            <p:cNvPr id="43" name="Picture 42">
              <a:hlinkClick r:id="rId8"/>
              <a:extLst>
                <a:ext uri="{FF2B5EF4-FFF2-40B4-BE49-F238E27FC236}">
                  <a16:creationId xmlns:a16="http://schemas.microsoft.com/office/drawing/2014/main" id="{C3C2074A-2AEB-456B-A08D-F66682052268}"/>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7245067" y="4244915"/>
              <a:ext cx="978980" cy="170639"/>
            </a:xfrm>
            <a:prstGeom prst="rect">
              <a:avLst/>
            </a:prstGeom>
          </p:spPr>
        </p:pic>
      </p:grpSp>
      <p:grpSp>
        <p:nvGrpSpPr>
          <p:cNvPr id="44" name="Group 43">
            <a:extLst>
              <a:ext uri="{FF2B5EF4-FFF2-40B4-BE49-F238E27FC236}">
                <a16:creationId xmlns:a16="http://schemas.microsoft.com/office/drawing/2014/main" id="{4680761B-04FF-4719-B41C-AF53438711DF}"/>
              </a:ext>
            </a:extLst>
          </p:cNvPr>
          <p:cNvGrpSpPr/>
          <p:nvPr/>
        </p:nvGrpSpPr>
        <p:grpSpPr>
          <a:xfrm>
            <a:off x="8422394" y="6424268"/>
            <a:ext cx="2177047" cy="636219"/>
            <a:chOff x="6602580" y="3379069"/>
            <a:chExt cx="2177047" cy="636219"/>
          </a:xfrm>
        </p:grpSpPr>
        <p:sp>
          <p:nvSpPr>
            <p:cNvPr id="45" name="TextBox 7">
              <a:hlinkClick r:id="rId10"/>
              <a:extLst>
                <a:ext uri="{FF2B5EF4-FFF2-40B4-BE49-F238E27FC236}">
                  <a16:creationId xmlns:a16="http://schemas.microsoft.com/office/drawing/2014/main" id="{0B902C9A-9497-417C-9A66-D91116811DAC}"/>
                </a:ext>
              </a:extLst>
            </p:cNvPr>
            <p:cNvSpPr txBox="1"/>
            <p:nvPr/>
          </p:nvSpPr>
          <p:spPr>
            <a:xfrm>
              <a:off x="6602580" y="3545125"/>
              <a:ext cx="2177047" cy="470163"/>
            </a:xfrm>
            <a:prstGeom prst="rect">
              <a:avLst/>
            </a:prstGeom>
            <a:noFill/>
          </p:spPr>
          <p:txBody>
            <a:bodyPr wrap="square" lIns="0" tIns="31276"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E600"/>
                </a:buClr>
                <a:buSzPct val="70000"/>
                <a:buFontTx/>
                <a:buNone/>
                <a:tabLst/>
                <a:defRPr/>
              </a:pPr>
              <a:r>
                <a:rPr kumimoji="0" lang="en-US" sz="950" b="1" i="0" u="none" strike="noStrike" kern="1200" cap="none" spc="0" normalizeH="0" baseline="0" noProof="0" dirty="0">
                  <a:ln>
                    <a:noFill/>
                  </a:ln>
                  <a:solidFill>
                    <a:srgbClr val="646464"/>
                  </a:solidFill>
                  <a:effectLst/>
                  <a:uLnTx/>
                  <a:uFillTx/>
                  <a:latin typeface="EYInterstate" panose="02000503020000020004" pitchFamily="2" charset="0"/>
                  <a:ea typeface="+mn-ea"/>
                  <a:cs typeface="+mn-cs"/>
                </a:rPr>
                <a:t> 2018</a:t>
              </a:r>
            </a:p>
            <a:p>
              <a:pPr marL="0" marR="0" lvl="0" indent="0" algn="ctr" defTabSz="914400" rtl="0" eaLnBrk="1" fontAlgn="auto" latinLnBrk="0" hangingPunct="1">
                <a:lnSpc>
                  <a:spcPct val="100000"/>
                </a:lnSpc>
                <a:spcBef>
                  <a:spcPts val="0"/>
                </a:spcBef>
                <a:spcAft>
                  <a:spcPts val="0"/>
                </a:spcAft>
                <a:buClr>
                  <a:srgbClr val="FFE600"/>
                </a:buClr>
                <a:buSzPct val="70000"/>
                <a:buFontTx/>
                <a:buNone/>
                <a:tabLst/>
                <a:defRPr/>
              </a:pPr>
              <a:r>
                <a:rPr kumimoji="0" lang="en-US" sz="950" b="1" i="0" u="none" strike="noStrike" kern="1200" cap="none" spc="0" normalizeH="0" baseline="0" noProof="0" dirty="0">
                  <a:ln>
                    <a:noFill/>
                  </a:ln>
                  <a:solidFill>
                    <a:srgbClr val="000000">
                      <a:lumMod val="65000"/>
                      <a:lumOff val="35000"/>
                    </a:srgbClr>
                  </a:solidFill>
                  <a:effectLst/>
                  <a:uLnTx/>
                  <a:uFillTx/>
                  <a:latin typeface="EYInterstate" panose="02000503020000020004" pitchFamily="2" charset="0"/>
                  <a:ea typeface="+mn-ea"/>
                  <a:cs typeface="+mn-cs"/>
                </a:rPr>
                <a:t>Leader in innovation consulting</a:t>
              </a:r>
              <a:br>
                <a:rPr kumimoji="0" lang="pl-PL" sz="950" b="1" i="0" u="none" strike="noStrike" kern="1200" cap="none" spc="0" normalizeH="0" baseline="0" noProof="0" dirty="0">
                  <a:ln>
                    <a:noFill/>
                  </a:ln>
                  <a:solidFill>
                    <a:srgbClr val="000000">
                      <a:lumMod val="65000"/>
                      <a:lumOff val="35000"/>
                    </a:srgbClr>
                  </a:solidFill>
                  <a:effectLst/>
                  <a:uLnTx/>
                  <a:uFillTx/>
                  <a:latin typeface="EYInterstate" panose="02000503020000020004" pitchFamily="2" charset="0"/>
                  <a:ea typeface="+mn-ea"/>
                  <a:cs typeface="+mn-cs"/>
                </a:rPr>
              </a:br>
              <a:r>
                <a:rPr kumimoji="0" lang="pl-PL" sz="950" b="0" i="1" u="none" strike="noStrike" kern="1200" cap="none" spc="0" normalizeH="0" baseline="0" noProof="0" dirty="0">
                  <a:ln>
                    <a:noFill/>
                  </a:ln>
                  <a:solidFill>
                    <a:srgbClr val="646464"/>
                  </a:solidFill>
                  <a:effectLst/>
                  <a:uLnTx/>
                  <a:uFillTx/>
                  <a:latin typeface="EYInterstate" panose="02000503020000020004" pitchFamily="2" charset="0"/>
                  <a:ea typeface="+mn-ea"/>
                  <a:cs typeface="+mn-cs"/>
                </a:rPr>
                <a:t>(</a:t>
              </a:r>
              <a:r>
                <a:rPr kumimoji="0" lang="en-US" sz="950" b="0" i="1" u="none" strike="noStrike" kern="1200" cap="none" spc="0" normalizeH="0" baseline="0" noProof="0" dirty="0">
                  <a:ln>
                    <a:noFill/>
                  </a:ln>
                  <a:solidFill>
                    <a:srgbClr val="646464"/>
                  </a:solidFill>
                  <a:effectLst/>
                  <a:uLnTx/>
                  <a:uFillTx/>
                  <a:latin typeface="EYInterstate" panose="02000503020000020004" pitchFamily="2" charset="0"/>
                  <a:ea typeface="+mn-ea"/>
                  <a:cs typeface="+mn-cs"/>
                </a:rPr>
                <a:t>for focusing from ideation to scale)</a:t>
              </a:r>
            </a:p>
          </p:txBody>
        </p:sp>
        <p:pic>
          <p:nvPicPr>
            <p:cNvPr id="46" name="Picture 45">
              <a:hlinkClick r:id="rId10"/>
              <a:extLst>
                <a:ext uri="{FF2B5EF4-FFF2-40B4-BE49-F238E27FC236}">
                  <a16:creationId xmlns:a16="http://schemas.microsoft.com/office/drawing/2014/main" id="{BFAEAED2-33CB-4A77-A79C-B98B05B1BD0B}"/>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7216156" y="3379069"/>
              <a:ext cx="949894" cy="125192"/>
            </a:xfrm>
            <a:prstGeom prst="rect">
              <a:avLst/>
            </a:prstGeom>
          </p:spPr>
        </p:pic>
      </p:grpSp>
      <p:cxnSp>
        <p:nvCxnSpPr>
          <p:cNvPr id="51" name="Gerade Verbindung 10">
            <a:extLst>
              <a:ext uri="{FF2B5EF4-FFF2-40B4-BE49-F238E27FC236}">
                <a16:creationId xmlns:a16="http://schemas.microsoft.com/office/drawing/2014/main" id="{1D6F541E-5493-45ED-BC79-412E72A2AC9D}"/>
              </a:ext>
            </a:extLst>
          </p:cNvPr>
          <p:cNvCxnSpPr>
            <a:cxnSpLocks/>
          </p:cNvCxnSpPr>
          <p:nvPr/>
        </p:nvCxnSpPr>
        <p:spPr bwMode="gray">
          <a:xfrm>
            <a:off x="7841176" y="1383514"/>
            <a:ext cx="0" cy="5943600"/>
          </a:xfrm>
          <a:prstGeom prst="line">
            <a:avLst/>
          </a:prstGeom>
          <a:noFill/>
          <a:ln w="28575" cap="flat" cmpd="sng" algn="ctr">
            <a:solidFill>
              <a:srgbClr val="FFFFFF"/>
            </a:solidFill>
            <a:prstDash val="solid"/>
          </a:ln>
          <a:effectLst/>
        </p:spPr>
      </p:cxnSp>
      <p:cxnSp>
        <p:nvCxnSpPr>
          <p:cNvPr id="52" name="Gerade Verbindung 10">
            <a:extLst>
              <a:ext uri="{FF2B5EF4-FFF2-40B4-BE49-F238E27FC236}">
                <a16:creationId xmlns:a16="http://schemas.microsoft.com/office/drawing/2014/main" id="{5D70DB9C-B210-4D75-8541-45F7B738FF25}"/>
              </a:ext>
            </a:extLst>
          </p:cNvPr>
          <p:cNvCxnSpPr>
            <a:cxnSpLocks/>
          </p:cNvCxnSpPr>
          <p:nvPr/>
        </p:nvCxnSpPr>
        <p:spPr bwMode="gray">
          <a:xfrm>
            <a:off x="11154784" y="1383514"/>
            <a:ext cx="0" cy="5943600"/>
          </a:xfrm>
          <a:prstGeom prst="line">
            <a:avLst/>
          </a:prstGeom>
          <a:noFill/>
          <a:ln w="28575" cap="flat" cmpd="sng" algn="ctr">
            <a:solidFill>
              <a:srgbClr val="FFFFFF"/>
            </a:solidFill>
            <a:prstDash val="solid"/>
          </a:ln>
          <a:effectLst/>
        </p:spPr>
      </p:cxnSp>
      <p:grpSp>
        <p:nvGrpSpPr>
          <p:cNvPr id="54" name="Group 53">
            <a:extLst>
              <a:ext uri="{FF2B5EF4-FFF2-40B4-BE49-F238E27FC236}">
                <a16:creationId xmlns:a16="http://schemas.microsoft.com/office/drawing/2014/main" id="{5F0E59A4-CA20-4A29-9E68-A0566D9298EA}"/>
              </a:ext>
            </a:extLst>
          </p:cNvPr>
          <p:cNvGrpSpPr/>
          <p:nvPr/>
        </p:nvGrpSpPr>
        <p:grpSpPr>
          <a:xfrm>
            <a:off x="8377700" y="3160054"/>
            <a:ext cx="2266435" cy="837568"/>
            <a:chOff x="10792003" y="3796486"/>
            <a:chExt cx="2266435" cy="837568"/>
          </a:xfrm>
        </p:grpSpPr>
        <p:sp>
          <p:nvSpPr>
            <p:cNvPr id="55" name="Rectangle 54">
              <a:extLst>
                <a:ext uri="{FF2B5EF4-FFF2-40B4-BE49-F238E27FC236}">
                  <a16:creationId xmlns:a16="http://schemas.microsoft.com/office/drawing/2014/main" id="{CF991C16-A400-463D-A071-42459D2AA9EF}"/>
                </a:ext>
              </a:extLst>
            </p:cNvPr>
            <p:cNvSpPr/>
            <p:nvPr/>
          </p:nvSpPr>
          <p:spPr>
            <a:xfrm>
              <a:off x="10792003" y="4015423"/>
              <a:ext cx="2266435" cy="618631"/>
            </a:xfrm>
            <a:prstGeom prst="rect">
              <a:avLst/>
            </a:prstGeom>
          </p:spPr>
          <p:txBody>
            <a:bodyPr wrap="square">
              <a:spAutoFit/>
            </a:bodyPr>
            <a:lstStyle/>
            <a:p>
              <a:pPr marL="0" marR="0" lvl="0" indent="0" algn="ctr" defTabSz="1007669" rtl="0" eaLnBrk="1" fontAlgn="auto" latinLnBrk="0" hangingPunct="1">
                <a:lnSpc>
                  <a:spcPct val="90000"/>
                </a:lnSpc>
                <a:spcBef>
                  <a:spcPts val="0"/>
                </a:spcBef>
                <a:spcAft>
                  <a:spcPts val="0"/>
                </a:spcAft>
                <a:buClr>
                  <a:srgbClr val="FFE600"/>
                </a:buClr>
                <a:buSzPct val="70000"/>
                <a:buFontTx/>
                <a:buNone/>
                <a:tabLst/>
                <a:defRPr/>
              </a:pPr>
              <a:r>
                <a:rPr kumimoji="0" lang="en-US" sz="950" b="1" i="0" u="none" strike="noStrike" kern="1200" cap="none" spc="0" normalizeH="0" baseline="0" noProof="0" dirty="0">
                  <a:ln>
                    <a:noFill/>
                  </a:ln>
                  <a:solidFill>
                    <a:srgbClr val="646464"/>
                  </a:solidFill>
                  <a:effectLst/>
                  <a:uLnTx/>
                  <a:uFillTx/>
                  <a:latin typeface="EYInterstate" panose="02000503020000020004" pitchFamily="2" charset="0"/>
                  <a:ea typeface="+mn-ea"/>
                  <a:cs typeface="+mn-cs"/>
                </a:rPr>
                <a:t> 2018-2020</a:t>
              </a:r>
            </a:p>
            <a:p>
              <a:pPr marL="0" marR="0" lvl="0" indent="0" algn="ctr" defTabSz="1007669" rtl="0" eaLnBrk="1" fontAlgn="auto" latinLnBrk="0" hangingPunct="1">
                <a:lnSpc>
                  <a:spcPct val="90000"/>
                </a:lnSpc>
                <a:spcBef>
                  <a:spcPts val="0"/>
                </a:spcBef>
                <a:spcAft>
                  <a:spcPts val="0"/>
                </a:spcAft>
                <a:buClr>
                  <a:srgbClr val="FFE600"/>
                </a:buClr>
                <a:buSzPct val="70000"/>
                <a:buFontTx/>
                <a:buNone/>
                <a:tabLst/>
                <a:defRPr/>
              </a:pPr>
              <a:r>
                <a:rPr kumimoji="0" lang="en-US" sz="950" b="1" i="0" u="none" strike="noStrike" kern="1200" cap="none" spc="0" normalizeH="0" baseline="0" noProof="0" dirty="0">
                  <a:ln>
                    <a:noFill/>
                  </a:ln>
                  <a:solidFill>
                    <a:srgbClr val="646464"/>
                  </a:solidFill>
                  <a:effectLst/>
                  <a:uLnTx/>
                  <a:uFillTx/>
                  <a:latin typeface="EYInterstate" panose="02000503020000020004" pitchFamily="2" charset="0"/>
                  <a:ea typeface="+mn-ea"/>
                  <a:cs typeface="+mn-cs"/>
                </a:rPr>
                <a:t>Leader in magic quadrant for data and analytics services provider worldwide</a:t>
              </a:r>
              <a:endParaRPr kumimoji="0" lang="en-US" sz="950" b="0" i="0" u="none" strike="noStrike" kern="1200" cap="none" spc="0" normalizeH="0" baseline="0" noProof="0" dirty="0">
                <a:ln>
                  <a:noFill/>
                </a:ln>
                <a:solidFill>
                  <a:srgbClr val="646464"/>
                </a:solidFill>
                <a:effectLst/>
                <a:uLnTx/>
                <a:uFillTx/>
                <a:latin typeface="EYInterstate" panose="02000503020000020004" pitchFamily="2" charset="0"/>
                <a:ea typeface="+mn-ea"/>
                <a:cs typeface="+mn-cs"/>
              </a:endParaRPr>
            </a:p>
          </p:txBody>
        </p:sp>
        <p:pic>
          <p:nvPicPr>
            <p:cNvPr id="56" name="Picture 55">
              <a:hlinkClick r:id="rId12"/>
              <a:extLst>
                <a:ext uri="{FF2B5EF4-FFF2-40B4-BE49-F238E27FC236}">
                  <a16:creationId xmlns:a16="http://schemas.microsoft.com/office/drawing/2014/main" id="{40F44B97-C7C2-4ECE-9498-6E5580953AC5}"/>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11494792" y="3796486"/>
              <a:ext cx="864037" cy="248792"/>
            </a:xfrm>
            <a:prstGeom prst="rect">
              <a:avLst/>
            </a:prstGeom>
            <a:noFill/>
            <a:ln>
              <a:noFill/>
            </a:ln>
          </p:spPr>
        </p:pic>
      </p:grpSp>
      <p:grpSp>
        <p:nvGrpSpPr>
          <p:cNvPr id="58" name="Group 57">
            <a:extLst>
              <a:ext uri="{FF2B5EF4-FFF2-40B4-BE49-F238E27FC236}">
                <a16:creationId xmlns:a16="http://schemas.microsoft.com/office/drawing/2014/main" id="{D1C124F0-501C-4851-9347-5D373B6D4227}"/>
              </a:ext>
            </a:extLst>
          </p:cNvPr>
          <p:cNvGrpSpPr/>
          <p:nvPr/>
        </p:nvGrpSpPr>
        <p:grpSpPr>
          <a:xfrm>
            <a:off x="8389509" y="4302422"/>
            <a:ext cx="2242817" cy="718668"/>
            <a:chOff x="8085116" y="4964742"/>
            <a:chExt cx="2242817" cy="718668"/>
          </a:xfrm>
        </p:grpSpPr>
        <p:sp>
          <p:nvSpPr>
            <p:cNvPr id="59" name="TextBox 58">
              <a:hlinkClick r:id="rId14"/>
              <a:extLst>
                <a:ext uri="{FF2B5EF4-FFF2-40B4-BE49-F238E27FC236}">
                  <a16:creationId xmlns:a16="http://schemas.microsoft.com/office/drawing/2014/main" id="{8EB4C50D-DF5C-4589-89E0-AAA69E3B476A}"/>
                </a:ext>
              </a:extLst>
            </p:cNvPr>
            <p:cNvSpPr txBox="1"/>
            <p:nvPr/>
          </p:nvSpPr>
          <p:spPr>
            <a:xfrm>
              <a:off x="8085116" y="5251753"/>
              <a:ext cx="2242817" cy="431657"/>
            </a:xfrm>
            <a:prstGeom prst="rect">
              <a:avLst/>
            </a:prstGeom>
            <a:noFill/>
          </p:spPr>
          <p:txBody>
            <a:bodyPr wrap="square" lIns="0" tIns="36576" rIns="0" bIns="0" rtlCol="0">
              <a:spAutoFit/>
            </a:bodyPr>
            <a:lstStyle/>
            <a:p>
              <a:pPr marL="0" marR="0" lvl="0" indent="0" algn="ctr" defTabSz="1007669" rtl="0" eaLnBrk="1" fontAlgn="auto" latinLnBrk="0" hangingPunct="1">
                <a:lnSpc>
                  <a:spcPct val="90000"/>
                </a:lnSpc>
                <a:spcBef>
                  <a:spcPts val="0"/>
                </a:spcBef>
                <a:spcAft>
                  <a:spcPts val="0"/>
                </a:spcAft>
                <a:buClr>
                  <a:srgbClr val="FFE600"/>
                </a:buClr>
                <a:buSzPct val="70000"/>
                <a:buFontTx/>
                <a:buNone/>
                <a:tabLst/>
                <a:defRPr/>
              </a:pPr>
              <a:r>
                <a:rPr kumimoji="0" lang="en-US" sz="950" b="1" i="0" u="none" strike="noStrike" kern="1200" cap="none" spc="0" normalizeH="0" baseline="0" noProof="0" dirty="0">
                  <a:ln>
                    <a:noFill/>
                  </a:ln>
                  <a:solidFill>
                    <a:srgbClr val="646464"/>
                  </a:solidFill>
                  <a:effectLst/>
                  <a:uLnTx/>
                  <a:uFillTx/>
                  <a:latin typeface="EYInterstate" panose="02000503020000020004" pitchFamily="2" charset="0"/>
                  <a:ea typeface="+mn-ea"/>
                  <a:cs typeface="+mn-cs"/>
                </a:rPr>
                <a:t> 2018</a:t>
              </a:r>
            </a:p>
            <a:p>
              <a:pPr marL="0" marR="0" lvl="0" indent="0" algn="ctr" defTabSz="1007669" rtl="0" eaLnBrk="1" fontAlgn="auto" latinLnBrk="0" hangingPunct="1">
                <a:lnSpc>
                  <a:spcPct val="90000"/>
                </a:lnSpc>
                <a:spcBef>
                  <a:spcPts val="0"/>
                </a:spcBef>
                <a:spcAft>
                  <a:spcPts val="0"/>
                </a:spcAft>
                <a:buClr>
                  <a:srgbClr val="FFE600"/>
                </a:buClr>
                <a:buSzPct val="70000"/>
                <a:buFontTx/>
                <a:buNone/>
                <a:tabLst/>
                <a:defRPr/>
              </a:pPr>
              <a:r>
                <a:rPr kumimoji="0" lang="en-US" sz="950" b="1" i="0" u="none" strike="noStrike" kern="1200" cap="none" spc="0" normalizeH="0" baseline="0" noProof="0" dirty="0">
                  <a:ln>
                    <a:noFill/>
                  </a:ln>
                  <a:solidFill>
                    <a:srgbClr val="646464"/>
                  </a:solidFill>
                  <a:effectLst/>
                  <a:uLnTx/>
                  <a:uFillTx/>
                  <a:latin typeface="EYInterstate" panose="02000503020000020004" pitchFamily="2" charset="0"/>
                  <a:ea typeface="+mn-ea"/>
                  <a:cs typeface="+mn-cs"/>
                </a:rPr>
                <a:t>Worldwide leader in business analytics consulting</a:t>
              </a:r>
            </a:p>
          </p:txBody>
        </p:sp>
        <p:pic>
          <p:nvPicPr>
            <p:cNvPr id="60" name="Picture 59">
              <a:hlinkClick r:id="rId14"/>
              <a:extLst>
                <a:ext uri="{FF2B5EF4-FFF2-40B4-BE49-F238E27FC236}">
                  <a16:creationId xmlns:a16="http://schemas.microsoft.com/office/drawing/2014/main" id="{9DE08FA2-AFC2-4E9C-8F61-972015DDC05F}"/>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8786460" y="4964742"/>
              <a:ext cx="840129" cy="245871"/>
            </a:xfrm>
            <a:prstGeom prst="rect">
              <a:avLst/>
            </a:prstGeom>
          </p:spPr>
        </p:pic>
      </p:grpSp>
      <p:grpSp>
        <p:nvGrpSpPr>
          <p:cNvPr id="61" name="Group 60">
            <a:extLst>
              <a:ext uri="{FF2B5EF4-FFF2-40B4-BE49-F238E27FC236}">
                <a16:creationId xmlns:a16="http://schemas.microsoft.com/office/drawing/2014/main" id="{0DF4E10D-42A6-461B-ACCD-E2A7A0C866C7}"/>
              </a:ext>
            </a:extLst>
          </p:cNvPr>
          <p:cNvGrpSpPr/>
          <p:nvPr/>
        </p:nvGrpSpPr>
        <p:grpSpPr>
          <a:xfrm>
            <a:off x="2177559" y="1984342"/>
            <a:ext cx="1872191" cy="1387252"/>
            <a:chOff x="1898028" y="1789217"/>
            <a:chExt cx="1872191" cy="1387252"/>
          </a:xfrm>
        </p:grpSpPr>
        <p:sp>
          <p:nvSpPr>
            <p:cNvPr id="62" name="Text Box 26">
              <a:extLst>
                <a:ext uri="{FF2B5EF4-FFF2-40B4-BE49-F238E27FC236}">
                  <a16:creationId xmlns:a16="http://schemas.microsoft.com/office/drawing/2014/main" id="{921DA751-F068-4DB4-8BBC-105203A05DB3}"/>
                </a:ext>
              </a:extLst>
            </p:cNvPr>
            <p:cNvSpPr txBox="1">
              <a:spLocks noChangeArrowheads="1"/>
            </p:cNvSpPr>
            <p:nvPr/>
          </p:nvSpPr>
          <p:spPr bwMode="gray">
            <a:xfrm>
              <a:off x="1898028" y="1789217"/>
              <a:ext cx="1872191" cy="215444"/>
            </a:xfrm>
            <a:prstGeom prst="rect">
              <a:avLst/>
            </a:prstGeom>
            <a:noFill/>
            <a:ln w="9525" algn="ctr">
              <a:noFill/>
              <a:miter lim="800000"/>
              <a:headEnd/>
              <a:tailEnd/>
            </a:ln>
          </p:spPr>
          <p:txBody>
            <a:bodyPr wrap="square" lIns="0" tIns="0" rIns="0" bIns="0" anchor="ctr">
              <a:spAutoFit/>
            </a:bodyPr>
            <a:lstStyle/>
            <a:p>
              <a:pPr marL="0" marR="0" lvl="0" indent="0" algn="ctr" defTabSz="781597"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EYInterstate Light"/>
                  <a:ea typeface="+mn-ea"/>
                  <a:cs typeface="Arial" pitchFamily="34" charset="0"/>
                </a:rPr>
                <a:t>4 service lines</a:t>
              </a:r>
            </a:p>
          </p:txBody>
        </p:sp>
        <p:grpSp>
          <p:nvGrpSpPr>
            <p:cNvPr id="63" name="Group 62">
              <a:extLst>
                <a:ext uri="{FF2B5EF4-FFF2-40B4-BE49-F238E27FC236}">
                  <a16:creationId xmlns:a16="http://schemas.microsoft.com/office/drawing/2014/main" id="{E71BB1A2-ABC5-4F58-BE03-8CF19014F9CB}"/>
                </a:ext>
              </a:extLst>
            </p:cNvPr>
            <p:cNvGrpSpPr/>
            <p:nvPr/>
          </p:nvGrpSpPr>
          <p:grpSpPr>
            <a:xfrm>
              <a:off x="2292946" y="2195558"/>
              <a:ext cx="1082354" cy="980911"/>
              <a:chOff x="2002238" y="2171942"/>
              <a:chExt cx="1252703" cy="1130471"/>
            </a:xfrm>
          </p:grpSpPr>
          <p:sp>
            <p:nvSpPr>
              <p:cNvPr id="64" name="Textfeld 161">
                <a:extLst>
                  <a:ext uri="{FF2B5EF4-FFF2-40B4-BE49-F238E27FC236}">
                    <a16:creationId xmlns:a16="http://schemas.microsoft.com/office/drawing/2014/main" id="{A366F4C7-C325-4E54-A792-514D16A9C0A9}"/>
                  </a:ext>
                </a:extLst>
              </p:cNvPr>
              <p:cNvSpPr txBox="1"/>
              <p:nvPr/>
            </p:nvSpPr>
            <p:spPr bwMode="gray">
              <a:xfrm>
                <a:off x="2609636" y="2920563"/>
                <a:ext cx="553320" cy="159616"/>
              </a:xfrm>
              <a:prstGeom prst="rect">
                <a:avLst/>
              </a:prstGeom>
              <a:noFill/>
            </p:spPr>
            <p:txBody>
              <a:bodyPr wrap="square" lIns="0" tIns="0" rIns="0" bIns="0" rtlCol="0" anchor="t" anchorCtr="0">
                <a:spAutoFit/>
              </a:bodyPr>
              <a:lstStyle>
                <a:defPPr>
                  <a:defRPr lang="de-DE"/>
                </a:defPPr>
                <a:lvl1pPr lvl="0" algn="ctr">
                  <a:spcAft>
                    <a:spcPts val="600"/>
                  </a:spcAft>
                  <a:defRPr sz="1200">
                    <a:solidFill>
                      <a:prstClr val="black"/>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000000">
                        <a:lumMod val="50000"/>
                        <a:lumOff val="50000"/>
                      </a:srgbClr>
                    </a:solidFill>
                    <a:effectLst/>
                    <a:uLnTx/>
                    <a:uFillTx/>
                    <a:latin typeface="EYInterstate Light"/>
                    <a:ea typeface="+mn-ea"/>
                    <a:cs typeface="+mn-cs"/>
                  </a:rPr>
                  <a:t>Advisory</a:t>
                </a:r>
                <a:endParaRPr kumimoji="0" lang="en-US" sz="1050" b="1" i="0" u="none" strike="noStrike" kern="0" cap="none" spc="0" normalizeH="0" baseline="0" noProof="0" dirty="0">
                  <a:ln>
                    <a:noFill/>
                  </a:ln>
                  <a:solidFill>
                    <a:srgbClr val="000000">
                      <a:lumMod val="50000"/>
                      <a:lumOff val="50000"/>
                    </a:srgbClr>
                  </a:solidFill>
                  <a:effectLst/>
                  <a:uLnTx/>
                  <a:uFillTx/>
                  <a:latin typeface="EYInterstate Light"/>
                  <a:ea typeface="+mn-ea"/>
                  <a:cs typeface="+mn-cs"/>
                </a:endParaRPr>
              </a:p>
            </p:txBody>
          </p:sp>
          <p:sp>
            <p:nvSpPr>
              <p:cNvPr id="65" name="Textfeld 157">
                <a:extLst>
                  <a:ext uri="{FF2B5EF4-FFF2-40B4-BE49-F238E27FC236}">
                    <a16:creationId xmlns:a16="http://schemas.microsoft.com/office/drawing/2014/main" id="{20D03A21-2D50-46FD-A1B4-FBE995DDD7A1}"/>
                  </a:ext>
                </a:extLst>
              </p:cNvPr>
              <p:cNvSpPr txBox="1"/>
              <p:nvPr/>
            </p:nvSpPr>
            <p:spPr bwMode="gray">
              <a:xfrm>
                <a:off x="2226471" y="2904839"/>
                <a:ext cx="306975" cy="159616"/>
              </a:xfrm>
              <a:prstGeom prst="rect">
                <a:avLst/>
              </a:prstGeom>
              <a:noFill/>
            </p:spPr>
            <p:txBody>
              <a:bodyPr wrap="square" lIns="0" tIns="0" rIns="0" bIns="0" rtlCol="0" anchor="t" anchorCtr="0">
                <a:spAutoFit/>
              </a:bodyPr>
              <a:lstStyle>
                <a:defPPr>
                  <a:defRPr lang="de-DE"/>
                </a:defPPr>
                <a:lvl1pPr lvl="0" algn="ctr">
                  <a:spcAft>
                    <a:spcPts val="600"/>
                  </a:spcAft>
                  <a:defRPr sz="1200">
                    <a:solidFill>
                      <a:prstClr val="black"/>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646464"/>
                    </a:solidFill>
                    <a:effectLst/>
                    <a:uLnTx/>
                    <a:uFillTx/>
                    <a:latin typeface="EYInterstate Light"/>
                    <a:ea typeface="+mn-ea"/>
                    <a:cs typeface="+mn-cs"/>
                  </a:rPr>
                  <a:t>Tax</a:t>
                </a:r>
              </a:p>
            </p:txBody>
          </p:sp>
          <p:sp>
            <p:nvSpPr>
              <p:cNvPr id="66" name="Textfeld 155">
                <a:extLst>
                  <a:ext uri="{FF2B5EF4-FFF2-40B4-BE49-F238E27FC236}">
                    <a16:creationId xmlns:a16="http://schemas.microsoft.com/office/drawing/2014/main" id="{F08AE82D-D7EA-41FF-BB1D-D21DC522BB29}"/>
                  </a:ext>
                </a:extLst>
              </p:cNvPr>
              <p:cNvSpPr txBox="1"/>
              <p:nvPr/>
            </p:nvSpPr>
            <p:spPr bwMode="gray">
              <a:xfrm>
                <a:off x="2845561" y="2350822"/>
                <a:ext cx="338746" cy="159616"/>
              </a:xfrm>
              <a:prstGeom prst="rect">
                <a:avLst/>
              </a:prstGeom>
              <a:noFill/>
            </p:spPr>
            <p:txBody>
              <a:bodyPr wrap="square" lIns="0" tIns="0" rIns="0" bIns="0" rtlCol="0" anchor="t" anchorCtr="0">
                <a:spAutoFit/>
              </a:bodyPr>
              <a:lstStyle>
                <a:defPPr>
                  <a:defRPr lang="de-DE"/>
                </a:defPPr>
                <a:lvl1pPr lvl="0" algn="ctr">
                  <a:spcAft>
                    <a:spcPts val="600"/>
                  </a:spcAft>
                  <a:defRPr sz="1200">
                    <a:solidFill>
                      <a:prstClr val="black"/>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7A7A83"/>
                    </a:solidFill>
                    <a:effectLst/>
                    <a:uLnTx/>
                    <a:uFillTx/>
                    <a:latin typeface="EYInterstate Light"/>
                    <a:ea typeface="+mn-ea"/>
                    <a:cs typeface="+mn-cs"/>
                  </a:rPr>
                  <a:t>Tas</a:t>
                </a:r>
              </a:p>
            </p:txBody>
          </p:sp>
          <p:grpSp>
            <p:nvGrpSpPr>
              <p:cNvPr id="67" name="Group 66">
                <a:extLst>
                  <a:ext uri="{FF2B5EF4-FFF2-40B4-BE49-F238E27FC236}">
                    <a16:creationId xmlns:a16="http://schemas.microsoft.com/office/drawing/2014/main" id="{7C9D446F-54AD-488B-870D-B5B95A641042}"/>
                  </a:ext>
                </a:extLst>
              </p:cNvPr>
              <p:cNvGrpSpPr/>
              <p:nvPr/>
            </p:nvGrpSpPr>
            <p:grpSpPr>
              <a:xfrm>
                <a:off x="2002238" y="2171942"/>
                <a:ext cx="1252703" cy="1130471"/>
                <a:chOff x="7046258" y="3014490"/>
                <a:chExt cx="1237842" cy="1192213"/>
              </a:xfrm>
            </p:grpSpPr>
            <p:sp>
              <p:nvSpPr>
                <p:cNvPr id="69" name="Freeform 5">
                  <a:extLst>
                    <a:ext uri="{FF2B5EF4-FFF2-40B4-BE49-F238E27FC236}">
                      <a16:creationId xmlns:a16="http://schemas.microsoft.com/office/drawing/2014/main" id="{F8B36331-65A9-4B57-96B4-4A5AF2E34E64}"/>
                    </a:ext>
                  </a:extLst>
                </p:cNvPr>
                <p:cNvSpPr>
                  <a:spLocks/>
                </p:cNvSpPr>
                <p:nvPr/>
              </p:nvSpPr>
              <p:spPr bwMode="auto">
                <a:xfrm>
                  <a:off x="8181141" y="3779659"/>
                  <a:ext cx="74879" cy="125188"/>
                </a:xfrm>
                <a:custGeom>
                  <a:avLst/>
                  <a:gdLst>
                    <a:gd name="T0" fmla="*/ 26 w 143"/>
                    <a:gd name="T1" fmla="*/ 238 h 238"/>
                    <a:gd name="T2" fmla="*/ 0 w 143"/>
                    <a:gd name="T3" fmla="*/ 212 h 238"/>
                    <a:gd name="T4" fmla="*/ 26 w 143"/>
                    <a:gd name="T5" fmla="*/ 186 h 238"/>
                    <a:gd name="T6" fmla="*/ 90 w 143"/>
                    <a:gd name="T7" fmla="*/ 141 h 238"/>
                    <a:gd name="T8" fmla="*/ 90 w 143"/>
                    <a:gd name="T9" fmla="*/ 99 h 238"/>
                    <a:gd name="T10" fmla="*/ 51 w 143"/>
                    <a:gd name="T11" fmla="*/ 52 h 238"/>
                    <a:gd name="T12" fmla="*/ 25 w 143"/>
                    <a:gd name="T13" fmla="*/ 26 h 238"/>
                    <a:gd name="T14" fmla="*/ 51 w 143"/>
                    <a:gd name="T15" fmla="*/ 0 h 238"/>
                    <a:gd name="T16" fmla="*/ 143 w 143"/>
                    <a:gd name="T17" fmla="*/ 99 h 238"/>
                    <a:gd name="T18" fmla="*/ 143 w 143"/>
                    <a:gd name="T19" fmla="*/ 141 h 238"/>
                    <a:gd name="T20" fmla="*/ 26 w 143"/>
                    <a:gd name="T21"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3" h="238">
                      <a:moveTo>
                        <a:pt x="26" y="238"/>
                      </a:moveTo>
                      <a:cubicBezTo>
                        <a:pt x="12" y="238"/>
                        <a:pt x="0" y="227"/>
                        <a:pt x="0" y="212"/>
                      </a:cubicBezTo>
                      <a:cubicBezTo>
                        <a:pt x="0" y="197"/>
                        <a:pt x="12" y="186"/>
                        <a:pt x="26" y="186"/>
                      </a:cubicBezTo>
                      <a:cubicBezTo>
                        <a:pt x="55" y="186"/>
                        <a:pt x="90" y="161"/>
                        <a:pt x="90" y="141"/>
                      </a:cubicBezTo>
                      <a:cubicBezTo>
                        <a:pt x="90" y="99"/>
                        <a:pt x="90" y="99"/>
                        <a:pt x="90" y="99"/>
                      </a:cubicBezTo>
                      <a:cubicBezTo>
                        <a:pt x="90" y="77"/>
                        <a:pt x="76" y="52"/>
                        <a:pt x="51" y="52"/>
                      </a:cubicBezTo>
                      <a:cubicBezTo>
                        <a:pt x="37" y="52"/>
                        <a:pt x="25" y="41"/>
                        <a:pt x="25" y="26"/>
                      </a:cubicBezTo>
                      <a:cubicBezTo>
                        <a:pt x="25" y="11"/>
                        <a:pt x="37" y="0"/>
                        <a:pt x="51" y="0"/>
                      </a:cubicBezTo>
                      <a:cubicBezTo>
                        <a:pt x="103" y="0"/>
                        <a:pt x="143" y="43"/>
                        <a:pt x="143" y="99"/>
                      </a:cubicBezTo>
                      <a:cubicBezTo>
                        <a:pt x="143" y="141"/>
                        <a:pt x="143" y="141"/>
                        <a:pt x="143" y="141"/>
                      </a:cubicBezTo>
                      <a:cubicBezTo>
                        <a:pt x="143" y="195"/>
                        <a:pt x="79" y="238"/>
                        <a:pt x="26" y="238"/>
                      </a:cubicBezTo>
                      <a:close/>
                    </a:path>
                  </a:pathLst>
                </a:custGeom>
                <a:solidFill>
                  <a:srgbClr val="FFE600"/>
                </a:solidFill>
                <a:ln>
                  <a:solidFill>
                    <a:srgbClr val="FFE600"/>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E2E38"/>
                    </a:solidFill>
                    <a:effectLst/>
                    <a:uLnTx/>
                    <a:uFillTx/>
                    <a:latin typeface="EYInterstate Light"/>
                    <a:ea typeface="+mn-ea"/>
                    <a:cs typeface="+mn-cs"/>
                  </a:endParaRPr>
                </a:p>
              </p:txBody>
            </p:sp>
            <p:sp>
              <p:nvSpPr>
                <p:cNvPr id="70" name="Freeform 8">
                  <a:extLst>
                    <a:ext uri="{FF2B5EF4-FFF2-40B4-BE49-F238E27FC236}">
                      <a16:creationId xmlns:a16="http://schemas.microsoft.com/office/drawing/2014/main" id="{FA7018A8-5076-41BC-BE17-C883FFDEAE8A}"/>
                    </a:ext>
                  </a:extLst>
                </p:cNvPr>
                <p:cNvSpPr>
                  <a:spLocks/>
                </p:cNvSpPr>
                <p:nvPr/>
              </p:nvSpPr>
              <p:spPr bwMode="auto">
                <a:xfrm>
                  <a:off x="7853546" y="3041400"/>
                  <a:ext cx="126358" cy="74879"/>
                </a:xfrm>
                <a:custGeom>
                  <a:avLst/>
                  <a:gdLst>
                    <a:gd name="T0" fmla="*/ 212 w 239"/>
                    <a:gd name="T1" fmla="*/ 143 h 143"/>
                    <a:gd name="T2" fmla="*/ 186 w 239"/>
                    <a:gd name="T3" fmla="*/ 116 h 143"/>
                    <a:gd name="T4" fmla="*/ 141 w 239"/>
                    <a:gd name="T5" fmla="*/ 53 h 143"/>
                    <a:gd name="T6" fmla="*/ 99 w 239"/>
                    <a:gd name="T7" fmla="*/ 53 h 143"/>
                    <a:gd name="T8" fmla="*/ 53 w 239"/>
                    <a:gd name="T9" fmla="*/ 91 h 143"/>
                    <a:gd name="T10" fmla="*/ 26 w 239"/>
                    <a:gd name="T11" fmla="*/ 118 h 143"/>
                    <a:gd name="T12" fmla="*/ 0 w 239"/>
                    <a:gd name="T13" fmla="*/ 91 h 143"/>
                    <a:gd name="T14" fmla="*/ 99 w 239"/>
                    <a:gd name="T15" fmla="*/ 0 h 143"/>
                    <a:gd name="T16" fmla="*/ 141 w 239"/>
                    <a:gd name="T17" fmla="*/ 0 h 143"/>
                    <a:gd name="T18" fmla="*/ 239 w 239"/>
                    <a:gd name="T19" fmla="*/ 116 h 143"/>
                    <a:gd name="T20" fmla="*/ 212 w 239"/>
                    <a:gd name="T21"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9" h="143">
                      <a:moveTo>
                        <a:pt x="212" y="143"/>
                      </a:moveTo>
                      <a:cubicBezTo>
                        <a:pt x="198" y="143"/>
                        <a:pt x="186" y="131"/>
                        <a:pt x="186" y="116"/>
                      </a:cubicBezTo>
                      <a:cubicBezTo>
                        <a:pt x="186" y="88"/>
                        <a:pt x="161" y="53"/>
                        <a:pt x="141" y="53"/>
                      </a:cubicBezTo>
                      <a:cubicBezTo>
                        <a:pt x="99" y="53"/>
                        <a:pt x="99" y="53"/>
                        <a:pt x="99" y="53"/>
                      </a:cubicBezTo>
                      <a:cubicBezTo>
                        <a:pt x="77" y="53"/>
                        <a:pt x="53" y="66"/>
                        <a:pt x="53" y="91"/>
                      </a:cubicBezTo>
                      <a:cubicBezTo>
                        <a:pt x="53" y="106"/>
                        <a:pt x="41" y="118"/>
                        <a:pt x="26" y="118"/>
                      </a:cubicBezTo>
                      <a:cubicBezTo>
                        <a:pt x="12" y="118"/>
                        <a:pt x="0" y="106"/>
                        <a:pt x="0" y="91"/>
                      </a:cubicBezTo>
                      <a:cubicBezTo>
                        <a:pt x="0" y="40"/>
                        <a:pt x="43" y="0"/>
                        <a:pt x="99" y="0"/>
                      </a:cubicBezTo>
                      <a:cubicBezTo>
                        <a:pt x="141" y="0"/>
                        <a:pt x="141" y="0"/>
                        <a:pt x="141" y="0"/>
                      </a:cubicBezTo>
                      <a:cubicBezTo>
                        <a:pt x="195" y="0"/>
                        <a:pt x="239" y="63"/>
                        <a:pt x="239" y="116"/>
                      </a:cubicBezTo>
                      <a:cubicBezTo>
                        <a:pt x="239" y="131"/>
                        <a:pt x="227" y="143"/>
                        <a:pt x="212" y="143"/>
                      </a:cubicBezTo>
                      <a:close/>
                    </a:path>
                  </a:pathLst>
                </a:custGeom>
                <a:solidFill>
                  <a:srgbClr val="747480"/>
                </a:solidFill>
                <a:ln>
                  <a:solidFill>
                    <a:srgbClr val="50505C"/>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E2E38"/>
                    </a:solidFill>
                    <a:effectLst/>
                    <a:uLnTx/>
                    <a:uFillTx/>
                    <a:latin typeface="EYInterstate Light"/>
                    <a:ea typeface="+mn-ea"/>
                    <a:cs typeface="+mn-cs"/>
                  </a:endParaRPr>
                </a:p>
              </p:txBody>
            </p:sp>
            <p:sp>
              <p:nvSpPr>
                <p:cNvPr id="71" name="Freeform 11">
                  <a:extLst>
                    <a:ext uri="{FF2B5EF4-FFF2-40B4-BE49-F238E27FC236}">
                      <a16:creationId xmlns:a16="http://schemas.microsoft.com/office/drawing/2014/main" id="{40A73173-EC63-4193-BD6B-AD343E331B15}"/>
                    </a:ext>
                  </a:extLst>
                </p:cNvPr>
                <p:cNvSpPr>
                  <a:spLocks/>
                </p:cNvSpPr>
                <p:nvPr/>
              </p:nvSpPr>
              <p:spPr bwMode="auto">
                <a:xfrm>
                  <a:off x="7369173" y="4103744"/>
                  <a:ext cx="126358" cy="74879"/>
                </a:xfrm>
                <a:custGeom>
                  <a:avLst/>
                  <a:gdLst>
                    <a:gd name="T0" fmla="*/ 139 w 239"/>
                    <a:gd name="T1" fmla="*/ 143 h 143"/>
                    <a:gd name="T2" fmla="*/ 98 w 239"/>
                    <a:gd name="T3" fmla="*/ 143 h 143"/>
                    <a:gd name="T4" fmla="*/ 0 w 239"/>
                    <a:gd name="T5" fmla="*/ 26 h 143"/>
                    <a:gd name="T6" fmla="*/ 26 w 239"/>
                    <a:gd name="T7" fmla="*/ 0 h 143"/>
                    <a:gd name="T8" fmla="*/ 53 w 239"/>
                    <a:gd name="T9" fmla="*/ 26 h 143"/>
                    <a:gd name="T10" fmla="*/ 98 w 239"/>
                    <a:gd name="T11" fmla="*/ 90 h 143"/>
                    <a:gd name="T12" fmla="*/ 139 w 239"/>
                    <a:gd name="T13" fmla="*/ 90 h 143"/>
                    <a:gd name="T14" fmla="*/ 186 w 239"/>
                    <a:gd name="T15" fmla="*/ 51 h 143"/>
                    <a:gd name="T16" fmla="*/ 212 w 239"/>
                    <a:gd name="T17" fmla="*/ 25 h 143"/>
                    <a:gd name="T18" fmla="*/ 239 w 239"/>
                    <a:gd name="T19" fmla="*/ 51 h 143"/>
                    <a:gd name="T20" fmla="*/ 139 w 239"/>
                    <a:gd name="T21"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9" h="143">
                      <a:moveTo>
                        <a:pt x="139" y="143"/>
                      </a:moveTo>
                      <a:cubicBezTo>
                        <a:pt x="98" y="143"/>
                        <a:pt x="98" y="143"/>
                        <a:pt x="98" y="143"/>
                      </a:cubicBezTo>
                      <a:cubicBezTo>
                        <a:pt x="44" y="143"/>
                        <a:pt x="0" y="79"/>
                        <a:pt x="0" y="26"/>
                      </a:cubicBezTo>
                      <a:cubicBezTo>
                        <a:pt x="0" y="12"/>
                        <a:pt x="12" y="0"/>
                        <a:pt x="26" y="0"/>
                      </a:cubicBezTo>
                      <a:cubicBezTo>
                        <a:pt x="41" y="0"/>
                        <a:pt x="53" y="12"/>
                        <a:pt x="53" y="26"/>
                      </a:cubicBezTo>
                      <a:cubicBezTo>
                        <a:pt x="53" y="55"/>
                        <a:pt x="78" y="90"/>
                        <a:pt x="98" y="90"/>
                      </a:cubicBezTo>
                      <a:cubicBezTo>
                        <a:pt x="139" y="90"/>
                        <a:pt x="139" y="90"/>
                        <a:pt x="139" y="90"/>
                      </a:cubicBezTo>
                      <a:cubicBezTo>
                        <a:pt x="162" y="90"/>
                        <a:pt x="186" y="76"/>
                        <a:pt x="186" y="51"/>
                      </a:cubicBezTo>
                      <a:cubicBezTo>
                        <a:pt x="186" y="37"/>
                        <a:pt x="198" y="25"/>
                        <a:pt x="212" y="25"/>
                      </a:cubicBezTo>
                      <a:cubicBezTo>
                        <a:pt x="227" y="25"/>
                        <a:pt x="239" y="37"/>
                        <a:pt x="239" y="51"/>
                      </a:cubicBezTo>
                      <a:cubicBezTo>
                        <a:pt x="239" y="103"/>
                        <a:pt x="195" y="143"/>
                        <a:pt x="139" y="143"/>
                      </a:cubicBezTo>
                      <a:close/>
                    </a:path>
                  </a:pathLst>
                </a:custGeom>
                <a:solidFill>
                  <a:srgbClr val="ABABB4"/>
                </a:solidFill>
                <a:ln>
                  <a:solidFill>
                    <a:srgbClr val="ABABB4"/>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E2E38"/>
                    </a:solidFill>
                    <a:effectLst/>
                    <a:uLnTx/>
                    <a:uFillTx/>
                    <a:latin typeface="EYInterstate Light"/>
                    <a:ea typeface="+mn-ea"/>
                    <a:cs typeface="+mn-cs"/>
                  </a:endParaRPr>
                </a:p>
              </p:txBody>
            </p:sp>
            <p:sp>
              <p:nvSpPr>
                <p:cNvPr id="72" name="Freeform 14">
                  <a:extLst>
                    <a:ext uri="{FF2B5EF4-FFF2-40B4-BE49-F238E27FC236}">
                      <a16:creationId xmlns:a16="http://schemas.microsoft.com/office/drawing/2014/main" id="{39666F29-F456-4F7A-B8EF-12A27A08E5CB}"/>
                    </a:ext>
                  </a:extLst>
                </p:cNvPr>
                <p:cNvSpPr>
                  <a:spLocks/>
                </p:cNvSpPr>
                <p:nvPr/>
              </p:nvSpPr>
              <p:spPr bwMode="auto">
                <a:xfrm>
                  <a:off x="7074338" y="3311666"/>
                  <a:ext cx="74879" cy="126358"/>
                </a:xfrm>
                <a:custGeom>
                  <a:avLst/>
                  <a:gdLst>
                    <a:gd name="T0" fmla="*/ 92 w 143"/>
                    <a:gd name="T1" fmla="*/ 239 h 239"/>
                    <a:gd name="T2" fmla="*/ 0 w 143"/>
                    <a:gd name="T3" fmla="*/ 139 h 239"/>
                    <a:gd name="T4" fmla="*/ 0 w 143"/>
                    <a:gd name="T5" fmla="*/ 98 h 239"/>
                    <a:gd name="T6" fmla="*/ 116 w 143"/>
                    <a:gd name="T7" fmla="*/ 0 h 239"/>
                    <a:gd name="T8" fmla="*/ 143 w 143"/>
                    <a:gd name="T9" fmla="*/ 26 h 239"/>
                    <a:gd name="T10" fmla="*/ 116 w 143"/>
                    <a:gd name="T11" fmla="*/ 53 h 239"/>
                    <a:gd name="T12" fmla="*/ 53 w 143"/>
                    <a:gd name="T13" fmla="*/ 98 h 239"/>
                    <a:gd name="T14" fmla="*/ 53 w 143"/>
                    <a:gd name="T15" fmla="*/ 139 h 239"/>
                    <a:gd name="T16" fmla="*/ 92 w 143"/>
                    <a:gd name="T17" fmla="*/ 186 h 239"/>
                    <a:gd name="T18" fmla="*/ 118 w 143"/>
                    <a:gd name="T19" fmla="*/ 212 h 239"/>
                    <a:gd name="T20" fmla="*/ 92 w 143"/>
                    <a:gd name="T21" fmla="*/ 239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3" h="239">
                      <a:moveTo>
                        <a:pt x="92" y="239"/>
                      </a:moveTo>
                      <a:cubicBezTo>
                        <a:pt x="40" y="239"/>
                        <a:pt x="0" y="195"/>
                        <a:pt x="0" y="139"/>
                      </a:cubicBezTo>
                      <a:cubicBezTo>
                        <a:pt x="0" y="98"/>
                        <a:pt x="0" y="98"/>
                        <a:pt x="0" y="98"/>
                      </a:cubicBezTo>
                      <a:cubicBezTo>
                        <a:pt x="0" y="43"/>
                        <a:pt x="64" y="0"/>
                        <a:pt x="116" y="0"/>
                      </a:cubicBezTo>
                      <a:cubicBezTo>
                        <a:pt x="131" y="0"/>
                        <a:pt x="143" y="12"/>
                        <a:pt x="143" y="26"/>
                      </a:cubicBezTo>
                      <a:cubicBezTo>
                        <a:pt x="143" y="41"/>
                        <a:pt x="131" y="53"/>
                        <a:pt x="116" y="53"/>
                      </a:cubicBezTo>
                      <a:cubicBezTo>
                        <a:pt x="88" y="53"/>
                        <a:pt x="53" y="77"/>
                        <a:pt x="53" y="98"/>
                      </a:cubicBezTo>
                      <a:cubicBezTo>
                        <a:pt x="53" y="139"/>
                        <a:pt x="53" y="139"/>
                        <a:pt x="53" y="139"/>
                      </a:cubicBezTo>
                      <a:cubicBezTo>
                        <a:pt x="53" y="162"/>
                        <a:pt x="66" y="186"/>
                        <a:pt x="92" y="186"/>
                      </a:cubicBezTo>
                      <a:cubicBezTo>
                        <a:pt x="106" y="186"/>
                        <a:pt x="118" y="198"/>
                        <a:pt x="118" y="212"/>
                      </a:cubicBezTo>
                      <a:cubicBezTo>
                        <a:pt x="118" y="227"/>
                        <a:pt x="106" y="239"/>
                        <a:pt x="92" y="239"/>
                      </a:cubicBezTo>
                      <a:close/>
                    </a:path>
                  </a:pathLst>
                </a:custGeom>
                <a:solidFill>
                  <a:srgbClr val="000000"/>
                </a:solidFill>
                <a:ln>
                  <a:solidFill>
                    <a:srgbClr val="000000"/>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E2E38"/>
                    </a:solidFill>
                    <a:effectLst/>
                    <a:uLnTx/>
                    <a:uFillTx/>
                    <a:latin typeface="EYInterstate Light"/>
                    <a:ea typeface="+mn-ea"/>
                    <a:cs typeface="+mn-cs"/>
                  </a:endParaRPr>
                </a:p>
              </p:txBody>
            </p:sp>
            <p:sp>
              <p:nvSpPr>
                <p:cNvPr id="73" name="Rectangle 17">
                  <a:extLst>
                    <a:ext uri="{FF2B5EF4-FFF2-40B4-BE49-F238E27FC236}">
                      <a16:creationId xmlns:a16="http://schemas.microsoft.com/office/drawing/2014/main" id="{1CA31D9F-645D-4204-BB37-CA2F9D3B4D9A}"/>
                    </a:ext>
                  </a:extLst>
                </p:cNvPr>
                <p:cNvSpPr>
                  <a:spLocks noChangeArrowheads="1"/>
                </p:cNvSpPr>
                <p:nvPr/>
              </p:nvSpPr>
              <p:spPr bwMode="auto">
                <a:xfrm>
                  <a:off x="7837166" y="4089705"/>
                  <a:ext cx="26910" cy="95939"/>
                </a:xfrm>
                <a:prstGeom prst="rect">
                  <a:avLst/>
                </a:prstGeom>
                <a:solidFill>
                  <a:srgbClr val="747480"/>
                </a:solidFill>
                <a:ln w="9525">
                  <a:solidFill>
                    <a:srgbClr val="555561"/>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E2E38"/>
                    </a:solidFill>
                    <a:effectLst/>
                    <a:uLnTx/>
                    <a:uFillTx/>
                    <a:latin typeface="EYInterstate Light"/>
                    <a:ea typeface="+mn-ea"/>
                    <a:cs typeface="+mn-cs"/>
                  </a:endParaRPr>
                </a:p>
              </p:txBody>
            </p:sp>
            <p:sp>
              <p:nvSpPr>
                <p:cNvPr id="74" name="Rectangle 18">
                  <a:extLst>
                    <a:ext uri="{FF2B5EF4-FFF2-40B4-BE49-F238E27FC236}">
                      <a16:creationId xmlns:a16="http://schemas.microsoft.com/office/drawing/2014/main" id="{29DCF66E-6BE1-4C38-8A73-8254486C1B2E}"/>
                    </a:ext>
                  </a:extLst>
                </p:cNvPr>
                <p:cNvSpPr>
                  <a:spLocks noChangeArrowheads="1"/>
                </p:cNvSpPr>
                <p:nvPr/>
              </p:nvSpPr>
              <p:spPr bwMode="auto">
                <a:xfrm>
                  <a:off x="8115622" y="4089705"/>
                  <a:ext cx="28080" cy="95939"/>
                </a:xfrm>
                <a:prstGeom prst="rect">
                  <a:avLst/>
                </a:prstGeom>
                <a:solidFill>
                  <a:srgbClr val="747480"/>
                </a:solidFill>
                <a:ln>
                  <a:solidFill>
                    <a:srgbClr val="55556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E2E38"/>
                    </a:solidFill>
                    <a:effectLst/>
                    <a:uLnTx/>
                    <a:uFillTx/>
                    <a:latin typeface="EYInterstate Light"/>
                    <a:ea typeface="+mn-ea"/>
                    <a:cs typeface="+mn-cs"/>
                  </a:endParaRPr>
                </a:p>
              </p:txBody>
            </p:sp>
            <p:sp>
              <p:nvSpPr>
                <p:cNvPr id="75" name="Rectangle 19">
                  <a:extLst>
                    <a:ext uri="{FF2B5EF4-FFF2-40B4-BE49-F238E27FC236}">
                      <a16:creationId xmlns:a16="http://schemas.microsoft.com/office/drawing/2014/main" id="{DB0820AF-18B0-4766-A050-94538B2BE15D}"/>
                    </a:ext>
                  </a:extLst>
                </p:cNvPr>
                <p:cNvSpPr>
                  <a:spLocks noChangeArrowheads="1"/>
                </p:cNvSpPr>
                <p:nvPr/>
              </p:nvSpPr>
              <p:spPr bwMode="auto">
                <a:xfrm>
                  <a:off x="8162422" y="3425154"/>
                  <a:ext cx="95939" cy="28080"/>
                </a:xfrm>
                <a:prstGeom prst="rect">
                  <a:avLst/>
                </a:prstGeom>
                <a:solidFill>
                  <a:srgbClr val="000000"/>
                </a:solidFill>
                <a:ln>
                  <a:solidFill>
                    <a:srgbClr val="000000"/>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E2E38"/>
                    </a:solidFill>
                    <a:effectLst/>
                    <a:uLnTx/>
                    <a:uFillTx/>
                    <a:latin typeface="EYInterstate Light"/>
                    <a:ea typeface="+mn-ea"/>
                    <a:cs typeface="+mn-cs"/>
                  </a:endParaRPr>
                </a:p>
              </p:txBody>
            </p:sp>
            <p:sp>
              <p:nvSpPr>
                <p:cNvPr id="76" name="Rectangle 20">
                  <a:extLst>
                    <a:ext uri="{FF2B5EF4-FFF2-40B4-BE49-F238E27FC236}">
                      <a16:creationId xmlns:a16="http://schemas.microsoft.com/office/drawing/2014/main" id="{0B1ABF93-794F-404D-AA12-7E76788597DE}"/>
                    </a:ext>
                  </a:extLst>
                </p:cNvPr>
                <p:cNvSpPr>
                  <a:spLocks noChangeArrowheads="1"/>
                </p:cNvSpPr>
                <p:nvPr/>
              </p:nvSpPr>
              <p:spPr bwMode="auto">
                <a:xfrm>
                  <a:off x="8162422" y="3147868"/>
                  <a:ext cx="95939" cy="28080"/>
                </a:xfrm>
                <a:prstGeom prst="rect">
                  <a:avLst/>
                </a:prstGeom>
                <a:solidFill>
                  <a:srgbClr val="000000"/>
                </a:solidFill>
                <a:ln>
                  <a:solidFill>
                    <a:srgbClr val="000000"/>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E2E38"/>
                    </a:solidFill>
                    <a:effectLst/>
                    <a:uLnTx/>
                    <a:uFillTx/>
                    <a:latin typeface="EYInterstate Light"/>
                    <a:ea typeface="+mn-ea"/>
                    <a:cs typeface="+mn-cs"/>
                  </a:endParaRPr>
                </a:p>
              </p:txBody>
            </p:sp>
            <p:sp>
              <p:nvSpPr>
                <p:cNvPr id="77" name="Rectangle 21">
                  <a:extLst>
                    <a:ext uri="{FF2B5EF4-FFF2-40B4-BE49-F238E27FC236}">
                      <a16:creationId xmlns:a16="http://schemas.microsoft.com/office/drawing/2014/main" id="{2B799095-235D-450B-A3F2-ED45367A3099}"/>
                    </a:ext>
                  </a:extLst>
                </p:cNvPr>
                <p:cNvSpPr>
                  <a:spLocks noChangeArrowheads="1"/>
                </p:cNvSpPr>
                <p:nvPr/>
              </p:nvSpPr>
              <p:spPr bwMode="auto">
                <a:xfrm>
                  <a:off x="7482662" y="3035550"/>
                  <a:ext cx="26910" cy="95939"/>
                </a:xfrm>
                <a:prstGeom prst="rect">
                  <a:avLst/>
                </a:prstGeom>
                <a:solidFill>
                  <a:srgbClr val="ABABB4"/>
                </a:solidFill>
                <a:ln>
                  <a:solidFill>
                    <a:srgbClr val="ABABB4"/>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E2E38"/>
                    </a:solidFill>
                    <a:effectLst/>
                    <a:uLnTx/>
                    <a:uFillTx/>
                    <a:latin typeface="EYInterstate Light"/>
                    <a:ea typeface="+mn-ea"/>
                    <a:cs typeface="+mn-cs"/>
                  </a:endParaRPr>
                </a:p>
              </p:txBody>
            </p:sp>
            <p:sp>
              <p:nvSpPr>
                <p:cNvPr id="78" name="Rectangle 22">
                  <a:extLst>
                    <a:ext uri="{FF2B5EF4-FFF2-40B4-BE49-F238E27FC236}">
                      <a16:creationId xmlns:a16="http://schemas.microsoft.com/office/drawing/2014/main" id="{B0FA15E2-1EF3-48E0-B10D-2DB400CAFAE6}"/>
                    </a:ext>
                  </a:extLst>
                </p:cNvPr>
                <p:cNvSpPr>
                  <a:spLocks noChangeArrowheads="1"/>
                </p:cNvSpPr>
                <p:nvPr/>
              </p:nvSpPr>
              <p:spPr bwMode="auto">
                <a:xfrm>
                  <a:off x="7203036" y="3035550"/>
                  <a:ext cx="28080" cy="95939"/>
                </a:xfrm>
                <a:prstGeom prst="rect">
                  <a:avLst/>
                </a:prstGeom>
                <a:solidFill>
                  <a:srgbClr val="ABABB4"/>
                </a:solidFill>
                <a:ln>
                  <a:solidFill>
                    <a:srgbClr val="ABABB4"/>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E2E38"/>
                    </a:solidFill>
                    <a:effectLst/>
                    <a:uLnTx/>
                    <a:uFillTx/>
                    <a:latin typeface="EYInterstate Light"/>
                    <a:ea typeface="+mn-ea"/>
                    <a:cs typeface="+mn-cs"/>
                  </a:endParaRPr>
                </a:p>
              </p:txBody>
            </p:sp>
            <p:sp>
              <p:nvSpPr>
                <p:cNvPr id="79" name="Rectangle 23">
                  <a:extLst>
                    <a:ext uri="{FF2B5EF4-FFF2-40B4-BE49-F238E27FC236}">
                      <a16:creationId xmlns:a16="http://schemas.microsoft.com/office/drawing/2014/main" id="{2FAB566A-28C6-4560-9287-B99899249F6D}"/>
                    </a:ext>
                  </a:extLst>
                </p:cNvPr>
                <p:cNvSpPr>
                  <a:spLocks noChangeArrowheads="1"/>
                </p:cNvSpPr>
                <p:nvPr/>
              </p:nvSpPr>
              <p:spPr bwMode="auto">
                <a:xfrm>
                  <a:off x="7089547" y="4039395"/>
                  <a:ext cx="97109" cy="28080"/>
                </a:xfrm>
                <a:prstGeom prst="rect">
                  <a:avLst/>
                </a:prstGeom>
                <a:solidFill>
                  <a:srgbClr val="FFE600"/>
                </a:solidFill>
                <a:ln w="9525">
                  <a:solidFill>
                    <a:srgbClr val="FFE600"/>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E2E38"/>
                    </a:solidFill>
                    <a:effectLst/>
                    <a:uLnTx/>
                    <a:uFillTx/>
                    <a:latin typeface="EYInterstate Light"/>
                    <a:ea typeface="+mn-ea"/>
                    <a:cs typeface="+mn-cs"/>
                  </a:endParaRPr>
                </a:p>
              </p:txBody>
            </p:sp>
            <p:sp>
              <p:nvSpPr>
                <p:cNvPr id="80" name="Rectangle 24">
                  <a:extLst>
                    <a:ext uri="{FF2B5EF4-FFF2-40B4-BE49-F238E27FC236}">
                      <a16:creationId xmlns:a16="http://schemas.microsoft.com/office/drawing/2014/main" id="{6DE450AB-4BFB-4586-A663-13ADC7810F5D}"/>
                    </a:ext>
                  </a:extLst>
                </p:cNvPr>
                <p:cNvSpPr>
                  <a:spLocks noChangeArrowheads="1"/>
                </p:cNvSpPr>
                <p:nvPr/>
              </p:nvSpPr>
              <p:spPr bwMode="auto">
                <a:xfrm>
                  <a:off x="7089547" y="3760939"/>
                  <a:ext cx="97109" cy="28080"/>
                </a:xfrm>
                <a:prstGeom prst="rect">
                  <a:avLst/>
                </a:prstGeom>
                <a:solidFill>
                  <a:srgbClr val="FFE600"/>
                </a:solidFill>
                <a:ln w="9525">
                  <a:solidFill>
                    <a:srgbClr val="FFE600"/>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E2E38"/>
                    </a:solidFill>
                    <a:effectLst/>
                    <a:uLnTx/>
                    <a:uFillTx/>
                    <a:latin typeface="EYInterstate Light"/>
                    <a:ea typeface="+mn-ea"/>
                    <a:cs typeface="+mn-cs"/>
                  </a:endParaRPr>
                </a:p>
              </p:txBody>
            </p:sp>
            <p:sp>
              <p:nvSpPr>
                <p:cNvPr id="81" name="Freeform 16">
                  <a:extLst>
                    <a:ext uri="{FF2B5EF4-FFF2-40B4-BE49-F238E27FC236}">
                      <a16:creationId xmlns:a16="http://schemas.microsoft.com/office/drawing/2014/main" id="{A4540550-4527-4298-8590-CC4C43794710}"/>
                    </a:ext>
                  </a:extLst>
                </p:cNvPr>
                <p:cNvSpPr>
                  <a:spLocks/>
                </p:cNvSpPr>
                <p:nvPr/>
              </p:nvSpPr>
              <p:spPr bwMode="auto">
                <a:xfrm>
                  <a:off x="7088377" y="3092879"/>
                  <a:ext cx="692630" cy="246866"/>
                </a:xfrm>
                <a:custGeom>
                  <a:avLst/>
                  <a:gdLst>
                    <a:gd name="T0" fmla="*/ 89 w 1312"/>
                    <a:gd name="T1" fmla="*/ 469 h 469"/>
                    <a:gd name="T2" fmla="*/ 0 w 1312"/>
                    <a:gd name="T3" fmla="*/ 371 h 469"/>
                    <a:gd name="T4" fmla="*/ 0 w 1312"/>
                    <a:gd name="T5" fmla="*/ 329 h 469"/>
                    <a:gd name="T6" fmla="*/ 63 w 1312"/>
                    <a:gd name="T7" fmla="*/ 234 h 469"/>
                    <a:gd name="T8" fmla="*/ 48 w 1312"/>
                    <a:gd name="T9" fmla="*/ 183 h 469"/>
                    <a:gd name="T10" fmla="*/ 48 w 1312"/>
                    <a:gd name="T11" fmla="*/ 141 h 469"/>
                    <a:gd name="T12" fmla="*/ 145 w 1312"/>
                    <a:gd name="T13" fmla="*/ 45 h 469"/>
                    <a:gd name="T14" fmla="*/ 151 w 1312"/>
                    <a:gd name="T15" fmla="*/ 45 h 469"/>
                    <a:gd name="T16" fmla="*/ 1169 w 1312"/>
                    <a:gd name="T17" fmla="*/ 105 h 469"/>
                    <a:gd name="T18" fmla="*/ 1286 w 1312"/>
                    <a:gd name="T19" fmla="*/ 105 h 469"/>
                    <a:gd name="T20" fmla="*/ 1312 w 1312"/>
                    <a:gd name="T21" fmla="*/ 131 h 469"/>
                    <a:gd name="T22" fmla="*/ 1286 w 1312"/>
                    <a:gd name="T23" fmla="*/ 158 h 469"/>
                    <a:gd name="T24" fmla="*/ 1166 w 1312"/>
                    <a:gd name="T25" fmla="*/ 158 h 469"/>
                    <a:gd name="T26" fmla="*/ 1160 w 1312"/>
                    <a:gd name="T27" fmla="*/ 157 h 469"/>
                    <a:gd name="T28" fmla="*/ 154 w 1312"/>
                    <a:gd name="T29" fmla="*/ 98 h 469"/>
                    <a:gd name="T30" fmla="*/ 145 w 1312"/>
                    <a:gd name="T31" fmla="*/ 98 h 469"/>
                    <a:gd name="T32" fmla="*/ 101 w 1312"/>
                    <a:gd name="T33" fmla="*/ 141 h 469"/>
                    <a:gd name="T34" fmla="*/ 101 w 1312"/>
                    <a:gd name="T35" fmla="*/ 183 h 469"/>
                    <a:gd name="T36" fmla="*/ 144 w 1312"/>
                    <a:gd name="T37" fmla="*/ 227 h 469"/>
                    <a:gd name="T38" fmla="*/ 146 w 1312"/>
                    <a:gd name="T39" fmla="*/ 227 h 469"/>
                    <a:gd name="T40" fmla="*/ 172 w 1312"/>
                    <a:gd name="T41" fmla="*/ 254 h 469"/>
                    <a:gd name="T42" fmla="*/ 143 w 1312"/>
                    <a:gd name="T43" fmla="*/ 280 h 469"/>
                    <a:gd name="T44" fmla="*/ 97 w 1312"/>
                    <a:gd name="T45" fmla="*/ 280 h 469"/>
                    <a:gd name="T46" fmla="*/ 53 w 1312"/>
                    <a:gd name="T47" fmla="*/ 329 h 469"/>
                    <a:gd name="T48" fmla="*/ 53 w 1312"/>
                    <a:gd name="T49" fmla="*/ 371 h 469"/>
                    <a:gd name="T50" fmla="*/ 89 w 1312"/>
                    <a:gd name="T51" fmla="*/ 416 h 469"/>
                    <a:gd name="T52" fmla="*/ 116 w 1312"/>
                    <a:gd name="T53" fmla="*/ 442 h 469"/>
                    <a:gd name="T54" fmla="*/ 89 w 1312"/>
                    <a:gd name="T55" fmla="*/ 469 h 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312" h="469">
                      <a:moveTo>
                        <a:pt x="89" y="469"/>
                      </a:moveTo>
                      <a:cubicBezTo>
                        <a:pt x="38" y="469"/>
                        <a:pt x="0" y="428"/>
                        <a:pt x="0" y="371"/>
                      </a:cubicBezTo>
                      <a:cubicBezTo>
                        <a:pt x="0" y="329"/>
                        <a:pt x="0" y="329"/>
                        <a:pt x="0" y="329"/>
                      </a:cubicBezTo>
                      <a:cubicBezTo>
                        <a:pt x="0" y="287"/>
                        <a:pt x="27" y="249"/>
                        <a:pt x="63" y="234"/>
                      </a:cubicBezTo>
                      <a:cubicBezTo>
                        <a:pt x="54" y="219"/>
                        <a:pt x="48" y="202"/>
                        <a:pt x="48" y="183"/>
                      </a:cubicBezTo>
                      <a:cubicBezTo>
                        <a:pt x="48" y="141"/>
                        <a:pt x="48" y="141"/>
                        <a:pt x="48" y="141"/>
                      </a:cubicBezTo>
                      <a:cubicBezTo>
                        <a:pt x="48" y="88"/>
                        <a:pt x="92" y="45"/>
                        <a:pt x="145" y="45"/>
                      </a:cubicBezTo>
                      <a:cubicBezTo>
                        <a:pt x="151" y="45"/>
                        <a:pt x="151" y="45"/>
                        <a:pt x="151" y="45"/>
                      </a:cubicBezTo>
                      <a:cubicBezTo>
                        <a:pt x="155" y="44"/>
                        <a:pt x="735" y="0"/>
                        <a:pt x="1169" y="105"/>
                      </a:cubicBezTo>
                      <a:cubicBezTo>
                        <a:pt x="1286" y="105"/>
                        <a:pt x="1286" y="105"/>
                        <a:pt x="1286" y="105"/>
                      </a:cubicBezTo>
                      <a:cubicBezTo>
                        <a:pt x="1301" y="105"/>
                        <a:pt x="1312" y="117"/>
                        <a:pt x="1312" y="131"/>
                      </a:cubicBezTo>
                      <a:cubicBezTo>
                        <a:pt x="1312" y="146"/>
                        <a:pt x="1301" y="158"/>
                        <a:pt x="1286" y="158"/>
                      </a:cubicBezTo>
                      <a:cubicBezTo>
                        <a:pt x="1166" y="158"/>
                        <a:pt x="1166" y="158"/>
                        <a:pt x="1166" y="158"/>
                      </a:cubicBezTo>
                      <a:cubicBezTo>
                        <a:pt x="1164" y="158"/>
                        <a:pt x="1162" y="157"/>
                        <a:pt x="1160" y="157"/>
                      </a:cubicBezTo>
                      <a:cubicBezTo>
                        <a:pt x="734" y="53"/>
                        <a:pt x="159" y="97"/>
                        <a:pt x="154" y="98"/>
                      </a:cubicBezTo>
                      <a:cubicBezTo>
                        <a:pt x="145" y="98"/>
                        <a:pt x="145" y="98"/>
                        <a:pt x="145" y="98"/>
                      </a:cubicBezTo>
                      <a:cubicBezTo>
                        <a:pt x="121" y="98"/>
                        <a:pt x="101" y="117"/>
                        <a:pt x="101" y="141"/>
                      </a:cubicBezTo>
                      <a:cubicBezTo>
                        <a:pt x="101" y="183"/>
                        <a:pt x="101" y="183"/>
                        <a:pt x="101" y="183"/>
                      </a:cubicBezTo>
                      <a:cubicBezTo>
                        <a:pt x="101" y="207"/>
                        <a:pt x="120" y="227"/>
                        <a:pt x="144" y="227"/>
                      </a:cubicBezTo>
                      <a:cubicBezTo>
                        <a:pt x="146" y="227"/>
                        <a:pt x="146" y="227"/>
                        <a:pt x="146" y="227"/>
                      </a:cubicBezTo>
                      <a:cubicBezTo>
                        <a:pt x="160" y="228"/>
                        <a:pt x="172" y="239"/>
                        <a:pt x="172" y="254"/>
                      </a:cubicBezTo>
                      <a:cubicBezTo>
                        <a:pt x="172" y="269"/>
                        <a:pt x="158" y="281"/>
                        <a:pt x="143" y="280"/>
                      </a:cubicBezTo>
                      <a:cubicBezTo>
                        <a:pt x="97" y="280"/>
                        <a:pt x="97" y="280"/>
                        <a:pt x="97" y="280"/>
                      </a:cubicBezTo>
                      <a:cubicBezTo>
                        <a:pt x="75" y="280"/>
                        <a:pt x="53" y="304"/>
                        <a:pt x="53" y="329"/>
                      </a:cubicBezTo>
                      <a:cubicBezTo>
                        <a:pt x="53" y="371"/>
                        <a:pt x="53" y="371"/>
                        <a:pt x="53" y="371"/>
                      </a:cubicBezTo>
                      <a:cubicBezTo>
                        <a:pt x="53" y="393"/>
                        <a:pt x="64" y="416"/>
                        <a:pt x="89" y="416"/>
                      </a:cubicBezTo>
                      <a:cubicBezTo>
                        <a:pt x="104" y="416"/>
                        <a:pt x="116" y="428"/>
                        <a:pt x="116" y="442"/>
                      </a:cubicBezTo>
                      <a:cubicBezTo>
                        <a:pt x="116" y="457"/>
                        <a:pt x="104" y="469"/>
                        <a:pt x="89" y="469"/>
                      </a:cubicBezTo>
                      <a:close/>
                    </a:path>
                  </a:pathLst>
                </a:custGeom>
                <a:solidFill>
                  <a:srgbClr val="000000"/>
                </a:solidFill>
                <a:ln>
                  <a:solidFill>
                    <a:srgbClr val="000000"/>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E2E38"/>
                    </a:solidFill>
                    <a:effectLst/>
                    <a:uLnTx/>
                    <a:uFillTx/>
                    <a:latin typeface="EYInterstate Light"/>
                    <a:ea typeface="+mn-ea"/>
                    <a:cs typeface="+mn-cs"/>
                  </a:endParaRPr>
                </a:p>
              </p:txBody>
            </p:sp>
            <p:sp>
              <p:nvSpPr>
                <p:cNvPr id="82" name="Freeform 10">
                  <a:extLst>
                    <a:ext uri="{FF2B5EF4-FFF2-40B4-BE49-F238E27FC236}">
                      <a16:creationId xmlns:a16="http://schemas.microsoft.com/office/drawing/2014/main" id="{213E8D91-6AD0-4EBA-B19E-D7CC025C6134}"/>
                    </a:ext>
                  </a:extLst>
                </p:cNvPr>
                <p:cNvSpPr>
                  <a:spLocks/>
                </p:cNvSpPr>
                <p:nvPr/>
              </p:nvSpPr>
              <p:spPr bwMode="auto">
                <a:xfrm>
                  <a:off x="7951825" y="3055439"/>
                  <a:ext cx="246866" cy="652851"/>
                </a:xfrm>
                <a:custGeom>
                  <a:avLst/>
                  <a:gdLst>
                    <a:gd name="T0" fmla="*/ 337 w 469"/>
                    <a:gd name="T1" fmla="*/ 1241 h 1241"/>
                    <a:gd name="T2" fmla="*/ 311 w 469"/>
                    <a:gd name="T3" fmla="*/ 1215 h 1241"/>
                    <a:gd name="T4" fmla="*/ 311 w 469"/>
                    <a:gd name="T5" fmla="*/ 1166 h 1241"/>
                    <a:gd name="T6" fmla="*/ 312 w 469"/>
                    <a:gd name="T7" fmla="*/ 1160 h 1241"/>
                    <a:gd name="T8" fmla="*/ 371 w 469"/>
                    <a:gd name="T9" fmla="*/ 153 h 1241"/>
                    <a:gd name="T10" fmla="*/ 371 w 469"/>
                    <a:gd name="T11" fmla="*/ 145 h 1241"/>
                    <a:gd name="T12" fmla="*/ 327 w 469"/>
                    <a:gd name="T13" fmla="*/ 101 h 1241"/>
                    <a:gd name="T14" fmla="*/ 285 w 469"/>
                    <a:gd name="T15" fmla="*/ 101 h 1241"/>
                    <a:gd name="T16" fmla="*/ 241 w 469"/>
                    <a:gd name="T17" fmla="*/ 144 h 1241"/>
                    <a:gd name="T18" fmla="*/ 241 w 469"/>
                    <a:gd name="T19" fmla="*/ 146 h 1241"/>
                    <a:gd name="T20" fmla="*/ 215 w 469"/>
                    <a:gd name="T21" fmla="*/ 172 h 1241"/>
                    <a:gd name="T22" fmla="*/ 215 w 469"/>
                    <a:gd name="T23" fmla="*/ 172 h 1241"/>
                    <a:gd name="T24" fmla="*/ 188 w 469"/>
                    <a:gd name="T25" fmla="*/ 145 h 1241"/>
                    <a:gd name="T26" fmla="*/ 188 w 469"/>
                    <a:gd name="T27" fmla="*/ 142 h 1241"/>
                    <a:gd name="T28" fmla="*/ 189 w 469"/>
                    <a:gd name="T29" fmla="*/ 97 h 1241"/>
                    <a:gd name="T30" fmla="*/ 139 w 469"/>
                    <a:gd name="T31" fmla="*/ 53 h 1241"/>
                    <a:gd name="T32" fmla="*/ 97 w 469"/>
                    <a:gd name="T33" fmla="*/ 53 h 1241"/>
                    <a:gd name="T34" fmla="*/ 53 w 469"/>
                    <a:gd name="T35" fmla="*/ 89 h 1241"/>
                    <a:gd name="T36" fmla="*/ 26 w 469"/>
                    <a:gd name="T37" fmla="*/ 116 h 1241"/>
                    <a:gd name="T38" fmla="*/ 0 w 469"/>
                    <a:gd name="T39" fmla="*/ 89 h 1241"/>
                    <a:gd name="T40" fmla="*/ 97 w 469"/>
                    <a:gd name="T41" fmla="*/ 0 h 1241"/>
                    <a:gd name="T42" fmla="*/ 139 w 469"/>
                    <a:gd name="T43" fmla="*/ 0 h 1241"/>
                    <a:gd name="T44" fmla="*/ 235 w 469"/>
                    <a:gd name="T45" fmla="*/ 62 h 1241"/>
                    <a:gd name="T46" fmla="*/ 285 w 469"/>
                    <a:gd name="T47" fmla="*/ 48 h 1241"/>
                    <a:gd name="T48" fmla="*/ 327 w 469"/>
                    <a:gd name="T49" fmla="*/ 48 h 1241"/>
                    <a:gd name="T50" fmla="*/ 424 w 469"/>
                    <a:gd name="T51" fmla="*/ 145 h 1241"/>
                    <a:gd name="T52" fmla="*/ 424 w 469"/>
                    <a:gd name="T53" fmla="*/ 151 h 1241"/>
                    <a:gd name="T54" fmla="*/ 364 w 469"/>
                    <a:gd name="T55" fmla="*/ 1169 h 1241"/>
                    <a:gd name="T56" fmla="*/ 364 w 469"/>
                    <a:gd name="T57" fmla="*/ 1215 h 1241"/>
                    <a:gd name="T58" fmla="*/ 337 w 469"/>
                    <a:gd name="T59" fmla="*/ 1241 h 1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69" h="1241">
                      <a:moveTo>
                        <a:pt x="337" y="1241"/>
                      </a:moveTo>
                      <a:cubicBezTo>
                        <a:pt x="323" y="1241"/>
                        <a:pt x="311" y="1229"/>
                        <a:pt x="311" y="1215"/>
                      </a:cubicBezTo>
                      <a:cubicBezTo>
                        <a:pt x="311" y="1166"/>
                        <a:pt x="311" y="1166"/>
                        <a:pt x="311" y="1166"/>
                      </a:cubicBezTo>
                      <a:cubicBezTo>
                        <a:pt x="311" y="1164"/>
                        <a:pt x="311" y="1162"/>
                        <a:pt x="312" y="1160"/>
                      </a:cubicBezTo>
                      <a:cubicBezTo>
                        <a:pt x="415" y="734"/>
                        <a:pt x="371" y="159"/>
                        <a:pt x="371" y="153"/>
                      </a:cubicBezTo>
                      <a:cubicBezTo>
                        <a:pt x="371" y="145"/>
                        <a:pt x="371" y="145"/>
                        <a:pt x="371" y="145"/>
                      </a:cubicBezTo>
                      <a:cubicBezTo>
                        <a:pt x="371" y="121"/>
                        <a:pt x="351" y="101"/>
                        <a:pt x="327" y="101"/>
                      </a:cubicBezTo>
                      <a:cubicBezTo>
                        <a:pt x="285" y="101"/>
                        <a:pt x="285" y="101"/>
                        <a:pt x="285" y="101"/>
                      </a:cubicBezTo>
                      <a:cubicBezTo>
                        <a:pt x="261" y="101"/>
                        <a:pt x="242" y="120"/>
                        <a:pt x="241" y="144"/>
                      </a:cubicBezTo>
                      <a:cubicBezTo>
                        <a:pt x="241" y="146"/>
                        <a:pt x="241" y="146"/>
                        <a:pt x="241" y="146"/>
                      </a:cubicBezTo>
                      <a:cubicBezTo>
                        <a:pt x="241" y="160"/>
                        <a:pt x="229" y="172"/>
                        <a:pt x="215" y="172"/>
                      </a:cubicBezTo>
                      <a:cubicBezTo>
                        <a:pt x="215" y="172"/>
                        <a:pt x="215" y="172"/>
                        <a:pt x="215" y="172"/>
                      </a:cubicBezTo>
                      <a:cubicBezTo>
                        <a:pt x="200" y="171"/>
                        <a:pt x="188" y="160"/>
                        <a:pt x="188" y="145"/>
                      </a:cubicBezTo>
                      <a:cubicBezTo>
                        <a:pt x="188" y="144"/>
                        <a:pt x="188" y="143"/>
                        <a:pt x="188" y="142"/>
                      </a:cubicBezTo>
                      <a:cubicBezTo>
                        <a:pt x="189" y="97"/>
                        <a:pt x="189" y="97"/>
                        <a:pt x="189" y="97"/>
                      </a:cubicBezTo>
                      <a:cubicBezTo>
                        <a:pt x="189" y="74"/>
                        <a:pt x="165" y="53"/>
                        <a:pt x="139" y="53"/>
                      </a:cubicBezTo>
                      <a:cubicBezTo>
                        <a:pt x="97" y="53"/>
                        <a:pt x="97" y="53"/>
                        <a:pt x="97" y="53"/>
                      </a:cubicBezTo>
                      <a:cubicBezTo>
                        <a:pt x="75" y="53"/>
                        <a:pt x="53" y="64"/>
                        <a:pt x="53" y="89"/>
                      </a:cubicBezTo>
                      <a:cubicBezTo>
                        <a:pt x="53" y="104"/>
                        <a:pt x="41" y="116"/>
                        <a:pt x="26" y="116"/>
                      </a:cubicBezTo>
                      <a:cubicBezTo>
                        <a:pt x="12" y="116"/>
                        <a:pt x="0" y="104"/>
                        <a:pt x="0" y="89"/>
                      </a:cubicBezTo>
                      <a:cubicBezTo>
                        <a:pt x="0" y="37"/>
                        <a:pt x="41" y="0"/>
                        <a:pt x="97" y="0"/>
                      </a:cubicBezTo>
                      <a:cubicBezTo>
                        <a:pt x="139" y="0"/>
                        <a:pt x="139" y="0"/>
                        <a:pt x="139" y="0"/>
                      </a:cubicBezTo>
                      <a:cubicBezTo>
                        <a:pt x="181" y="0"/>
                        <a:pt x="219" y="27"/>
                        <a:pt x="235" y="62"/>
                      </a:cubicBezTo>
                      <a:cubicBezTo>
                        <a:pt x="249" y="53"/>
                        <a:pt x="267" y="48"/>
                        <a:pt x="285" y="48"/>
                      </a:cubicBezTo>
                      <a:cubicBezTo>
                        <a:pt x="327" y="48"/>
                        <a:pt x="327" y="48"/>
                        <a:pt x="327" y="48"/>
                      </a:cubicBezTo>
                      <a:cubicBezTo>
                        <a:pt x="380" y="48"/>
                        <a:pt x="424" y="92"/>
                        <a:pt x="424" y="145"/>
                      </a:cubicBezTo>
                      <a:cubicBezTo>
                        <a:pt x="424" y="151"/>
                        <a:pt x="424" y="151"/>
                        <a:pt x="424" y="151"/>
                      </a:cubicBezTo>
                      <a:cubicBezTo>
                        <a:pt x="424" y="155"/>
                        <a:pt x="469" y="735"/>
                        <a:pt x="364" y="1169"/>
                      </a:cubicBezTo>
                      <a:cubicBezTo>
                        <a:pt x="364" y="1215"/>
                        <a:pt x="364" y="1215"/>
                        <a:pt x="364" y="1215"/>
                      </a:cubicBezTo>
                      <a:cubicBezTo>
                        <a:pt x="364" y="1229"/>
                        <a:pt x="352" y="1241"/>
                        <a:pt x="337" y="1241"/>
                      </a:cubicBezTo>
                      <a:close/>
                    </a:path>
                  </a:pathLst>
                </a:custGeom>
                <a:solidFill>
                  <a:srgbClr val="747480"/>
                </a:solidFill>
                <a:ln>
                  <a:solidFill>
                    <a:srgbClr val="55556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E2E38"/>
                    </a:solidFill>
                    <a:effectLst/>
                    <a:uLnTx/>
                    <a:uFillTx/>
                    <a:latin typeface="EYInterstate Light"/>
                    <a:ea typeface="+mn-ea"/>
                    <a:cs typeface="+mn-cs"/>
                  </a:endParaRPr>
                </a:p>
              </p:txBody>
            </p:sp>
            <p:sp>
              <p:nvSpPr>
                <p:cNvPr id="83" name="Freeform 13">
                  <a:extLst>
                    <a:ext uri="{FF2B5EF4-FFF2-40B4-BE49-F238E27FC236}">
                      <a16:creationId xmlns:a16="http://schemas.microsoft.com/office/drawing/2014/main" id="{D52FB297-6DCD-4AC3-9F06-B79E61E98817}"/>
                    </a:ext>
                  </a:extLst>
                </p:cNvPr>
                <p:cNvSpPr>
                  <a:spLocks/>
                </p:cNvSpPr>
                <p:nvPr/>
              </p:nvSpPr>
              <p:spPr bwMode="auto">
                <a:xfrm>
                  <a:off x="7149217" y="3511733"/>
                  <a:ext cx="248036" cy="652851"/>
                </a:xfrm>
                <a:custGeom>
                  <a:avLst/>
                  <a:gdLst>
                    <a:gd name="T0" fmla="*/ 371 w 469"/>
                    <a:gd name="T1" fmla="*/ 1242 h 1242"/>
                    <a:gd name="T2" fmla="*/ 329 w 469"/>
                    <a:gd name="T3" fmla="*/ 1242 h 1242"/>
                    <a:gd name="T4" fmla="*/ 234 w 469"/>
                    <a:gd name="T5" fmla="*/ 1179 h 1242"/>
                    <a:gd name="T6" fmla="*/ 183 w 469"/>
                    <a:gd name="T7" fmla="*/ 1194 h 1242"/>
                    <a:gd name="T8" fmla="*/ 142 w 469"/>
                    <a:gd name="T9" fmla="*/ 1194 h 1242"/>
                    <a:gd name="T10" fmla="*/ 45 w 469"/>
                    <a:gd name="T11" fmla="*/ 1096 h 1242"/>
                    <a:gd name="T12" fmla="*/ 45 w 469"/>
                    <a:gd name="T13" fmla="*/ 1090 h 1242"/>
                    <a:gd name="T14" fmla="*/ 105 w 469"/>
                    <a:gd name="T15" fmla="*/ 73 h 1242"/>
                    <a:gd name="T16" fmla="*/ 105 w 469"/>
                    <a:gd name="T17" fmla="*/ 27 h 1242"/>
                    <a:gd name="T18" fmla="*/ 131 w 469"/>
                    <a:gd name="T19" fmla="*/ 0 h 1242"/>
                    <a:gd name="T20" fmla="*/ 158 w 469"/>
                    <a:gd name="T21" fmla="*/ 27 h 1242"/>
                    <a:gd name="T22" fmla="*/ 158 w 469"/>
                    <a:gd name="T23" fmla="*/ 76 h 1242"/>
                    <a:gd name="T24" fmla="*/ 157 w 469"/>
                    <a:gd name="T25" fmla="*/ 82 h 1242"/>
                    <a:gd name="T26" fmla="*/ 98 w 469"/>
                    <a:gd name="T27" fmla="*/ 1088 h 1242"/>
                    <a:gd name="T28" fmla="*/ 98 w 469"/>
                    <a:gd name="T29" fmla="*/ 1096 h 1242"/>
                    <a:gd name="T30" fmla="*/ 142 w 469"/>
                    <a:gd name="T31" fmla="*/ 1141 h 1242"/>
                    <a:gd name="T32" fmla="*/ 183 w 469"/>
                    <a:gd name="T33" fmla="*/ 1141 h 1242"/>
                    <a:gd name="T34" fmla="*/ 227 w 469"/>
                    <a:gd name="T35" fmla="*/ 1098 h 1242"/>
                    <a:gd name="T36" fmla="*/ 227 w 469"/>
                    <a:gd name="T37" fmla="*/ 1096 h 1242"/>
                    <a:gd name="T38" fmla="*/ 254 w 469"/>
                    <a:gd name="T39" fmla="*/ 1070 h 1242"/>
                    <a:gd name="T40" fmla="*/ 280 w 469"/>
                    <a:gd name="T41" fmla="*/ 1096 h 1242"/>
                    <a:gd name="T42" fmla="*/ 280 w 469"/>
                    <a:gd name="T43" fmla="*/ 1099 h 1242"/>
                    <a:gd name="T44" fmla="*/ 280 w 469"/>
                    <a:gd name="T45" fmla="*/ 1145 h 1242"/>
                    <a:gd name="T46" fmla="*/ 329 w 469"/>
                    <a:gd name="T47" fmla="*/ 1189 h 1242"/>
                    <a:gd name="T48" fmla="*/ 371 w 469"/>
                    <a:gd name="T49" fmla="*/ 1189 h 1242"/>
                    <a:gd name="T50" fmla="*/ 416 w 469"/>
                    <a:gd name="T51" fmla="*/ 1152 h 1242"/>
                    <a:gd name="T52" fmla="*/ 442 w 469"/>
                    <a:gd name="T53" fmla="*/ 1126 h 1242"/>
                    <a:gd name="T54" fmla="*/ 469 w 469"/>
                    <a:gd name="T55" fmla="*/ 1152 h 1242"/>
                    <a:gd name="T56" fmla="*/ 371 w 469"/>
                    <a:gd name="T57" fmla="*/ 1242 h 1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69" h="1242">
                      <a:moveTo>
                        <a:pt x="371" y="1242"/>
                      </a:moveTo>
                      <a:cubicBezTo>
                        <a:pt x="329" y="1242"/>
                        <a:pt x="329" y="1242"/>
                        <a:pt x="329" y="1242"/>
                      </a:cubicBezTo>
                      <a:cubicBezTo>
                        <a:pt x="288" y="1242"/>
                        <a:pt x="250" y="1215"/>
                        <a:pt x="234" y="1179"/>
                      </a:cubicBezTo>
                      <a:cubicBezTo>
                        <a:pt x="219" y="1188"/>
                        <a:pt x="202" y="1194"/>
                        <a:pt x="183" y="1194"/>
                      </a:cubicBezTo>
                      <a:cubicBezTo>
                        <a:pt x="142" y="1194"/>
                        <a:pt x="142" y="1194"/>
                        <a:pt x="142" y="1194"/>
                      </a:cubicBezTo>
                      <a:cubicBezTo>
                        <a:pt x="88" y="1194"/>
                        <a:pt x="45" y="1150"/>
                        <a:pt x="45" y="1096"/>
                      </a:cubicBezTo>
                      <a:cubicBezTo>
                        <a:pt x="45" y="1090"/>
                        <a:pt x="45" y="1090"/>
                        <a:pt x="45" y="1090"/>
                      </a:cubicBezTo>
                      <a:cubicBezTo>
                        <a:pt x="45" y="1087"/>
                        <a:pt x="0" y="507"/>
                        <a:pt x="105" y="73"/>
                      </a:cubicBezTo>
                      <a:cubicBezTo>
                        <a:pt x="105" y="27"/>
                        <a:pt x="105" y="27"/>
                        <a:pt x="105" y="27"/>
                      </a:cubicBezTo>
                      <a:cubicBezTo>
                        <a:pt x="105" y="12"/>
                        <a:pt x="117" y="0"/>
                        <a:pt x="131" y="0"/>
                      </a:cubicBezTo>
                      <a:cubicBezTo>
                        <a:pt x="146" y="0"/>
                        <a:pt x="158" y="12"/>
                        <a:pt x="158" y="27"/>
                      </a:cubicBezTo>
                      <a:cubicBezTo>
                        <a:pt x="158" y="76"/>
                        <a:pt x="158" y="76"/>
                        <a:pt x="158" y="76"/>
                      </a:cubicBezTo>
                      <a:cubicBezTo>
                        <a:pt x="158" y="78"/>
                        <a:pt x="157" y="80"/>
                        <a:pt x="157" y="82"/>
                      </a:cubicBezTo>
                      <a:cubicBezTo>
                        <a:pt x="53" y="508"/>
                        <a:pt x="97" y="1083"/>
                        <a:pt x="98" y="1088"/>
                      </a:cubicBezTo>
                      <a:cubicBezTo>
                        <a:pt x="98" y="1096"/>
                        <a:pt x="98" y="1096"/>
                        <a:pt x="98" y="1096"/>
                      </a:cubicBezTo>
                      <a:cubicBezTo>
                        <a:pt x="98" y="1121"/>
                        <a:pt x="117" y="1141"/>
                        <a:pt x="142" y="1141"/>
                      </a:cubicBezTo>
                      <a:cubicBezTo>
                        <a:pt x="183" y="1141"/>
                        <a:pt x="183" y="1141"/>
                        <a:pt x="183" y="1141"/>
                      </a:cubicBezTo>
                      <a:cubicBezTo>
                        <a:pt x="207" y="1141"/>
                        <a:pt x="227" y="1122"/>
                        <a:pt x="227" y="1098"/>
                      </a:cubicBezTo>
                      <a:cubicBezTo>
                        <a:pt x="227" y="1096"/>
                        <a:pt x="227" y="1096"/>
                        <a:pt x="227" y="1096"/>
                      </a:cubicBezTo>
                      <a:cubicBezTo>
                        <a:pt x="228" y="1082"/>
                        <a:pt x="240" y="1070"/>
                        <a:pt x="254" y="1070"/>
                      </a:cubicBezTo>
                      <a:cubicBezTo>
                        <a:pt x="269" y="1070"/>
                        <a:pt x="280" y="1082"/>
                        <a:pt x="280" y="1096"/>
                      </a:cubicBezTo>
                      <a:cubicBezTo>
                        <a:pt x="280" y="1097"/>
                        <a:pt x="280" y="1098"/>
                        <a:pt x="280" y="1099"/>
                      </a:cubicBezTo>
                      <a:cubicBezTo>
                        <a:pt x="280" y="1145"/>
                        <a:pt x="280" y="1145"/>
                        <a:pt x="280" y="1145"/>
                      </a:cubicBezTo>
                      <a:cubicBezTo>
                        <a:pt x="280" y="1167"/>
                        <a:pt x="304" y="1189"/>
                        <a:pt x="329" y="1189"/>
                      </a:cubicBezTo>
                      <a:cubicBezTo>
                        <a:pt x="371" y="1189"/>
                        <a:pt x="371" y="1189"/>
                        <a:pt x="371" y="1189"/>
                      </a:cubicBezTo>
                      <a:cubicBezTo>
                        <a:pt x="394" y="1189"/>
                        <a:pt x="416" y="1178"/>
                        <a:pt x="416" y="1152"/>
                      </a:cubicBezTo>
                      <a:cubicBezTo>
                        <a:pt x="416" y="1138"/>
                        <a:pt x="428" y="1126"/>
                        <a:pt x="442" y="1126"/>
                      </a:cubicBezTo>
                      <a:cubicBezTo>
                        <a:pt x="457" y="1126"/>
                        <a:pt x="469" y="1138"/>
                        <a:pt x="469" y="1152"/>
                      </a:cubicBezTo>
                      <a:cubicBezTo>
                        <a:pt x="469" y="1204"/>
                        <a:pt x="428" y="1242"/>
                        <a:pt x="371" y="1242"/>
                      </a:cubicBezTo>
                      <a:close/>
                    </a:path>
                  </a:pathLst>
                </a:custGeom>
                <a:solidFill>
                  <a:schemeClr val="accent5"/>
                </a:solidFill>
                <a:ln>
                  <a:solidFill>
                    <a:schemeClr val="accent5"/>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E2E38"/>
                    </a:solidFill>
                    <a:effectLst/>
                    <a:uLnTx/>
                    <a:uFillTx/>
                    <a:latin typeface="EYInterstate Light"/>
                    <a:ea typeface="+mn-ea"/>
                    <a:cs typeface="+mn-cs"/>
                  </a:endParaRPr>
                </a:p>
              </p:txBody>
            </p:sp>
            <p:sp>
              <p:nvSpPr>
                <p:cNvPr id="84" name="Freeform 7">
                  <a:extLst>
                    <a:ext uri="{FF2B5EF4-FFF2-40B4-BE49-F238E27FC236}">
                      <a16:creationId xmlns:a16="http://schemas.microsoft.com/office/drawing/2014/main" id="{0D8957FA-61E1-4AC9-913B-ECA08F150898}"/>
                    </a:ext>
                  </a:extLst>
                </p:cNvPr>
                <p:cNvSpPr>
                  <a:spLocks/>
                </p:cNvSpPr>
                <p:nvPr/>
              </p:nvSpPr>
              <p:spPr bwMode="auto">
                <a:xfrm>
                  <a:off x="7564560" y="3876768"/>
                  <a:ext cx="677420" cy="228147"/>
                </a:xfrm>
                <a:custGeom>
                  <a:avLst/>
                  <a:gdLst>
                    <a:gd name="T0" fmla="*/ 830 w 1283"/>
                    <a:gd name="T1" fmla="*/ 433 h 433"/>
                    <a:gd name="T2" fmla="*/ 114 w 1283"/>
                    <a:gd name="T3" fmla="*/ 364 h 433"/>
                    <a:gd name="T4" fmla="*/ 26 w 1283"/>
                    <a:gd name="T5" fmla="*/ 364 h 433"/>
                    <a:gd name="T6" fmla="*/ 0 w 1283"/>
                    <a:gd name="T7" fmla="*/ 337 h 433"/>
                    <a:gd name="T8" fmla="*/ 26 w 1283"/>
                    <a:gd name="T9" fmla="*/ 311 h 433"/>
                    <a:gd name="T10" fmla="*/ 117 w 1283"/>
                    <a:gd name="T11" fmla="*/ 311 h 433"/>
                    <a:gd name="T12" fmla="*/ 123 w 1283"/>
                    <a:gd name="T13" fmla="*/ 312 h 433"/>
                    <a:gd name="T14" fmla="*/ 1129 w 1283"/>
                    <a:gd name="T15" fmla="*/ 371 h 433"/>
                    <a:gd name="T16" fmla="*/ 1137 w 1283"/>
                    <a:gd name="T17" fmla="*/ 371 h 433"/>
                    <a:gd name="T18" fmla="*/ 1182 w 1283"/>
                    <a:gd name="T19" fmla="*/ 327 h 433"/>
                    <a:gd name="T20" fmla="*/ 1182 w 1283"/>
                    <a:gd name="T21" fmla="*/ 285 h 433"/>
                    <a:gd name="T22" fmla="*/ 1139 w 1283"/>
                    <a:gd name="T23" fmla="*/ 241 h 433"/>
                    <a:gd name="T24" fmla="*/ 1137 w 1283"/>
                    <a:gd name="T25" fmla="*/ 241 h 433"/>
                    <a:gd name="T26" fmla="*/ 1111 w 1283"/>
                    <a:gd name="T27" fmla="*/ 214 h 433"/>
                    <a:gd name="T28" fmla="*/ 1140 w 1283"/>
                    <a:gd name="T29" fmla="*/ 188 h 433"/>
                    <a:gd name="T30" fmla="*/ 1186 w 1283"/>
                    <a:gd name="T31" fmla="*/ 189 h 433"/>
                    <a:gd name="T32" fmla="*/ 1230 w 1283"/>
                    <a:gd name="T33" fmla="*/ 139 h 433"/>
                    <a:gd name="T34" fmla="*/ 1230 w 1283"/>
                    <a:gd name="T35" fmla="*/ 97 h 433"/>
                    <a:gd name="T36" fmla="*/ 1193 w 1283"/>
                    <a:gd name="T37" fmla="*/ 52 h 433"/>
                    <a:gd name="T38" fmla="*/ 1167 w 1283"/>
                    <a:gd name="T39" fmla="*/ 26 h 433"/>
                    <a:gd name="T40" fmla="*/ 1193 w 1283"/>
                    <a:gd name="T41" fmla="*/ 0 h 433"/>
                    <a:gd name="T42" fmla="*/ 1283 w 1283"/>
                    <a:gd name="T43" fmla="*/ 97 h 433"/>
                    <a:gd name="T44" fmla="*/ 1283 w 1283"/>
                    <a:gd name="T45" fmla="*/ 139 h 433"/>
                    <a:gd name="T46" fmla="*/ 1220 w 1283"/>
                    <a:gd name="T47" fmla="*/ 234 h 433"/>
                    <a:gd name="T48" fmla="*/ 1235 w 1283"/>
                    <a:gd name="T49" fmla="*/ 285 h 433"/>
                    <a:gd name="T50" fmla="*/ 1235 w 1283"/>
                    <a:gd name="T51" fmla="*/ 327 h 433"/>
                    <a:gd name="T52" fmla="*/ 1137 w 1283"/>
                    <a:gd name="T53" fmla="*/ 424 h 433"/>
                    <a:gd name="T54" fmla="*/ 1131 w 1283"/>
                    <a:gd name="T55" fmla="*/ 424 h 433"/>
                    <a:gd name="T56" fmla="*/ 830 w 1283"/>
                    <a:gd name="T57" fmla="*/ 433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283" h="433">
                      <a:moveTo>
                        <a:pt x="830" y="433"/>
                      </a:moveTo>
                      <a:cubicBezTo>
                        <a:pt x="624" y="433"/>
                        <a:pt x="348" y="420"/>
                        <a:pt x="114" y="364"/>
                      </a:cubicBezTo>
                      <a:cubicBezTo>
                        <a:pt x="26" y="364"/>
                        <a:pt x="26" y="364"/>
                        <a:pt x="26" y="364"/>
                      </a:cubicBezTo>
                      <a:cubicBezTo>
                        <a:pt x="11" y="364"/>
                        <a:pt x="0" y="352"/>
                        <a:pt x="0" y="337"/>
                      </a:cubicBezTo>
                      <a:cubicBezTo>
                        <a:pt x="0" y="323"/>
                        <a:pt x="11" y="311"/>
                        <a:pt x="26" y="311"/>
                      </a:cubicBezTo>
                      <a:cubicBezTo>
                        <a:pt x="117" y="311"/>
                        <a:pt x="117" y="311"/>
                        <a:pt x="117" y="311"/>
                      </a:cubicBezTo>
                      <a:cubicBezTo>
                        <a:pt x="119" y="311"/>
                        <a:pt x="121" y="311"/>
                        <a:pt x="123" y="312"/>
                      </a:cubicBezTo>
                      <a:cubicBezTo>
                        <a:pt x="549" y="415"/>
                        <a:pt x="1124" y="371"/>
                        <a:pt x="1129" y="371"/>
                      </a:cubicBezTo>
                      <a:cubicBezTo>
                        <a:pt x="1137" y="371"/>
                        <a:pt x="1137" y="371"/>
                        <a:pt x="1137" y="371"/>
                      </a:cubicBezTo>
                      <a:cubicBezTo>
                        <a:pt x="1162" y="371"/>
                        <a:pt x="1182" y="351"/>
                        <a:pt x="1182" y="327"/>
                      </a:cubicBezTo>
                      <a:cubicBezTo>
                        <a:pt x="1182" y="285"/>
                        <a:pt x="1182" y="285"/>
                        <a:pt x="1182" y="285"/>
                      </a:cubicBezTo>
                      <a:cubicBezTo>
                        <a:pt x="1182" y="261"/>
                        <a:pt x="1163" y="242"/>
                        <a:pt x="1139" y="241"/>
                      </a:cubicBezTo>
                      <a:cubicBezTo>
                        <a:pt x="1137" y="241"/>
                        <a:pt x="1137" y="241"/>
                        <a:pt x="1137" y="241"/>
                      </a:cubicBezTo>
                      <a:cubicBezTo>
                        <a:pt x="1123" y="241"/>
                        <a:pt x="1111" y="229"/>
                        <a:pt x="1111" y="214"/>
                      </a:cubicBezTo>
                      <a:cubicBezTo>
                        <a:pt x="1111" y="199"/>
                        <a:pt x="1125" y="188"/>
                        <a:pt x="1140" y="188"/>
                      </a:cubicBezTo>
                      <a:cubicBezTo>
                        <a:pt x="1186" y="189"/>
                        <a:pt x="1186" y="189"/>
                        <a:pt x="1186" y="189"/>
                      </a:cubicBezTo>
                      <a:cubicBezTo>
                        <a:pt x="1208" y="189"/>
                        <a:pt x="1230" y="165"/>
                        <a:pt x="1230" y="139"/>
                      </a:cubicBezTo>
                      <a:cubicBezTo>
                        <a:pt x="1230" y="97"/>
                        <a:pt x="1230" y="97"/>
                        <a:pt x="1230" y="97"/>
                      </a:cubicBezTo>
                      <a:cubicBezTo>
                        <a:pt x="1230" y="75"/>
                        <a:pt x="1219" y="52"/>
                        <a:pt x="1193" y="52"/>
                      </a:cubicBezTo>
                      <a:cubicBezTo>
                        <a:pt x="1179" y="52"/>
                        <a:pt x="1167" y="41"/>
                        <a:pt x="1167" y="26"/>
                      </a:cubicBezTo>
                      <a:cubicBezTo>
                        <a:pt x="1167" y="11"/>
                        <a:pt x="1179" y="0"/>
                        <a:pt x="1193" y="0"/>
                      </a:cubicBezTo>
                      <a:cubicBezTo>
                        <a:pt x="1245" y="0"/>
                        <a:pt x="1283" y="41"/>
                        <a:pt x="1283" y="97"/>
                      </a:cubicBezTo>
                      <a:cubicBezTo>
                        <a:pt x="1283" y="139"/>
                        <a:pt x="1283" y="139"/>
                        <a:pt x="1283" y="139"/>
                      </a:cubicBezTo>
                      <a:cubicBezTo>
                        <a:pt x="1283" y="181"/>
                        <a:pt x="1256" y="219"/>
                        <a:pt x="1220" y="234"/>
                      </a:cubicBezTo>
                      <a:cubicBezTo>
                        <a:pt x="1229" y="249"/>
                        <a:pt x="1235" y="267"/>
                        <a:pt x="1235" y="285"/>
                      </a:cubicBezTo>
                      <a:cubicBezTo>
                        <a:pt x="1235" y="327"/>
                        <a:pt x="1235" y="327"/>
                        <a:pt x="1235" y="327"/>
                      </a:cubicBezTo>
                      <a:cubicBezTo>
                        <a:pt x="1235" y="380"/>
                        <a:pt x="1191" y="424"/>
                        <a:pt x="1137" y="424"/>
                      </a:cubicBezTo>
                      <a:cubicBezTo>
                        <a:pt x="1131" y="424"/>
                        <a:pt x="1131" y="424"/>
                        <a:pt x="1131" y="424"/>
                      </a:cubicBezTo>
                      <a:cubicBezTo>
                        <a:pt x="1130" y="424"/>
                        <a:pt x="1006" y="433"/>
                        <a:pt x="830" y="433"/>
                      </a:cubicBezTo>
                      <a:close/>
                    </a:path>
                  </a:pathLst>
                </a:custGeom>
                <a:solidFill>
                  <a:srgbClr val="FFE600"/>
                </a:solidFill>
                <a:ln w="9525">
                  <a:solidFill>
                    <a:srgbClr val="FFE6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E2E38"/>
                    </a:solidFill>
                    <a:effectLst/>
                    <a:uLnTx/>
                    <a:uFillTx/>
                    <a:latin typeface="EYInterstate Light"/>
                    <a:ea typeface="+mn-ea"/>
                    <a:cs typeface="+mn-cs"/>
                  </a:endParaRPr>
                </a:p>
              </p:txBody>
            </p:sp>
            <p:sp>
              <p:nvSpPr>
                <p:cNvPr id="85" name="Freeform 15">
                  <a:extLst>
                    <a:ext uri="{FF2B5EF4-FFF2-40B4-BE49-F238E27FC236}">
                      <a16:creationId xmlns:a16="http://schemas.microsoft.com/office/drawing/2014/main" id="{D79B4AE1-3DC5-4038-B223-4A832A1859AA}"/>
                    </a:ext>
                  </a:extLst>
                </p:cNvPr>
                <p:cNvSpPr>
                  <a:spLocks/>
                </p:cNvSpPr>
                <p:nvPr/>
              </p:nvSpPr>
              <p:spPr bwMode="auto">
                <a:xfrm>
                  <a:off x="7046258" y="3409944"/>
                  <a:ext cx="762829" cy="129868"/>
                </a:xfrm>
                <a:custGeom>
                  <a:avLst/>
                  <a:gdLst>
                    <a:gd name="T0" fmla="*/ 104 w 1444"/>
                    <a:gd name="T1" fmla="*/ 238 h 247"/>
                    <a:gd name="T2" fmla="*/ 26 w 1444"/>
                    <a:gd name="T3" fmla="*/ 214 h 247"/>
                    <a:gd name="T4" fmla="*/ 0 w 1444"/>
                    <a:gd name="T5" fmla="*/ 141 h 247"/>
                    <a:gd name="T6" fmla="*/ 0 w 1444"/>
                    <a:gd name="T7" fmla="*/ 99 h 247"/>
                    <a:gd name="T8" fmla="*/ 26 w 1444"/>
                    <a:gd name="T9" fmla="*/ 31 h 247"/>
                    <a:gd name="T10" fmla="*/ 138 w 1444"/>
                    <a:gd name="T11" fmla="*/ 0 h 247"/>
                    <a:gd name="T12" fmla="*/ 144 w 1444"/>
                    <a:gd name="T13" fmla="*/ 0 h 247"/>
                    <a:gd name="T14" fmla="*/ 170 w 1444"/>
                    <a:gd name="T15" fmla="*/ 26 h 247"/>
                    <a:gd name="T16" fmla="*/ 144 w 1444"/>
                    <a:gd name="T17" fmla="*/ 53 h 247"/>
                    <a:gd name="T18" fmla="*/ 138 w 1444"/>
                    <a:gd name="T19" fmla="*/ 53 h 247"/>
                    <a:gd name="T20" fmla="*/ 63 w 1444"/>
                    <a:gd name="T21" fmla="*/ 68 h 247"/>
                    <a:gd name="T22" fmla="*/ 53 w 1444"/>
                    <a:gd name="T23" fmla="*/ 99 h 247"/>
                    <a:gd name="T24" fmla="*/ 53 w 1444"/>
                    <a:gd name="T25" fmla="*/ 141 h 247"/>
                    <a:gd name="T26" fmla="*/ 63 w 1444"/>
                    <a:gd name="T27" fmla="*/ 176 h 247"/>
                    <a:gd name="T28" fmla="*/ 115 w 1444"/>
                    <a:gd name="T29" fmla="*/ 185 h 247"/>
                    <a:gd name="T30" fmla="*/ 127 w 1444"/>
                    <a:gd name="T31" fmla="*/ 185 h 247"/>
                    <a:gd name="T32" fmla="*/ 404 w 1444"/>
                    <a:gd name="T33" fmla="*/ 185 h 247"/>
                    <a:gd name="T34" fmla="*/ 875 w 1444"/>
                    <a:gd name="T35" fmla="*/ 100 h 247"/>
                    <a:gd name="T36" fmla="*/ 1244 w 1444"/>
                    <a:gd name="T37" fmla="*/ 31 h 247"/>
                    <a:gd name="T38" fmla="*/ 1417 w 1444"/>
                    <a:gd name="T39" fmla="*/ 31 h 247"/>
                    <a:gd name="T40" fmla="*/ 1444 w 1444"/>
                    <a:gd name="T41" fmla="*/ 57 h 247"/>
                    <a:gd name="T42" fmla="*/ 1417 w 1444"/>
                    <a:gd name="T43" fmla="*/ 84 h 247"/>
                    <a:gd name="T44" fmla="*/ 1245 w 1444"/>
                    <a:gd name="T45" fmla="*/ 84 h 247"/>
                    <a:gd name="T46" fmla="*/ 898 w 1444"/>
                    <a:gd name="T47" fmla="*/ 148 h 247"/>
                    <a:gd name="T48" fmla="*/ 403 w 1444"/>
                    <a:gd name="T49" fmla="*/ 238 h 247"/>
                    <a:gd name="T50" fmla="*/ 116 w 1444"/>
                    <a:gd name="T51" fmla="*/ 238 h 247"/>
                    <a:gd name="T52" fmla="*/ 104 w 1444"/>
                    <a:gd name="T53" fmla="*/ 238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444" h="247">
                      <a:moveTo>
                        <a:pt x="104" y="238"/>
                      </a:moveTo>
                      <a:cubicBezTo>
                        <a:pt x="78" y="238"/>
                        <a:pt x="48" y="236"/>
                        <a:pt x="26" y="214"/>
                      </a:cubicBezTo>
                      <a:cubicBezTo>
                        <a:pt x="9" y="197"/>
                        <a:pt x="0" y="173"/>
                        <a:pt x="0" y="141"/>
                      </a:cubicBezTo>
                      <a:cubicBezTo>
                        <a:pt x="0" y="99"/>
                        <a:pt x="0" y="99"/>
                        <a:pt x="0" y="99"/>
                      </a:cubicBezTo>
                      <a:cubicBezTo>
                        <a:pt x="0" y="71"/>
                        <a:pt x="9" y="48"/>
                        <a:pt x="26" y="31"/>
                      </a:cubicBezTo>
                      <a:cubicBezTo>
                        <a:pt x="57" y="0"/>
                        <a:pt x="108" y="0"/>
                        <a:pt x="138" y="0"/>
                      </a:cubicBezTo>
                      <a:cubicBezTo>
                        <a:pt x="144" y="0"/>
                        <a:pt x="144" y="0"/>
                        <a:pt x="144" y="0"/>
                      </a:cubicBezTo>
                      <a:cubicBezTo>
                        <a:pt x="158" y="0"/>
                        <a:pt x="170" y="12"/>
                        <a:pt x="170" y="26"/>
                      </a:cubicBezTo>
                      <a:cubicBezTo>
                        <a:pt x="170" y="41"/>
                        <a:pt x="158" y="53"/>
                        <a:pt x="144" y="53"/>
                      </a:cubicBezTo>
                      <a:cubicBezTo>
                        <a:pt x="138" y="53"/>
                        <a:pt x="138" y="53"/>
                        <a:pt x="138" y="53"/>
                      </a:cubicBezTo>
                      <a:cubicBezTo>
                        <a:pt x="115" y="53"/>
                        <a:pt x="79" y="52"/>
                        <a:pt x="63" y="68"/>
                      </a:cubicBezTo>
                      <a:cubicBezTo>
                        <a:pt x="56" y="75"/>
                        <a:pt x="53" y="85"/>
                        <a:pt x="53" y="99"/>
                      </a:cubicBezTo>
                      <a:cubicBezTo>
                        <a:pt x="53" y="141"/>
                        <a:pt x="53" y="141"/>
                        <a:pt x="53" y="141"/>
                      </a:cubicBezTo>
                      <a:cubicBezTo>
                        <a:pt x="53" y="158"/>
                        <a:pt x="56" y="170"/>
                        <a:pt x="63" y="176"/>
                      </a:cubicBezTo>
                      <a:cubicBezTo>
                        <a:pt x="73" y="186"/>
                        <a:pt x="96" y="186"/>
                        <a:pt x="115" y="185"/>
                      </a:cubicBezTo>
                      <a:cubicBezTo>
                        <a:pt x="127" y="185"/>
                        <a:pt x="127" y="185"/>
                        <a:pt x="127" y="185"/>
                      </a:cubicBezTo>
                      <a:cubicBezTo>
                        <a:pt x="404" y="185"/>
                        <a:pt x="404" y="185"/>
                        <a:pt x="404" y="185"/>
                      </a:cubicBezTo>
                      <a:cubicBezTo>
                        <a:pt x="408" y="185"/>
                        <a:pt x="682" y="193"/>
                        <a:pt x="875" y="100"/>
                      </a:cubicBezTo>
                      <a:cubicBezTo>
                        <a:pt x="1004" y="38"/>
                        <a:pt x="1235" y="31"/>
                        <a:pt x="1244" y="31"/>
                      </a:cubicBezTo>
                      <a:cubicBezTo>
                        <a:pt x="1417" y="31"/>
                        <a:pt x="1417" y="31"/>
                        <a:pt x="1417" y="31"/>
                      </a:cubicBezTo>
                      <a:cubicBezTo>
                        <a:pt x="1432" y="31"/>
                        <a:pt x="1444" y="43"/>
                        <a:pt x="1444" y="57"/>
                      </a:cubicBezTo>
                      <a:cubicBezTo>
                        <a:pt x="1444" y="72"/>
                        <a:pt x="1432" y="84"/>
                        <a:pt x="1417" y="84"/>
                      </a:cubicBezTo>
                      <a:cubicBezTo>
                        <a:pt x="1245" y="84"/>
                        <a:pt x="1245" y="84"/>
                        <a:pt x="1245" y="84"/>
                      </a:cubicBezTo>
                      <a:cubicBezTo>
                        <a:pt x="1244" y="84"/>
                        <a:pt x="1017" y="90"/>
                        <a:pt x="898" y="148"/>
                      </a:cubicBezTo>
                      <a:cubicBezTo>
                        <a:pt x="693" y="247"/>
                        <a:pt x="415" y="239"/>
                        <a:pt x="403" y="238"/>
                      </a:cubicBezTo>
                      <a:cubicBezTo>
                        <a:pt x="116" y="238"/>
                        <a:pt x="116" y="238"/>
                        <a:pt x="116" y="238"/>
                      </a:cubicBezTo>
                      <a:cubicBezTo>
                        <a:pt x="112" y="238"/>
                        <a:pt x="108" y="238"/>
                        <a:pt x="104" y="238"/>
                      </a:cubicBezTo>
                      <a:close/>
                    </a:path>
                  </a:pathLst>
                </a:custGeom>
                <a:solidFill>
                  <a:srgbClr val="000000"/>
                </a:solidFill>
                <a:ln>
                  <a:solidFill>
                    <a:srgbClr val="000000"/>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E2E38"/>
                    </a:solidFill>
                    <a:effectLst/>
                    <a:uLnTx/>
                    <a:uFillTx/>
                    <a:latin typeface="EYInterstate Light"/>
                    <a:ea typeface="+mn-ea"/>
                    <a:cs typeface="+mn-cs"/>
                  </a:endParaRPr>
                </a:p>
              </p:txBody>
            </p:sp>
            <p:sp>
              <p:nvSpPr>
                <p:cNvPr id="86" name="Freeform 9">
                  <a:extLst>
                    <a:ext uri="{FF2B5EF4-FFF2-40B4-BE49-F238E27FC236}">
                      <a16:creationId xmlns:a16="http://schemas.microsoft.com/office/drawing/2014/main" id="{D1EE4AD1-948F-4993-B0D9-25A2DA609A8B}"/>
                    </a:ext>
                  </a:extLst>
                </p:cNvPr>
                <p:cNvSpPr>
                  <a:spLocks/>
                </p:cNvSpPr>
                <p:nvPr/>
              </p:nvSpPr>
              <p:spPr bwMode="auto">
                <a:xfrm>
                  <a:off x="7751758" y="3014490"/>
                  <a:ext cx="129868" cy="724220"/>
                </a:xfrm>
                <a:custGeom>
                  <a:avLst/>
                  <a:gdLst>
                    <a:gd name="T0" fmla="*/ 189 w 247"/>
                    <a:gd name="T1" fmla="*/ 1379 h 1379"/>
                    <a:gd name="T2" fmla="*/ 163 w 247"/>
                    <a:gd name="T3" fmla="*/ 1352 h 1379"/>
                    <a:gd name="T4" fmla="*/ 163 w 247"/>
                    <a:gd name="T5" fmla="*/ 1245 h 1379"/>
                    <a:gd name="T6" fmla="*/ 99 w 247"/>
                    <a:gd name="T7" fmla="*/ 898 h 1379"/>
                    <a:gd name="T8" fmla="*/ 8 w 247"/>
                    <a:gd name="T9" fmla="*/ 403 h 1379"/>
                    <a:gd name="T10" fmla="*/ 8 w 247"/>
                    <a:gd name="T11" fmla="*/ 116 h 1379"/>
                    <a:gd name="T12" fmla="*/ 33 w 247"/>
                    <a:gd name="T13" fmla="*/ 25 h 1379"/>
                    <a:gd name="T14" fmla="*/ 105 w 247"/>
                    <a:gd name="T15" fmla="*/ 0 h 1379"/>
                    <a:gd name="T16" fmla="*/ 147 w 247"/>
                    <a:gd name="T17" fmla="*/ 0 h 1379"/>
                    <a:gd name="T18" fmla="*/ 216 w 247"/>
                    <a:gd name="T19" fmla="*/ 26 h 1379"/>
                    <a:gd name="T20" fmla="*/ 247 w 247"/>
                    <a:gd name="T21" fmla="*/ 138 h 1379"/>
                    <a:gd name="T22" fmla="*/ 247 w 247"/>
                    <a:gd name="T23" fmla="*/ 143 h 1379"/>
                    <a:gd name="T24" fmla="*/ 220 w 247"/>
                    <a:gd name="T25" fmla="*/ 170 h 1379"/>
                    <a:gd name="T26" fmla="*/ 194 w 247"/>
                    <a:gd name="T27" fmla="*/ 143 h 1379"/>
                    <a:gd name="T28" fmla="*/ 194 w 247"/>
                    <a:gd name="T29" fmla="*/ 137 h 1379"/>
                    <a:gd name="T30" fmla="*/ 178 w 247"/>
                    <a:gd name="T31" fmla="*/ 63 h 1379"/>
                    <a:gd name="T32" fmla="*/ 147 w 247"/>
                    <a:gd name="T33" fmla="*/ 53 h 1379"/>
                    <a:gd name="T34" fmla="*/ 105 w 247"/>
                    <a:gd name="T35" fmla="*/ 53 h 1379"/>
                    <a:gd name="T36" fmla="*/ 70 w 247"/>
                    <a:gd name="T37" fmla="*/ 62 h 1379"/>
                    <a:gd name="T38" fmla="*/ 61 w 247"/>
                    <a:gd name="T39" fmla="*/ 115 h 1379"/>
                    <a:gd name="T40" fmla="*/ 61 w 247"/>
                    <a:gd name="T41" fmla="*/ 126 h 1379"/>
                    <a:gd name="T42" fmla="*/ 61 w 247"/>
                    <a:gd name="T43" fmla="*/ 404 h 1379"/>
                    <a:gd name="T44" fmla="*/ 146 w 247"/>
                    <a:gd name="T45" fmla="*/ 875 h 1379"/>
                    <a:gd name="T46" fmla="*/ 216 w 247"/>
                    <a:gd name="T47" fmla="*/ 1244 h 1379"/>
                    <a:gd name="T48" fmla="*/ 216 w 247"/>
                    <a:gd name="T49" fmla="*/ 1352 h 1379"/>
                    <a:gd name="T50" fmla="*/ 189 w 247"/>
                    <a:gd name="T51" fmla="*/ 1379 h 1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47" h="1379">
                      <a:moveTo>
                        <a:pt x="189" y="1379"/>
                      </a:moveTo>
                      <a:cubicBezTo>
                        <a:pt x="175" y="1379"/>
                        <a:pt x="163" y="1367"/>
                        <a:pt x="163" y="1352"/>
                      </a:cubicBezTo>
                      <a:cubicBezTo>
                        <a:pt x="163" y="1245"/>
                        <a:pt x="163" y="1245"/>
                        <a:pt x="163" y="1245"/>
                      </a:cubicBezTo>
                      <a:cubicBezTo>
                        <a:pt x="163" y="1243"/>
                        <a:pt x="156" y="1017"/>
                        <a:pt x="99" y="898"/>
                      </a:cubicBezTo>
                      <a:cubicBezTo>
                        <a:pt x="0" y="693"/>
                        <a:pt x="8" y="415"/>
                        <a:pt x="8" y="403"/>
                      </a:cubicBezTo>
                      <a:cubicBezTo>
                        <a:pt x="8" y="116"/>
                        <a:pt x="8" y="116"/>
                        <a:pt x="8" y="116"/>
                      </a:cubicBezTo>
                      <a:cubicBezTo>
                        <a:pt x="8" y="89"/>
                        <a:pt x="7" y="52"/>
                        <a:pt x="33" y="25"/>
                      </a:cubicBezTo>
                      <a:cubicBezTo>
                        <a:pt x="49" y="8"/>
                        <a:pt x="74" y="0"/>
                        <a:pt x="105" y="0"/>
                      </a:cubicBezTo>
                      <a:cubicBezTo>
                        <a:pt x="147" y="0"/>
                        <a:pt x="147" y="0"/>
                        <a:pt x="147" y="0"/>
                      </a:cubicBezTo>
                      <a:cubicBezTo>
                        <a:pt x="176" y="0"/>
                        <a:pt x="199" y="9"/>
                        <a:pt x="216" y="26"/>
                      </a:cubicBezTo>
                      <a:cubicBezTo>
                        <a:pt x="247" y="57"/>
                        <a:pt x="247" y="108"/>
                        <a:pt x="247" y="138"/>
                      </a:cubicBezTo>
                      <a:cubicBezTo>
                        <a:pt x="247" y="143"/>
                        <a:pt x="247" y="143"/>
                        <a:pt x="247" y="143"/>
                      </a:cubicBezTo>
                      <a:cubicBezTo>
                        <a:pt x="247" y="158"/>
                        <a:pt x="235" y="170"/>
                        <a:pt x="220" y="170"/>
                      </a:cubicBezTo>
                      <a:cubicBezTo>
                        <a:pt x="206" y="170"/>
                        <a:pt x="194" y="158"/>
                        <a:pt x="194" y="143"/>
                      </a:cubicBezTo>
                      <a:cubicBezTo>
                        <a:pt x="194" y="137"/>
                        <a:pt x="194" y="137"/>
                        <a:pt x="194" y="137"/>
                      </a:cubicBezTo>
                      <a:cubicBezTo>
                        <a:pt x="194" y="114"/>
                        <a:pt x="194" y="79"/>
                        <a:pt x="178" y="63"/>
                      </a:cubicBezTo>
                      <a:cubicBezTo>
                        <a:pt x="171" y="56"/>
                        <a:pt x="161" y="53"/>
                        <a:pt x="147" y="53"/>
                      </a:cubicBezTo>
                      <a:cubicBezTo>
                        <a:pt x="105" y="53"/>
                        <a:pt x="105" y="53"/>
                        <a:pt x="105" y="53"/>
                      </a:cubicBezTo>
                      <a:cubicBezTo>
                        <a:pt x="88" y="53"/>
                        <a:pt x="77" y="56"/>
                        <a:pt x="70" y="62"/>
                      </a:cubicBezTo>
                      <a:cubicBezTo>
                        <a:pt x="60" y="73"/>
                        <a:pt x="61" y="95"/>
                        <a:pt x="61" y="115"/>
                      </a:cubicBezTo>
                      <a:cubicBezTo>
                        <a:pt x="61" y="126"/>
                        <a:pt x="61" y="126"/>
                        <a:pt x="61" y="126"/>
                      </a:cubicBezTo>
                      <a:cubicBezTo>
                        <a:pt x="61" y="404"/>
                        <a:pt x="61" y="404"/>
                        <a:pt x="61" y="404"/>
                      </a:cubicBezTo>
                      <a:cubicBezTo>
                        <a:pt x="61" y="407"/>
                        <a:pt x="53" y="682"/>
                        <a:pt x="146" y="875"/>
                      </a:cubicBezTo>
                      <a:cubicBezTo>
                        <a:pt x="209" y="1004"/>
                        <a:pt x="215" y="1234"/>
                        <a:pt x="216" y="1244"/>
                      </a:cubicBezTo>
                      <a:cubicBezTo>
                        <a:pt x="216" y="1352"/>
                        <a:pt x="216" y="1352"/>
                        <a:pt x="216" y="1352"/>
                      </a:cubicBezTo>
                      <a:cubicBezTo>
                        <a:pt x="216" y="1367"/>
                        <a:pt x="204" y="1379"/>
                        <a:pt x="189" y="1379"/>
                      </a:cubicBezTo>
                      <a:close/>
                    </a:path>
                  </a:pathLst>
                </a:custGeom>
                <a:solidFill>
                  <a:srgbClr val="747480"/>
                </a:solidFill>
                <a:ln>
                  <a:solidFill>
                    <a:srgbClr val="55556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E2E38"/>
                    </a:solidFill>
                    <a:effectLst/>
                    <a:uLnTx/>
                    <a:uFillTx/>
                    <a:latin typeface="EYInterstate Light"/>
                    <a:ea typeface="+mn-ea"/>
                    <a:cs typeface="+mn-cs"/>
                  </a:endParaRPr>
                </a:p>
              </p:txBody>
            </p:sp>
            <p:sp>
              <p:nvSpPr>
                <p:cNvPr id="87" name="Freeform 12">
                  <a:extLst>
                    <a:ext uri="{FF2B5EF4-FFF2-40B4-BE49-F238E27FC236}">
                      <a16:creationId xmlns:a16="http://schemas.microsoft.com/office/drawing/2014/main" id="{D3148F63-A667-4880-BA65-2A5301588187}"/>
                    </a:ext>
                  </a:extLst>
                </p:cNvPr>
                <p:cNvSpPr>
                  <a:spLocks/>
                </p:cNvSpPr>
                <p:nvPr/>
              </p:nvSpPr>
              <p:spPr bwMode="auto">
                <a:xfrm>
                  <a:off x="7467452" y="3481313"/>
                  <a:ext cx="129868" cy="725390"/>
                </a:xfrm>
                <a:custGeom>
                  <a:avLst/>
                  <a:gdLst>
                    <a:gd name="T0" fmla="*/ 141 w 247"/>
                    <a:gd name="T1" fmla="*/ 1379 h 1379"/>
                    <a:gd name="T2" fmla="*/ 100 w 247"/>
                    <a:gd name="T3" fmla="*/ 1379 h 1379"/>
                    <a:gd name="T4" fmla="*/ 31 w 247"/>
                    <a:gd name="T5" fmla="*/ 1353 h 1379"/>
                    <a:gd name="T6" fmla="*/ 0 w 247"/>
                    <a:gd name="T7" fmla="*/ 1241 h 1379"/>
                    <a:gd name="T8" fmla="*/ 0 w 247"/>
                    <a:gd name="T9" fmla="*/ 1235 h 1379"/>
                    <a:gd name="T10" fmla="*/ 26 w 247"/>
                    <a:gd name="T11" fmla="*/ 1209 h 1379"/>
                    <a:gd name="T12" fmla="*/ 53 w 247"/>
                    <a:gd name="T13" fmla="*/ 1235 h 1379"/>
                    <a:gd name="T14" fmla="*/ 53 w 247"/>
                    <a:gd name="T15" fmla="*/ 1241 h 1379"/>
                    <a:gd name="T16" fmla="*/ 68 w 247"/>
                    <a:gd name="T17" fmla="*/ 1316 h 1379"/>
                    <a:gd name="T18" fmla="*/ 100 w 247"/>
                    <a:gd name="T19" fmla="*/ 1326 h 1379"/>
                    <a:gd name="T20" fmla="*/ 141 w 247"/>
                    <a:gd name="T21" fmla="*/ 1326 h 1379"/>
                    <a:gd name="T22" fmla="*/ 176 w 247"/>
                    <a:gd name="T23" fmla="*/ 1316 h 1379"/>
                    <a:gd name="T24" fmla="*/ 186 w 247"/>
                    <a:gd name="T25" fmla="*/ 1263 h 1379"/>
                    <a:gd name="T26" fmla="*/ 185 w 247"/>
                    <a:gd name="T27" fmla="*/ 1252 h 1379"/>
                    <a:gd name="T28" fmla="*/ 185 w 247"/>
                    <a:gd name="T29" fmla="*/ 975 h 1379"/>
                    <a:gd name="T30" fmla="*/ 100 w 247"/>
                    <a:gd name="T31" fmla="*/ 504 h 1379"/>
                    <a:gd name="T32" fmla="*/ 31 w 247"/>
                    <a:gd name="T33" fmla="*/ 134 h 1379"/>
                    <a:gd name="T34" fmla="*/ 31 w 247"/>
                    <a:gd name="T35" fmla="*/ 26 h 1379"/>
                    <a:gd name="T36" fmla="*/ 57 w 247"/>
                    <a:gd name="T37" fmla="*/ 0 h 1379"/>
                    <a:gd name="T38" fmla="*/ 84 w 247"/>
                    <a:gd name="T39" fmla="*/ 26 h 1379"/>
                    <a:gd name="T40" fmla="*/ 84 w 247"/>
                    <a:gd name="T41" fmla="*/ 134 h 1379"/>
                    <a:gd name="T42" fmla="*/ 148 w 247"/>
                    <a:gd name="T43" fmla="*/ 481 h 1379"/>
                    <a:gd name="T44" fmla="*/ 238 w 247"/>
                    <a:gd name="T45" fmla="*/ 976 h 1379"/>
                    <a:gd name="T46" fmla="*/ 238 w 247"/>
                    <a:gd name="T47" fmla="*/ 1262 h 1379"/>
                    <a:gd name="T48" fmla="*/ 214 w 247"/>
                    <a:gd name="T49" fmla="*/ 1353 h 1379"/>
                    <a:gd name="T50" fmla="*/ 141 w 247"/>
                    <a:gd name="T51" fmla="*/ 1379 h 1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47" h="1379">
                      <a:moveTo>
                        <a:pt x="141" y="1379"/>
                      </a:moveTo>
                      <a:cubicBezTo>
                        <a:pt x="100" y="1379"/>
                        <a:pt x="100" y="1379"/>
                        <a:pt x="100" y="1379"/>
                      </a:cubicBezTo>
                      <a:cubicBezTo>
                        <a:pt x="71" y="1379"/>
                        <a:pt x="48" y="1370"/>
                        <a:pt x="31" y="1353"/>
                      </a:cubicBezTo>
                      <a:cubicBezTo>
                        <a:pt x="0" y="1321"/>
                        <a:pt x="0" y="1271"/>
                        <a:pt x="0" y="1241"/>
                      </a:cubicBezTo>
                      <a:cubicBezTo>
                        <a:pt x="0" y="1235"/>
                        <a:pt x="0" y="1235"/>
                        <a:pt x="0" y="1235"/>
                      </a:cubicBezTo>
                      <a:cubicBezTo>
                        <a:pt x="0" y="1221"/>
                        <a:pt x="12" y="1209"/>
                        <a:pt x="26" y="1209"/>
                      </a:cubicBezTo>
                      <a:cubicBezTo>
                        <a:pt x="41" y="1209"/>
                        <a:pt x="53" y="1221"/>
                        <a:pt x="53" y="1235"/>
                      </a:cubicBezTo>
                      <a:cubicBezTo>
                        <a:pt x="53" y="1241"/>
                        <a:pt x="53" y="1241"/>
                        <a:pt x="53" y="1241"/>
                      </a:cubicBezTo>
                      <a:cubicBezTo>
                        <a:pt x="53" y="1264"/>
                        <a:pt x="53" y="1300"/>
                        <a:pt x="68" y="1316"/>
                      </a:cubicBezTo>
                      <a:cubicBezTo>
                        <a:pt x="75" y="1323"/>
                        <a:pt x="85" y="1326"/>
                        <a:pt x="100" y="1326"/>
                      </a:cubicBezTo>
                      <a:cubicBezTo>
                        <a:pt x="141" y="1326"/>
                        <a:pt x="141" y="1326"/>
                        <a:pt x="141" y="1326"/>
                      </a:cubicBezTo>
                      <a:cubicBezTo>
                        <a:pt x="158" y="1326"/>
                        <a:pt x="170" y="1323"/>
                        <a:pt x="176" y="1316"/>
                      </a:cubicBezTo>
                      <a:cubicBezTo>
                        <a:pt x="186" y="1306"/>
                        <a:pt x="186" y="1283"/>
                        <a:pt x="186" y="1263"/>
                      </a:cubicBezTo>
                      <a:cubicBezTo>
                        <a:pt x="185" y="1252"/>
                        <a:pt x="185" y="1252"/>
                        <a:pt x="185" y="1252"/>
                      </a:cubicBezTo>
                      <a:cubicBezTo>
                        <a:pt x="185" y="975"/>
                        <a:pt x="185" y="975"/>
                        <a:pt x="185" y="975"/>
                      </a:cubicBezTo>
                      <a:cubicBezTo>
                        <a:pt x="186" y="971"/>
                        <a:pt x="193" y="697"/>
                        <a:pt x="100" y="504"/>
                      </a:cubicBezTo>
                      <a:cubicBezTo>
                        <a:pt x="38" y="374"/>
                        <a:pt x="31" y="144"/>
                        <a:pt x="31" y="134"/>
                      </a:cubicBezTo>
                      <a:cubicBezTo>
                        <a:pt x="31" y="26"/>
                        <a:pt x="31" y="26"/>
                        <a:pt x="31" y="26"/>
                      </a:cubicBezTo>
                      <a:cubicBezTo>
                        <a:pt x="31" y="12"/>
                        <a:pt x="43" y="0"/>
                        <a:pt x="57" y="0"/>
                      </a:cubicBezTo>
                      <a:cubicBezTo>
                        <a:pt x="72" y="0"/>
                        <a:pt x="84" y="12"/>
                        <a:pt x="84" y="26"/>
                      </a:cubicBezTo>
                      <a:cubicBezTo>
                        <a:pt x="84" y="134"/>
                        <a:pt x="84" y="134"/>
                        <a:pt x="84" y="134"/>
                      </a:cubicBezTo>
                      <a:cubicBezTo>
                        <a:pt x="84" y="135"/>
                        <a:pt x="91" y="362"/>
                        <a:pt x="148" y="481"/>
                      </a:cubicBezTo>
                      <a:cubicBezTo>
                        <a:pt x="247" y="686"/>
                        <a:pt x="239" y="964"/>
                        <a:pt x="238" y="976"/>
                      </a:cubicBezTo>
                      <a:cubicBezTo>
                        <a:pt x="238" y="1262"/>
                        <a:pt x="238" y="1262"/>
                        <a:pt x="238" y="1262"/>
                      </a:cubicBezTo>
                      <a:cubicBezTo>
                        <a:pt x="239" y="1290"/>
                        <a:pt x="240" y="1327"/>
                        <a:pt x="214" y="1353"/>
                      </a:cubicBezTo>
                      <a:cubicBezTo>
                        <a:pt x="197" y="1370"/>
                        <a:pt x="173" y="1379"/>
                        <a:pt x="141" y="1379"/>
                      </a:cubicBezTo>
                      <a:close/>
                    </a:path>
                  </a:pathLst>
                </a:custGeom>
                <a:solidFill>
                  <a:schemeClr val="accent5"/>
                </a:solidFill>
                <a:ln>
                  <a:solidFill>
                    <a:schemeClr val="accent5"/>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E2E38"/>
                    </a:solidFill>
                    <a:effectLst/>
                    <a:uLnTx/>
                    <a:uFillTx/>
                    <a:latin typeface="EYInterstate Light"/>
                    <a:ea typeface="+mn-ea"/>
                    <a:cs typeface="+mn-cs"/>
                  </a:endParaRPr>
                </a:p>
              </p:txBody>
            </p:sp>
            <p:sp>
              <p:nvSpPr>
                <p:cNvPr id="88" name="Freeform 6">
                  <a:extLst>
                    <a:ext uri="{FF2B5EF4-FFF2-40B4-BE49-F238E27FC236}">
                      <a16:creationId xmlns:a16="http://schemas.microsoft.com/office/drawing/2014/main" id="{4C479D4B-F383-4FB2-A97D-36C3C1BEB2E4}"/>
                    </a:ext>
                  </a:extLst>
                </p:cNvPr>
                <p:cNvSpPr>
                  <a:spLocks/>
                </p:cNvSpPr>
                <p:nvPr/>
              </p:nvSpPr>
              <p:spPr bwMode="auto">
                <a:xfrm>
                  <a:off x="7535311" y="3677871"/>
                  <a:ext cx="748789" cy="128698"/>
                </a:xfrm>
                <a:custGeom>
                  <a:avLst/>
                  <a:gdLst>
                    <a:gd name="T0" fmla="*/ 1288 w 1419"/>
                    <a:gd name="T1" fmla="*/ 246 h 246"/>
                    <a:gd name="T2" fmla="*/ 1281 w 1419"/>
                    <a:gd name="T3" fmla="*/ 246 h 246"/>
                    <a:gd name="T4" fmla="*/ 1275 w 1419"/>
                    <a:gd name="T5" fmla="*/ 246 h 246"/>
                    <a:gd name="T6" fmla="*/ 1249 w 1419"/>
                    <a:gd name="T7" fmla="*/ 220 h 246"/>
                    <a:gd name="T8" fmla="*/ 1275 w 1419"/>
                    <a:gd name="T9" fmla="*/ 194 h 246"/>
                    <a:gd name="T10" fmla="*/ 1281 w 1419"/>
                    <a:gd name="T11" fmla="*/ 194 h 246"/>
                    <a:gd name="T12" fmla="*/ 1356 w 1419"/>
                    <a:gd name="T13" fmla="*/ 178 h 246"/>
                    <a:gd name="T14" fmla="*/ 1366 w 1419"/>
                    <a:gd name="T15" fmla="*/ 147 h 246"/>
                    <a:gd name="T16" fmla="*/ 1366 w 1419"/>
                    <a:gd name="T17" fmla="*/ 105 h 246"/>
                    <a:gd name="T18" fmla="*/ 1356 w 1419"/>
                    <a:gd name="T19" fmla="*/ 70 h 246"/>
                    <a:gd name="T20" fmla="*/ 1304 w 1419"/>
                    <a:gd name="T21" fmla="*/ 61 h 246"/>
                    <a:gd name="T22" fmla="*/ 1292 w 1419"/>
                    <a:gd name="T23" fmla="*/ 61 h 246"/>
                    <a:gd name="T24" fmla="*/ 1015 w 1419"/>
                    <a:gd name="T25" fmla="*/ 61 h 246"/>
                    <a:gd name="T26" fmla="*/ 544 w 1419"/>
                    <a:gd name="T27" fmla="*/ 146 h 246"/>
                    <a:gd name="T28" fmla="*/ 175 w 1419"/>
                    <a:gd name="T29" fmla="*/ 216 h 246"/>
                    <a:gd name="T30" fmla="*/ 27 w 1419"/>
                    <a:gd name="T31" fmla="*/ 216 h 246"/>
                    <a:gd name="T32" fmla="*/ 0 w 1419"/>
                    <a:gd name="T33" fmla="*/ 189 h 246"/>
                    <a:gd name="T34" fmla="*/ 27 w 1419"/>
                    <a:gd name="T35" fmla="*/ 163 h 246"/>
                    <a:gd name="T36" fmla="*/ 174 w 1419"/>
                    <a:gd name="T37" fmla="*/ 163 h 246"/>
                    <a:gd name="T38" fmla="*/ 521 w 1419"/>
                    <a:gd name="T39" fmla="*/ 98 h 246"/>
                    <a:gd name="T40" fmla="*/ 1016 w 1419"/>
                    <a:gd name="T41" fmla="*/ 8 h 246"/>
                    <a:gd name="T42" fmla="*/ 1303 w 1419"/>
                    <a:gd name="T43" fmla="*/ 8 h 246"/>
                    <a:gd name="T44" fmla="*/ 1393 w 1419"/>
                    <a:gd name="T45" fmla="*/ 32 h 246"/>
                    <a:gd name="T46" fmla="*/ 1419 w 1419"/>
                    <a:gd name="T47" fmla="*/ 105 h 246"/>
                    <a:gd name="T48" fmla="*/ 1419 w 1419"/>
                    <a:gd name="T49" fmla="*/ 147 h 246"/>
                    <a:gd name="T50" fmla="*/ 1393 w 1419"/>
                    <a:gd name="T51" fmla="*/ 216 h 246"/>
                    <a:gd name="T52" fmla="*/ 1288 w 1419"/>
                    <a:gd name="T53"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419" h="246">
                      <a:moveTo>
                        <a:pt x="1288" y="246"/>
                      </a:moveTo>
                      <a:cubicBezTo>
                        <a:pt x="1285" y="246"/>
                        <a:pt x="1283" y="246"/>
                        <a:pt x="1281" y="246"/>
                      </a:cubicBezTo>
                      <a:cubicBezTo>
                        <a:pt x="1275" y="246"/>
                        <a:pt x="1275" y="246"/>
                        <a:pt x="1275" y="246"/>
                      </a:cubicBezTo>
                      <a:cubicBezTo>
                        <a:pt x="1261" y="246"/>
                        <a:pt x="1249" y="235"/>
                        <a:pt x="1249" y="220"/>
                      </a:cubicBezTo>
                      <a:cubicBezTo>
                        <a:pt x="1249" y="205"/>
                        <a:pt x="1261" y="194"/>
                        <a:pt x="1275" y="194"/>
                      </a:cubicBezTo>
                      <a:cubicBezTo>
                        <a:pt x="1281" y="194"/>
                        <a:pt x="1281" y="194"/>
                        <a:pt x="1281" y="194"/>
                      </a:cubicBezTo>
                      <a:cubicBezTo>
                        <a:pt x="1304" y="194"/>
                        <a:pt x="1340" y="194"/>
                        <a:pt x="1356" y="178"/>
                      </a:cubicBezTo>
                      <a:cubicBezTo>
                        <a:pt x="1363" y="171"/>
                        <a:pt x="1366" y="161"/>
                        <a:pt x="1366" y="147"/>
                      </a:cubicBezTo>
                      <a:cubicBezTo>
                        <a:pt x="1366" y="105"/>
                        <a:pt x="1366" y="105"/>
                        <a:pt x="1366" y="105"/>
                      </a:cubicBezTo>
                      <a:cubicBezTo>
                        <a:pt x="1366" y="88"/>
                        <a:pt x="1363" y="76"/>
                        <a:pt x="1356" y="70"/>
                      </a:cubicBezTo>
                      <a:cubicBezTo>
                        <a:pt x="1346" y="60"/>
                        <a:pt x="1323" y="60"/>
                        <a:pt x="1304" y="61"/>
                      </a:cubicBezTo>
                      <a:cubicBezTo>
                        <a:pt x="1292" y="61"/>
                        <a:pt x="1292" y="61"/>
                        <a:pt x="1292" y="61"/>
                      </a:cubicBezTo>
                      <a:cubicBezTo>
                        <a:pt x="1015" y="61"/>
                        <a:pt x="1015" y="61"/>
                        <a:pt x="1015" y="61"/>
                      </a:cubicBezTo>
                      <a:cubicBezTo>
                        <a:pt x="1011" y="61"/>
                        <a:pt x="737" y="53"/>
                        <a:pt x="544" y="146"/>
                      </a:cubicBezTo>
                      <a:cubicBezTo>
                        <a:pt x="414" y="208"/>
                        <a:pt x="184" y="215"/>
                        <a:pt x="175" y="216"/>
                      </a:cubicBezTo>
                      <a:cubicBezTo>
                        <a:pt x="27" y="216"/>
                        <a:pt x="27" y="216"/>
                        <a:pt x="27" y="216"/>
                      </a:cubicBezTo>
                      <a:cubicBezTo>
                        <a:pt x="12" y="216"/>
                        <a:pt x="0" y="204"/>
                        <a:pt x="0" y="189"/>
                      </a:cubicBezTo>
                      <a:cubicBezTo>
                        <a:pt x="0" y="175"/>
                        <a:pt x="12" y="163"/>
                        <a:pt x="27" y="163"/>
                      </a:cubicBezTo>
                      <a:cubicBezTo>
                        <a:pt x="174" y="163"/>
                        <a:pt x="174" y="163"/>
                        <a:pt x="174" y="163"/>
                      </a:cubicBezTo>
                      <a:cubicBezTo>
                        <a:pt x="175" y="163"/>
                        <a:pt x="402" y="156"/>
                        <a:pt x="521" y="98"/>
                      </a:cubicBezTo>
                      <a:cubicBezTo>
                        <a:pt x="726" y="0"/>
                        <a:pt x="1004" y="8"/>
                        <a:pt x="1016" y="8"/>
                      </a:cubicBezTo>
                      <a:cubicBezTo>
                        <a:pt x="1303" y="8"/>
                        <a:pt x="1303" y="8"/>
                        <a:pt x="1303" y="8"/>
                      </a:cubicBezTo>
                      <a:cubicBezTo>
                        <a:pt x="1330" y="8"/>
                        <a:pt x="1367" y="7"/>
                        <a:pt x="1393" y="32"/>
                      </a:cubicBezTo>
                      <a:cubicBezTo>
                        <a:pt x="1410" y="49"/>
                        <a:pt x="1419" y="74"/>
                        <a:pt x="1419" y="105"/>
                      </a:cubicBezTo>
                      <a:cubicBezTo>
                        <a:pt x="1419" y="147"/>
                        <a:pt x="1419" y="147"/>
                        <a:pt x="1419" y="147"/>
                      </a:cubicBezTo>
                      <a:cubicBezTo>
                        <a:pt x="1419" y="175"/>
                        <a:pt x="1410" y="199"/>
                        <a:pt x="1393" y="216"/>
                      </a:cubicBezTo>
                      <a:cubicBezTo>
                        <a:pt x="1364" y="245"/>
                        <a:pt x="1318" y="246"/>
                        <a:pt x="1288" y="246"/>
                      </a:cubicBezTo>
                      <a:close/>
                    </a:path>
                  </a:pathLst>
                </a:custGeom>
                <a:solidFill>
                  <a:srgbClr val="FFE600"/>
                </a:solidFill>
                <a:ln w="9525">
                  <a:solidFill>
                    <a:srgbClr val="FFE6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E2E38"/>
                    </a:solidFill>
                    <a:effectLst/>
                    <a:uLnTx/>
                    <a:uFillTx/>
                    <a:latin typeface="EYInterstate Light"/>
                    <a:ea typeface="+mn-ea"/>
                    <a:cs typeface="+mn-cs"/>
                  </a:endParaRPr>
                </a:p>
              </p:txBody>
            </p:sp>
          </p:grpSp>
          <p:sp>
            <p:nvSpPr>
              <p:cNvPr id="68" name="Textfeld 159">
                <a:extLst>
                  <a:ext uri="{FF2B5EF4-FFF2-40B4-BE49-F238E27FC236}">
                    <a16:creationId xmlns:a16="http://schemas.microsoft.com/office/drawing/2014/main" id="{DE4D2D7B-E559-4F26-B288-311472A9C2E4}"/>
                  </a:ext>
                </a:extLst>
              </p:cNvPr>
              <p:cNvSpPr txBox="1"/>
              <p:nvPr/>
            </p:nvSpPr>
            <p:spPr bwMode="gray">
              <a:xfrm>
                <a:off x="2139718" y="2369140"/>
                <a:ext cx="671360" cy="141882"/>
              </a:xfrm>
              <a:prstGeom prst="rect">
                <a:avLst/>
              </a:prstGeom>
              <a:noFill/>
            </p:spPr>
            <p:txBody>
              <a:bodyPr wrap="square" lIns="0" tIns="0" rIns="0" bIns="0" rtlCol="0" anchor="t" anchorCtr="0">
                <a:spAutoFit/>
              </a:bodyPr>
              <a:lstStyle>
                <a:defPPr>
                  <a:defRPr lang="de-DE"/>
                </a:defPPr>
                <a:lvl1pPr lvl="0" algn="ctr">
                  <a:spcAft>
                    <a:spcPts val="600"/>
                  </a:spcAft>
                  <a:defRPr sz="1200">
                    <a:solidFill>
                      <a:prstClr val="black"/>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2E2E38"/>
                    </a:solidFill>
                    <a:effectLst/>
                    <a:uLnTx/>
                    <a:uFillTx/>
                    <a:latin typeface="EYInterstate Light"/>
                    <a:ea typeface="+mn-ea"/>
                    <a:cs typeface="+mn-cs"/>
                  </a:rPr>
                  <a:t>Assurance</a:t>
                </a:r>
                <a:endParaRPr kumimoji="0" lang="en-US" sz="900" b="1" i="0" u="none" strike="noStrike" kern="0" cap="none" spc="0" normalizeH="0" baseline="0" noProof="0" dirty="0">
                  <a:ln>
                    <a:noFill/>
                  </a:ln>
                  <a:solidFill>
                    <a:srgbClr val="2E2E38"/>
                  </a:solidFill>
                  <a:effectLst/>
                  <a:uLnTx/>
                  <a:uFillTx/>
                  <a:latin typeface="EYInterstate Light"/>
                  <a:ea typeface="+mn-ea"/>
                  <a:cs typeface="+mn-cs"/>
                </a:endParaRPr>
              </a:p>
            </p:txBody>
          </p:sp>
        </p:grpSp>
      </p:grpSp>
      <p:graphicFrame>
        <p:nvGraphicFramePr>
          <p:cNvPr id="89" name="Table 16">
            <a:extLst>
              <a:ext uri="{FF2B5EF4-FFF2-40B4-BE49-F238E27FC236}">
                <a16:creationId xmlns:a16="http://schemas.microsoft.com/office/drawing/2014/main" id="{58E95F5C-6BA0-408F-B7F2-3D9D36E60BE6}"/>
              </a:ext>
            </a:extLst>
          </p:cNvPr>
          <p:cNvGraphicFramePr>
            <a:graphicFrameLocks noGrp="1"/>
          </p:cNvGraphicFramePr>
          <p:nvPr>
            <p:extLst>
              <p:ext uri="{D42A27DB-BD31-4B8C-83A1-F6EECF244321}">
                <p14:modId xmlns:p14="http://schemas.microsoft.com/office/powerpoint/2010/main" val="2715186883"/>
              </p:ext>
            </p:extLst>
          </p:nvPr>
        </p:nvGraphicFramePr>
        <p:xfrm>
          <a:off x="770837" y="3529625"/>
          <a:ext cx="6955236" cy="3782822"/>
        </p:xfrm>
        <a:graphic>
          <a:graphicData uri="http://schemas.openxmlformats.org/drawingml/2006/table">
            <a:tbl>
              <a:tblPr firstRow="1" bandRow="1">
                <a:tableStyleId>{5C22544A-7EE6-4342-B048-85BDC9FD1C3A}</a:tableStyleId>
              </a:tblPr>
              <a:tblGrid>
                <a:gridCol w="2269246">
                  <a:extLst>
                    <a:ext uri="{9D8B030D-6E8A-4147-A177-3AD203B41FA5}">
                      <a16:colId xmlns:a16="http://schemas.microsoft.com/office/drawing/2014/main" val="3925137492"/>
                    </a:ext>
                  </a:extLst>
                </a:gridCol>
                <a:gridCol w="2367578">
                  <a:extLst>
                    <a:ext uri="{9D8B030D-6E8A-4147-A177-3AD203B41FA5}">
                      <a16:colId xmlns:a16="http://schemas.microsoft.com/office/drawing/2014/main" val="73680769"/>
                    </a:ext>
                  </a:extLst>
                </a:gridCol>
                <a:gridCol w="2318412">
                  <a:extLst>
                    <a:ext uri="{9D8B030D-6E8A-4147-A177-3AD203B41FA5}">
                      <a16:colId xmlns:a16="http://schemas.microsoft.com/office/drawing/2014/main" val="3473636666"/>
                    </a:ext>
                  </a:extLst>
                </a:gridCol>
              </a:tblGrid>
              <a:tr h="234979">
                <a:tc gridSpan="3">
                  <a:txBody>
                    <a:bodyPr/>
                    <a:lstStyle/>
                    <a:p>
                      <a:pPr marL="0" algn="ctr" defTabSz="1042990" rtl="0" eaLnBrk="1" latinLnBrk="0" hangingPunct="1"/>
                      <a:r>
                        <a:rPr kumimoji="0" lang="en-US" sz="1400" b="1" i="0" u="none" strike="noStrike" kern="0" cap="none" spc="0" normalizeH="0" baseline="0" noProof="0">
                          <a:ln>
                            <a:noFill/>
                          </a:ln>
                          <a:solidFill>
                            <a:schemeClr val="tx1"/>
                          </a:solidFill>
                          <a:effectLst/>
                          <a:uLnTx/>
                          <a:uFillTx/>
                          <a:latin typeface="EYInterstate" panose="02000503020000020004" pitchFamily="2" charset="0"/>
                          <a:ea typeface="+mn-ea"/>
                          <a:cs typeface="Arial" pitchFamily="34" charset="0"/>
                        </a:rPr>
                        <a:t>Helping clients through specialised offerings</a:t>
                      </a:r>
                      <a:endParaRPr kumimoji="0" lang="en-US" sz="1400" b="0" i="0" u="none" strike="noStrike" kern="0" cap="none" spc="0" normalizeH="0" baseline="0" noProof="0">
                        <a:ln>
                          <a:noFill/>
                        </a:ln>
                        <a:solidFill>
                          <a:schemeClr val="tx1"/>
                        </a:solidFill>
                        <a:effectLst/>
                        <a:uLnTx/>
                        <a:uFillTx/>
                        <a:latin typeface="EYInterstate" panose="02000503020000020004" pitchFamily="2" charset="0"/>
                        <a:ea typeface="+mn-ea"/>
                        <a:cs typeface="Arial" pitchFamily="34" charset="0"/>
                      </a:endParaRPr>
                    </a:p>
                  </a:txBody>
                  <a:tcPr marT="36000" marB="0" anchor="ctr">
                    <a:lnL w="12700" cmpd="sng">
                      <a:noFill/>
                    </a:lnL>
                    <a:lnR w="12700" cmpd="sng">
                      <a:noFill/>
                    </a:lnR>
                    <a:lnT w="12700" cmpd="sng">
                      <a:noFill/>
                    </a:lnT>
                    <a:lnB w="381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AU"/>
                    </a:p>
                  </a:txBody>
                  <a:tcPr/>
                </a:tc>
                <a:extLst>
                  <a:ext uri="{0D108BD9-81ED-4DB2-BD59-A6C34878D82A}">
                    <a16:rowId xmlns:a16="http://schemas.microsoft.com/office/drawing/2014/main" val="1648903556"/>
                  </a:ext>
                </a:extLst>
              </a:tr>
              <a:tr h="349868">
                <a:tc>
                  <a:txBody>
                    <a:bodyPr/>
                    <a:lstStyle/>
                    <a:p>
                      <a:pPr marL="0" indent="0" algn="ctr">
                        <a:buClr>
                          <a:schemeClr val="accent1"/>
                        </a:buClr>
                        <a:buSzPct val="150000"/>
                        <a:buFont typeface="EYInterstate Light" panose="02000506000000020004" pitchFamily="2" charset="0"/>
                        <a:buNone/>
                      </a:pPr>
                      <a:r>
                        <a:rPr lang="en-AU" sz="1100" b="1">
                          <a:solidFill>
                            <a:schemeClr val="tx1"/>
                          </a:solidFill>
                        </a:rPr>
                        <a:t>Data and Information Management</a:t>
                      </a:r>
                    </a:p>
                  </a:txBody>
                  <a:tcPr marT="36000" marB="0" anchor="ctr">
                    <a:lnL w="38100" cap="flat" cmpd="sng" algn="ctr">
                      <a:solidFill>
                        <a:schemeClr val="tx2"/>
                      </a:solidFill>
                      <a:prstDash val="solid"/>
                      <a:round/>
                      <a:headEnd type="none" w="med" len="med"/>
                      <a:tailEnd type="none" w="med" len="med"/>
                    </a:lnL>
                    <a:lnR w="38100" cap="flat" cmpd="sng" algn="ctr">
                      <a:solidFill>
                        <a:schemeClr val="tx2"/>
                      </a:solidFill>
                      <a:prstDash val="solid"/>
                      <a:round/>
                      <a:headEnd type="none" w="med" len="med"/>
                      <a:tailEnd type="none" w="med" len="med"/>
                    </a:lnR>
                    <a:lnT w="38100" cap="flat" cmpd="sng" algn="ctr">
                      <a:solidFill>
                        <a:schemeClr val="tx2"/>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indent="0" algn="ctr">
                        <a:buClr>
                          <a:schemeClr val="accent1"/>
                        </a:buClr>
                        <a:buSzPct val="150000"/>
                        <a:buFont typeface="EYInterstate Light" panose="02000506000000020004" pitchFamily="2" charset="0"/>
                        <a:buNone/>
                      </a:pPr>
                      <a:r>
                        <a:rPr lang="en-AU" sz="1100" b="1" dirty="0">
                          <a:solidFill>
                            <a:schemeClr val="tx1"/>
                          </a:solidFill>
                        </a:rPr>
                        <a:t> Advanced Analytics &amp; Artificial Intelligence</a:t>
                      </a:r>
                    </a:p>
                  </a:txBody>
                  <a:tcPr marT="36000" marB="0" anchor="ctr">
                    <a:lnL w="38100" cap="flat" cmpd="sng" algn="ctr">
                      <a:solidFill>
                        <a:schemeClr val="tx2"/>
                      </a:solidFill>
                      <a:prstDash val="solid"/>
                      <a:round/>
                      <a:headEnd type="none" w="med" len="med"/>
                      <a:tailEnd type="none" w="med" len="med"/>
                    </a:lnL>
                    <a:lnR w="38100" cap="flat" cmpd="sng" algn="ctr">
                      <a:solidFill>
                        <a:schemeClr val="tx2"/>
                      </a:solidFill>
                      <a:prstDash val="solid"/>
                      <a:round/>
                      <a:headEnd type="none" w="med" len="med"/>
                      <a:tailEnd type="none" w="med" len="med"/>
                    </a:lnR>
                    <a:lnT w="38100" cap="flat" cmpd="sng" algn="ctr">
                      <a:solidFill>
                        <a:schemeClr val="tx2"/>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indent="0" algn="ctr">
                        <a:buClr>
                          <a:schemeClr val="accent1"/>
                        </a:buClr>
                        <a:buSzPct val="150000"/>
                        <a:buFont typeface="EYInterstate Light" panose="02000506000000020004" pitchFamily="2" charset="0"/>
                        <a:buNone/>
                      </a:pPr>
                      <a:r>
                        <a:rPr lang="en-US" sz="1100" b="1" kern="1200" noProof="0" dirty="0">
                          <a:solidFill>
                            <a:schemeClr val="tx1"/>
                          </a:solidFill>
                          <a:latin typeface="+mn-lt"/>
                          <a:ea typeface="+mn-ea"/>
                          <a:cs typeface="+mn-cs"/>
                        </a:rPr>
                        <a:t>Business Intelligence &amp; Enterprise Performance </a:t>
                      </a:r>
                      <a:endParaRPr lang="en-AU" sz="1100" b="1" kern="1200" dirty="0">
                        <a:solidFill>
                          <a:schemeClr val="tx1"/>
                        </a:solidFill>
                        <a:latin typeface="+mn-lt"/>
                        <a:ea typeface="+mn-ea"/>
                        <a:cs typeface="+mn-cs"/>
                      </a:endParaRPr>
                    </a:p>
                  </a:txBody>
                  <a:tcPr marT="36000" marB="0" anchor="ctr">
                    <a:lnL w="38100" cap="flat" cmpd="sng" algn="ctr">
                      <a:solidFill>
                        <a:schemeClr val="tx2"/>
                      </a:solidFill>
                      <a:prstDash val="solid"/>
                      <a:round/>
                      <a:headEnd type="none" w="med" len="med"/>
                      <a:tailEnd type="none" w="med" len="med"/>
                    </a:lnL>
                    <a:lnR w="38100" cap="flat" cmpd="sng" algn="ctr">
                      <a:solidFill>
                        <a:schemeClr val="tx2"/>
                      </a:solidFill>
                      <a:prstDash val="solid"/>
                      <a:round/>
                      <a:headEnd type="none" w="med" len="med"/>
                      <a:tailEnd type="none" w="med" len="med"/>
                    </a:lnR>
                    <a:lnT w="38100" cap="flat" cmpd="sng" algn="ctr">
                      <a:solidFill>
                        <a:schemeClr val="tx2"/>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3325466768"/>
                  </a:ext>
                </a:extLst>
              </a:tr>
              <a:tr h="349868">
                <a:tc>
                  <a:txBody>
                    <a:bodyPr/>
                    <a:lstStyle/>
                    <a:p>
                      <a:pPr marL="171450" indent="-171450" algn="l" rtl="0" fontAlgn="base">
                        <a:lnSpc>
                          <a:spcPct val="100000"/>
                        </a:lnSpc>
                        <a:spcBef>
                          <a:spcPts val="1200"/>
                        </a:spcBef>
                        <a:spcAft>
                          <a:spcPct val="50000"/>
                        </a:spcAft>
                        <a:buClr>
                          <a:schemeClr val="bg2"/>
                        </a:buClr>
                        <a:buSzPct val="80000"/>
                        <a:buFont typeface="Arial" panose="020B0604020202020204" pitchFamily="34" charset="0"/>
                        <a:buChar char="►"/>
                      </a:pPr>
                      <a:r>
                        <a:rPr lang="en-AU" sz="1100" kern="1200" dirty="0">
                          <a:solidFill>
                            <a:srgbClr val="333333"/>
                          </a:solidFill>
                          <a:latin typeface="EYInterstate Light" panose="02000506000000020004" pitchFamily="2" charset="0"/>
                          <a:sym typeface="EYInterstate Light"/>
                        </a:rPr>
                        <a:t>Data Architecture &amp; Enablement</a:t>
                      </a:r>
                    </a:p>
                  </a:txBody>
                  <a:tcPr marT="360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defTabSz="1266737" rtl="0" eaLnBrk="1" fontAlgn="base" latinLnBrk="0" hangingPunct="1">
                        <a:lnSpc>
                          <a:spcPct val="100000"/>
                        </a:lnSpc>
                        <a:spcBef>
                          <a:spcPts val="1200"/>
                        </a:spcBef>
                        <a:spcAft>
                          <a:spcPct val="50000"/>
                        </a:spcAft>
                        <a:buClr>
                          <a:schemeClr val="bg2"/>
                        </a:buClr>
                        <a:buSzPct val="80000"/>
                        <a:buFont typeface="Arial" panose="020B0604020202020204" pitchFamily="34" charset="0"/>
                        <a:buChar char="►"/>
                      </a:pPr>
                      <a:r>
                        <a:rPr lang="en-AU" sz="1100" kern="1200">
                          <a:solidFill>
                            <a:srgbClr val="333333"/>
                          </a:solidFill>
                          <a:latin typeface="EYInterstate Light" panose="02000506000000020004" pitchFamily="2" charset="0"/>
                          <a:ea typeface="+mn-ea"/>
                          <a:cs typeface="+mn-cs"/>
                          <a:sym typeface="EYInterstate Light"/>
                        </a:rPr>
                        <a:t>Descriptive &amp; Inferred Analytics</a:t>
                      </a:r>
                    </a:p>
                  </a:txBody>
                  <a:tcPr marT="360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defTabSz="1266737" rtl="0" eaLnBrk="1" fontAlgn="base" latinLnBrk="0" hangingPunct="1">
                        <a:lnSpc>
                          <a:spcPct val="100000"/>
                        </a:lnSpc>
                        <a:spcBef>
                          <a:spcPts val="1200"/>
                        </a:spcBef>
                        <a:spcAft>
                          <a:spcPct val="50000"/>
                        </a:spcAft>
                        <a:buClr>
                          <a:schemeClr val="bg2"/>
                        </a:buClr>
                        <a:buSzPct val="80000"/>
                        <a:buFont typeface="Arial" panose="020B0604020202020204" pitchFamily="34" charset="0"/>
                        <a:buChar char="►"/>
                      </a:pPr>
                      <a:r>
                        <a:rPr lang="en-US" sz="1100" kern="1200">
                          <a:solidFill>
                            <a:srgbClr val="333333"/>
                          </a:solidFill>
                          <a:latin typeface="EYInterstate Light" panose="02000506000000020004" pitchFamily="2" charset="0"/>
                          <a:ea typeface="+mn-ea"/>
                          <a:cs typeface="+mn-cs"/>
                          <a:sym typeface="EYInterstate Light"/>
                        </a:rPr>
                        <a:t>Augmented insights and conversational</a:t>
                      </a:r>
                      <a:endParaRPr lang="en-AU" sz="1100" kern="1200">
                        <a:solidFill>
                          <a:srgbClr val="333333"/>
                        </a:solidFill>
                        <a:latin typeface="EYInterstate Light" panose="02000506000000020004" pitchFamily="2" charset="0"/>
                        <a:ea typeface="+mn-ea"/>
                        <a:cs typeface="+mn-cs"/>
                        <a:sym typeface="EYInterstate Light"/>
                      </a:endParaRPr>
                    </a:p>
                  </a:txBody>
                  <a:tcPr marT="360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53529040"/>
                  </a:ext>
                </a:extLst>
              </a:tr>
              <a:tr h="2389142">
                <a:tc>
                  <a:txBody>
                    <a:bodyPr/>
                    <a:lstStyle/>
                    <a:p>
                      <a:pPr marL="0" indent="0" algn="l" defTabSz="1266737" rtl="0" eaLnBrk="1" fontAlgn="base" latinLnBrk="0" hangingPunct="1">
                        <a:lnSpc>
                          <a:spcPct val="100000"/>
                        </a:lnSpc>
                        <a:spcBef>
                          <a:spcPts val="600"/>
                        </a:spcBef>
                        <a:spcAft>
                          <a:spcPts val="600"/>
                        </a:spcAft>
                        <a:buClr>
                          <a:schemeClr val="bg2"/>
                        </a:buClr>
                        <a:buSzPct val="80000"/>
                        <a:buFont typeface="Arial" panose="020B0604020202020204" pitchFamily="34" charset="0"/>
                        <a:buNone/>
                      </a:pPr>
                      <a:endParaRPr lang="en-AU" sz="100" kern="1200" dirty="0">
                        <a:solidFill>
                          <a:srgbClr val="333333"/>
                        </a:solidFill>
                        <a:latin typeface="EYInterstate Light" panose="02000506000000020004" pitchFamily="2" charset="0"/>
                        <a:ea typeface="+mn-ea"/>
                        <a:cs typeface="+mn-cs"/>
                      </a:endParaRPr>
                    </a:p>
                    <a:p>
                      <a:pPr marL="171450" indent="-171450" algn="l" defTabSz="1266737" rtl="0" eaLnBrk="1" fontAlgn="base" latinLnBrk="0" hangingPunct="1">
                        <a:lnSpc>
                          <a:spcPct val="100000"/>
                        </a:lnSpc>
                        <a:spcBef>
                          <a:spcPts val="600"/>
                        </a:spcBef>
                        <a:spcAft>
                          <a:spcPts val="600"/>
                        </a:spcAft>
                        <a:buClr>
                          <a:schemeClr val="bg2"/>
                        </a:buClr>
                        <a:buSzPct val="80000"/>
                        <a:buFont typeface="Arial" panose="020B0604020202020204" pitchFamily="34" charset="0"/>
                        <a:buChar char="►"/>
                      </a:pPr>
                      <a:r>
                        <a:rPr lang="en-AU" sz="1100" kern="1200" dirty="0">
                          <a:solidFill>
                            <a:srgbClr val="333333"/>
                          </a:solidFill>
                          <a:latin typeface="EYInterstate Light" panose="02000506000000020004" pitchFamily="2" charset="0"/>
                          <a:ea typeface="+mn-ea"/>
                          <a:cs typeface="+mn-cs"/>
                        </a:rPr>
                        <a:t>Data Transformation </a:t>
                      </a:r>
                    </a:p>
                    <a:p>
                      <a:pPr marL="171450" indent="-171450" algn="l" defTabSz="1266737" rtl="0" eaLnBrk="1" fontAlgn="base" latinLnBrk="0" hangingPunct="1">
                        <a:lnSpc>
                          <a:spcPct val="100000"/>
                        </a:lnSpc>
                        <a:spcBef>
                          <a:spcPts val="600"/>
                        </a:spcBef>
                        <a:spcAft>
                          <a:spcPts val="600"/>
                        </a:spcAft>
                        <a:buClr>
                          <a:schemeClr val="bg2"/>
                        </a:buClr>
                        <a:buSzPct val="80000"/>
                        <a:buFont typeface="Arial" panose="020B0604020202020204" pitchFamily="34" charset="0"/>
                        <a:buChar char="►"/>
                      </a:pPr>
                      <a:r>
                        <a:rPr lang="en-AU" sz="1100" kern="1200" dirty="0">
                          <a:solidFill>
                            <a:srgbClr val="333333"/>
                          </a:solidFill>
                          <a:latin typeface="EYInterstate Light" panose="02000506000000020004" pitchFamily="2" charset="0"/>
                          <a:ea typeface="+mn-ea"/>
                          <a:cs typeface="+mn-cs"/>
                        </a:rPr>
                        <a:t>Data Governance &amp; Data Quality</a:t>
                      </a:r>
                    </a:p>
                    <a:p>
                      <a:pPr marL="171450" indent="-171450" algn="l" defTabSz="1266737" rtl="0" eaLnBrk="1" fontAlgn="base" latinLnBrk="0" hangingPunct="1">
                        <a:lnSpc>
                          <a:spcPct val="100000"/>
                        </a:lnSpc>
                        <a:spcBef>
                          <a:spcPts val="600"/>
                        </a:spcBef>
                        <a:spcAft>
                          <a:spcPts val="600"/>
                        </a:spcAft>
                        <a:buClr>
                          <a:schemeClr val="bg2"/>
                        </a:buClr>
                        <a:buSzPct val="80000"/>
                        <a:buFont typeface="Arial" panose="020B0604020202020204" pitchFamily="34" charset="0"/>
                        <a:buChar char="►"/>
                      </a:pPr>
                      <a:r>
                        <a:rPr lang="en-AU" sz="1100" kern="1200" dirty="0">
                          <a:solidFill>
                            <a:srgbClr val="333333"/>
                          </a:solidFill>
                          <a:latin typeface="EYInterstate Light" panose="02000506000000020004" pitchFamily="2" charset="0"/>
                          <a:ea typeface="+mn-ea"/>
                          <a:cs typeface="+mn-cs"/>
                        </a:rPr>
                        <a:t>Data &amp; Information Strategy</a:t>
                      </a:r>
                    </a:p>
                    <a:p>
                      <a:pPr marL="171450" indent="-171450" algn="l" defTabSz="1266737" rtl="0" eaLnBrk="1" fontAlgn="base" latinLnBrk="0" hangingPunct="1">
                        <a:lnSpc>
                          <a:spcPct val="100000"/>
                        </a:lnSpc>
                        <a:spcBef>
                          <a:spcPts val="600"/>
                        </a:spcBef>
                        <a:spcAft>
                          <a:spcPts val="600"/>
                        </a:spcAft>
                        <a:buClr>
                          <a:schemeClr val="bg2"/>
                        </a:buClr>
                        <a:buSzPct val="80000"/>
                        <a:buFont typeface="Arial" panose="020B0604020202020204" pitchFamily="34" charset="0"/>
                        <a:buChar char="►"/>
                      </a:pPr>
                      <a:r>
                        <a:rPr lang="en-AU" sz="1100" kern="1200" dirty="0">
                          <a:solidFill>
                            <a:srgbClr val="333333"/>
                          </a:solidFill>
                          <a:latin typeface="EYInterstate Light" panose="02000506000000020004" pitchFamily="2" charset="0"/>
                          <a:ea typeface="+mn-ea"/>
                          <a:cs typeface="+mn-cs"/>
                        </a:rPr>
                        <a:t>Master Data Management </a:t>
                      </a:r>
                    </a:p>
                    <a:p>
                      <a:pPr marL="171450" indent="-171450" algn="l" defTabSz="1266737" rtl="0" eaLnBrk="1" fontAlgn="base" latinLnBrk="0" hangingPunct="1">
                        <a:lnSpc>
                          <a:spcPct val="100000"/>
                        </a:lnSpc>
                        <a:spcBef>
                          <a:spcPts val="600"/>
                        </a:spcBef>
                        <a:spcAft>
                          <a:spcPts val="600"/>
                        </a:spcAft>
                        <a:buClr>
                          <a:schemeClr val="bg2"/>
                        </a:buClr>
                        <a:buSzPct val="80000"/>
                        <a:buFont typeface="Arial" panose="020B0604020202020204" pitchFamily="34" charset="0"/>
                        <a:buChar char="►"/>
                      </a:pPr>
                      <a:r>
                        <a:rPr lang="en-AU" sz="1100" kern="1200" dirty="0">
                          <a:solidFill>
                            <a:srgbClr val="333333"/>
                          </a:solidFill>
                          <a:latin typeface="EYInterstate Light" panose="02000506000000020004" pitchFamily="2" charset="0"/>
                          <a:ea typeface="+mn-ea"/>
                          <a:cs typeface="+mn-cs"/>
                        </a:rPr>
                        <a:t>Augmented Data Preparation</a:t>
                      </a:r>
                    </a:p>
                    <a:p>
                      <a:pPr marL="171450" indent="-171450" algn="l" defTabSz="1266737" rtl="0" eaLnBrk="1" fontAlgn="base" latinLnBrk="0" hangingPunct="1">
                        <a:lnSpc>
                          <a:spcPct val="100000"/>
                        </a:lnSpc>
                        <a:spcBef>
                          <a:spcPts val="600"/>
                        </a:spcBef>
                        <a:spcAft>
                          <a:spcPts val="600"/>
                        </a:spcAft>
                        <a:buClr>
                          <a:schemeClr val="bg2"/>
                        </a:buClr>
                        <a:buSzPct val="80000"/>
                        <a:buFont typeface="Arial" panose="020B0604020202020204" pitchFamily="34" charset="0"/>
                        <a:buChar char="►"/>
                      </a:pPr>
                      <a:r>
                        <a:rPr lang="en-AU" sz="1100" kern="1200" dirty="0">
                          <a:solidFill>
                            <a:srgbClr val="333333"/>
                          </a:solidFill>
                          <a:latin typeface="EYInterstate Light" panose="02000506000000020004" pitchFamily="2" charset="0"/>
                          <a:ea typeface="+mn-ea"/>
                          <a:cs typeface="+mn-cs"/>
                        </a:rPr>
                        <a:t>Data-as-a-service</a:t>
                      </a:r>
                    </a:p>
                  </a:txBody>
                  <a:tcPr marT="3600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defTabSz="1266737" rtl="0" eaLnBrk="1" fontAlgn="base" latinLnBrk="0" hangingPunct="1">
                        <a:lnSpc>
                          <a:spcPct val="100000"/>
                        </a:lnSpc>
                        <a:spcBef>
                          <a:spcPts val="600"/>
                        </a:spcBef>
                        <a:spcAft>
                          <a:spcPts val="600"/>
                        </a:spcAft>
                        <a:buClr>
                          <a:schemeClr val="bg2"/>
                        </a:buClr>
                        <a:buSzPct val="80000"/>
                        <a:buFont typeface="Arial" panose="020B0604020202020204" pitchFamily="34" charset="0"/>
                        <a:buChar char="►"/>
                      </a:pPr>
                      <a:r>
                        <a:rPr lang="en-AU" sz="1100" kern="1200">
                          <a:solidFill>
                            <a:srgbClr val="333333"/>
                          </a:solidFill>
                          <a:latin typeface="EYInterstate Light" panose="02000506000000020004" pitchFamily="2" charset="0"/>
                          <a:ea typeface="+mn-ea"/>
                          <a:cs typeface="+mn-cs"/>
                        </a:rPr>
                        <a:t>Predictive Analytics</a:t>
                      </a:r>
                    </a:p>
                    <a:p>
                      <a:pPr marL="171450" indent="-171450" algn="l" defTabSz="1266737" rtl="0" eaLnBrk="1" fontAlgn="base" latinLnBrk="0" hangingPunct="1">
                        <a:lnSpc>
                          <a:spcPct val="100000"/>
                        </a:lnSpc>
                        <a:spcBef>
                          <a:spcPts val="600"/>
                        </a:spcBef>
                        <a:spcAft>
                          <a:spcPts val="600"/>
                        </a:spcAft>
                        <a:buClr>
                          <a:schemeClr val="bg2"/>
                        </a:buClr>
                        <a:buSzPct val="80000"/>
                        <a:buFont typeface="Arial" panose="020B0604020202020204" pitchFamily="34" charset="0"/>
                        <a:buChar char="►"/>
                      </a:pPr>
                      <a:r>
                        <a:rPr lang="en-AU" sz="1100" kern="1200">
                          <a:solidFill>
                            <a:srgbClr val="333333"/>
                          </a:solidFill>
                          <a:latin typeface="EYInterstate Light" panose="02000506000000020004" pitchFamily="2" charset="0"/>
                          <a:ea typeface="+mn-ea"/>
                          <a:cs typeface="+mn-cs"/>
                        </a:rPr>
                        <a:t>Prescriptive Analytics</a:t>
                      </a:r>
                    </a:p>
                    <a:p>
                      <a:pPr marL="171450" indent="-171450" algn="l" defTabSz="1266737" rtl="0" eaLnBrk="1" fontAlgn="base" latinLnBrk="0" hangingPunct="1">
                        <a:lnSpc>
                          <a:spcPct val="100000"/>
                        </a:lnSpc>
                        <a:spcBef>
                          <a:spcPts val="600"/>
                        </a:spcBef>
                        <a:spcAft>
                          <a:spcPts val="600"/>
                        </a:spcAft>
                        <a:buClr>
                          <a:schemeClr val="bg2"/>
                        </a:buClr>
                        <a:buSzPct val="80000"/>
                        <a:buFont typeface="Arial" panose="020B0604020202020204" pitchFamily="34" charset="0"/>
                        <a:buChar char="►"/>
                      </a:pPr>
                      <a:r>
                        <a:rPr lang="en-AU" sz="1100" kern="1200">
                          <a:solidFill>
                            <a:srgbClr val="333333"/>
                          </a:solidFill>
                          <a:latin typeface="EYInterstate Light" panose="02000506000000020004" pitchFamily="2" charset="0"/>
                          <a:ea typeface="+mn-ea"/>
                          <a:cs typeface="+mn-cs"/>
                        </a:rPr>
                        <a:t>Data science &amp; Machine Learning augmentation</a:t>
                      </a:r>
                    </a:p>
                    <a:p>
                      <a:pPr marL="171450" indent="-171450" algn="l" defTabSz="1266737" rtl="0" eaLnBrk="1" fontAlgn="base" latinLnBrk="0" hangingPunct="1">
                        <a:lnSpc>
                          <a:spcPct val="100000"/>
                        </a:lnSpc>
                        <a:spcBef>
                          <a:spcPts val="600"/>
                        </a:spcBef>
                        <a:spcAft>
                          <a:spcPts val="600"/>
                        </a:spcAft>
                        <a:buClr>
                          <a:schemeClr val="bg2"/>
                        </a:buClr>
                        <a:buSzPct val="80000"/>
                        <a:buFont typeface="Arial" panose="020B0604020202020204" pitchFamily="34" charset="0"/>
                        <a:buChar char="►"/>
                      </a:pPr>
                      <a:r>
                        <a:rPr lang="en-AU" sz="1100" kern="1200">
                          <a:solidFill>
                            <a:srgbClr val="333333"/>
                          </a:solidFill>
                          <a:latin typeface="EYInterstate Light" panose="02000506000000020004" pitchFamily="2" charset="0"/>
                          <a:ea typeface="+mn-ea"/>
                          <a:cs typeface="+mn-cs"/>
                        </a:rPr>
                        <a:t>Deep Learning &amp; Artificial Intelligence</a:t>
                      </a:r>
                    </a:p>
                    <a:p>
                      <a:pPr marL="171450" indent="-171450" algn="l" defTabSz="1266737" rtl="0" eaLnBrk="1" fontAlgn="base" latinLnBrk="0" hangingPunct="1">
                        <a:lnSpc>
                          <a:spcPct val="100000"/>
                        </a:lnSpc>
                        <a:spcBef>
                          <a:spcPts val="600"/>
                        </a:spcBef>
                        <a:spcAft>
                          <a:spcPts val="600"/>
                        </a:spcAft>
                        <a:buClr>
                          <a:schemeClr val="bg2"/>
                        </a:buClr>
                        <a:buSzPct val="80000"/>
                        <a:buFont typeface="Arial" panose="020B0604020202020204" pitchFamily="34" charset="0"/>
                        <a:buChar char="►"/>
                      </a:pPr>
                      <a:r>
                        <a:rPr lang="en-AU" sz="1100" kern="1200">
                          <a:solidFill>
                            <a:srgbClr val="333333"/>
                          </a:solidFill>
                          <a:latin typeface="EYInterstate Light" panose="02000506000000020004" pitchFamily="2" charset="0"/>
                          <a:ea typeface="+mn-ea"/>
                          <a:cs typeface="+mn-cs"/>
                        </a:rPr>
                        <a:t>Augmented Data Discovery</a:t>
                      </a:r>
                    </a:p>
                    <a:p>
                      <a:pPr marL="171450" indent="-171450" algn="l" defTabSz="1266737" rtl="0" eaLnBrk="1" fontAlgn="base" latinLnBrk="0" hangingPunct="1">
                        <a:lnSpc>
                          <a:spcPct val="100000"/>
                        </a:lnSpc>
                        <a:spcBef>
                          <a:spcPts val="600"/>
                        </a:spcBef>
                        <a:spcAft>
                          <a:spcPts val="600"/>
                        </a:spcAft>
                        <a:buClr>
                          <a:schemeClr val="bg2"/>
                        </a:buClr>
                        <a:buSzPct val="80000"/>
                        <a:buFont typeface="Arial" panose="020B0604020202020204" pitchFamily="34" charset="0"/>
                        <a:buChar char="►"/>
                      </a:pPr>
                      <a:r>
                        <a:rPr lang="en-AU" sz="1100" kern="1200">
                          <a:solidFill>
                            <a:srgbClr val="333333"/>
                          </a:solidFill>
                          <a:latin typeface="EYInterstate Light" panose="02000506000000020004" pitchFamily="2" charset="0"/>
                          <a:ea typeface="+mn-ea"/>
                          <a:cs typeface="+mn-cs"/>
                        </a:rPr>
                        <a:t>Analytics-as-a-service &amp; Hosted Analytics</a:t>
                      </a:r>
                    </a:p>
                  </a:txBody>
                  <a:tcPr marT="3600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defTabSz="1266737" rtl="0" eaLnBrk="1" fontAlgn="base" latinLnBrk="0" hangingPunct="1">
                        <a:lnSpc>
                          <a:spcPct val="100000"/>
                        </a:lnSpc>
                        <a:spcBef>
                          <a:spcPts val="600"/>
                        </a:spcBef>
                        <a:spcAft>
                          <a:spcPts val="600"/>
                        </a:spcAft>
                        <a:buClr>
                          <a:schemeClr val="bg2"/>
                        </a:buClr>
                        <a:buSzPct val="80000"/>
                        <a:buFont typeface="Arial" panose="020B0604020202020204" pitchFamily="34" charset="0"/>
                        <a:buNone/>
                      </a:pPr>
                      <a:endParaRPr lang="en-AU" sz="100" kern="1200">
                        <a:solidFill>
                          <a:srgbClr val="333333"/>
                        </a:solidFill>
                        <a:latin typeface="EYInterstate Light" panose="02000506000000020004" pitchFamily="2" charset="0"/>
                        <a:ea typeface="+mn-ea"/>
                        <a:cs typeface="+mn-cs"/>
                      </a:endParaRPr>
                    </a:p>
                    <a:p>
                      <a:pPr marL="171450" indent="-171450" algn="l" defTabSz="1266737" rtl="0" eaLnBrk="1" fontAlgn="base" latinLnBrk="0" hangingPunct="1">
                        <a:lnSpc>
                          <a:spcPct val="100000"/>
                        </a:lnSpc>
                        <a:spcBef>
                          <a:spcPts val="600"/>
                        </a:spcBef>
                        <a:spcAft>
                          <a:spcPts val="600"/>
                        </a:spcAft>
                        <a:buClr>
                          <a:schemeClr val="bg2"/>
                        </a:buClr>
                        <a:buSzPct val="80000"/>
                        <a:buFont typeface="Arial" panose="020B0604020202020204" pitchFamily="34" charset="0"/>
                        <a:buChar char="►"/>
                      </a:pPr>
                      <a:r>
                        <a:rPr lang="en-AU" sz="1100" kern="1200">
                          <a:solidFill>
                            <a:srgbClr val="333333"/>
                          </a:solidFill>
                          <a:latin typeface="EYInterstate Light" panose="02000506000000020004" pitchFamily="2" charset="0"/>
                          <a:ea typeface="+mn-ea"/>
                          <a:cs typeface="+mn-cs"/>
                        </a:rPr>
                        <a:t>Dashboarding, storytelling and collaboration</a:t>
                      </a:r>
                    </a:p>
                    <a:p>
                      <a:pPr marL="171450" indent="-171450" algn="l" defTabSz="1266737" rtl="0" eaLnBrk="1" fontAlgn="base" latinLnBrk="0" hangingPunct="1">
                        <a:lnSpc>
                          <a:spcPct val="100000"/>
                        </a:lnSpc>
                        <a:spcBef>
                          <a:spcPts val="600"/>
                        </a:spcBef>
                        <a:spcAft>
                          <a:spcPts val="600"/>
                        </a:spcAft>
                        <a:buClr>
                          <a:schemeClr val="bg2"/>
                        </a:buClr>
                        <a:buSzPct val="80000"/>
                        <a:buFont typeface="Arial" panose="020B0604020202020204" pitchFamily="34" charset="0"/>
                        <a:buChar char="►"/>
                      </a:pPr>
                      <a:r>
                        <a:rPr lang="en-AU" sz="1100" kern="1200">
                          <a:solidFill>
                            <a:srgbClr val="333333"/>
                          </a:solidFill>
                          <a:latin typeface="EYInterstate Light" panose="02000506000000020004" pitchFamily="2" charset="0"/>
                          <a:ea typeface="+mn-ea"/>
                          <a:cs typeface="+mn-cs"/>
                        </a:rPr>
                        <a:t>Data Visualisation</a:t>
                      </a:r>
                    </a:p>
                    <a:p>
                      <a:pPr marL="171450" indent="-171450" algn="l" defTabSz="1266737" rtl="0" eaLnBrk="1" fontAlgn="base" latinLnBrk="0" hangingPunct="1">
                        <a:lnSpc>
                          <a:spcPct val="100000"/>
                        </a:lnSpc>
                        <a:spcBef>
                          <a:spcPts val="600"/>
                        </a:spcBef>
                        <a:spcAft>
                          <a:spcPts val="600"/>
                        </a:spcAft>
                        <a:buClr>
                          <a:schemeClr val="bg2"/>
                        </a:buClr>
                        <a:buSzPct val="80000"/>
                        <a:buFont typeface="Arial" panose="020B0604020202020204" pitchFamily="34" charset="0"/>
                        <a:buChar char="►"/>
                      </a:pPr>
                      <a:r>
                        <a:rPr lang="en-US" sz="1100" kern="1200">
                          <a:solidFill>
                            <a:srgbClr val="333333"/>
                          </a:solidFill>
                          <a:latin typeface="EYInterstate Light" panose="02000506000000020004" pitchFamily="2" charset="0"/>
                          <a:ea typeface="+mn-ea"/>
                          <a:cs typeface="+mn-cs"/>
                        </a:rPr>
                        <a:t>Semantic layer design and development</a:t>
                      </a:r>
                      <a:endParaRPr lang="en-AU" sz="1100" kern="1200">
                        <a:solidFill>
                          <a:srgbClr val="333333"/>
                        </a:solidFill>
                        <a:latin typeface="EYInterstate Light" panose="02000506000000020004" pitchFamily="2" charset="0"/>
                        <a:ea typeface="+mn-ea"/>
                        <a:cs typeface="+mn-cs"/>
                      </a:endParaRPr>
                    </a:p>
                    <a:p>
                      <a:pPr marL="171450" indent="-171450" algn="l" defTabSz="1266737" rtl="0" eaLnBrk="1" fontAlgn="base" latinLnBrk="0" hangingPunct="1">
                        <a:lnSpc>
                          <a:spcPct val="100000"/>
                        </a:lnSpc>
                        <a:spcBef>
                          <a:spcPts val="600"/>
                        </a:spcBef>
                        <a:spcAft>
                          <a:spcPts val="600"/>
                        </a:spcAft>
                        <a:buClr>
                          <a:schemeClr val="bg2"/>
                        </a:buClr>
                        <a:buSzPct val="80000"/>
                        <a:buFont typeface="Arial" panose="020B0604020202020204" pitchFamily="34" charset="0"/>
                        <a:buChar char="►"/>
                      </a:pPr>
                      <a:r>
                        <a:rPr lang="en-AU" sz="1100" kern="1200">
                          <a:solidFill>
                            <a:srgbClr val="333333"/>
                          </a:solidFill>
                          <a:latin typeface="EYInterstate Light" panose="02000506000000020004" pitchFamily="2" charset="0"/>
                          <a:ea typeface="+mn-ea"/>
                          <a:cs typeface="+mn-cs"/>
                        </a:rPr>
                        <a:t>Reporting-as-a-service</a:t>
                      </a:r>
                    </a:p>
                  </a:txBody>
                  <a:tcPr marT="3600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75250889"/>
                  </a:ext>
                </a:extLst>
              </a:tr>
              <a:tr h="378590">
                <a:tc gridSpan="3">
                  <a:txBody>
                    <a:bodyPr/>
                    <a:lstStyle/>
                    <a:p>
                      <a:pPr marL="0" indent="0">
                        <a:spcBef>
                          <a:spcPts val="600"/>
                        </a:spcBef>
                        <a:spcAft>
                          <a:spcPts val="600"/>
                        </a:spcAft>
                        <a:buClr>
                          <a:schemeClr val="accent1"/>
                        </a:buClr>
                        <a:buSzPct val="150000"/>
                        <a:buFont typeface="EYInterstate Light" panose="02000506000000020004" pitchFamily="2" charset="0"/>
                        <a:buNone/>
                      </a:pPr>
                      <a:r>
                        <a:rPr lang="en-US" sz="1200" b="1" dirty="0">
                          <a:solidFill>
                            <a:schemeClr val="tx1"/>
                          </a:solidFill>
                          <a:latin typeface="EYInterstate Light" panose="02000506000000020004" pitchFamily="2" charset="0"/>
                        </a:rPr>
                        <a:t>Our suite of strategy, design, architecture, data, systems integration, analytics and data science is combined with our deep domain and sector knowledge.</a:t>
                      </a:r>
                      <a:endParaRPr lang="en-AU" sz="1200" b="1" dirty="0">
                        <a:solidFill>
                          <a:schemeClr val="tx1"/>
                        </a:solidFill>
                        <a:latin typeface="EYInterstate Light" panose="02000506000000020004" pitchFamily="2" charset="0"/>
                      </a:endParaRPr>
                    </a:p>
                  </a:txBody>
                  <a:tcPr marT="3600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hMerge="1">
                  <a:txBody>
                    <a:bodyPr/>
                    <a:lstStyle/>
                    <a:p>
                      <a:pPr marL="171450" indent="-171450">
                        <a:buClr>
                          <a:schemeClr val="accent1"/>
                        </a:buClr>
                        <a:buSzPct val="150000"/>
                        <a:buFont typeface="EYInterstate Light" panose="02000506000000020004" pitchFamily="2" charset="0"/>
                        <a:buChar char="•"/>
                      </a:pPr>
                      <a:endParaRPr lang="en-AU" sz="1100">
                        <a:solidFill>
                          <a:schemeClr val="bg2"/>
                        </a:solidFill>
                        <a:latin typeface="EYInterstate Light" panose="02000506000000020004" pitchFamily="2" charset="0"/>
                      </a:endParaRPr>
                    </a:p>
                  </a:txBody>
                  <a:tcPr marT="3600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171450" indent="-171450">
                        <a:buClr>
                          <a:schemeClr val="accent1"/>
                        </a:buClr>
                        <a:buSzPct val="150000"/>
                        <a:buFont typeface="EYInterstate Light" panose="02000506000000020004" pitchFamily="2" charset="0"/>
                        <a:buChar char="•"/>
                      </a:pPr>
                      <a:endParaRPr lang="en-AU" sz="1100">
                        <a:solidFill>
                          <a:schemeClr val="bg2"/>
                        </a:solidFill>
                        <a:latin typeface="EYInterstate Light" panose="02000506000000020004" pitchFamily="2" charset="0"/>
                      </a:endParaRPr>
                    </a:p>
                  </a:txBody>
                  <a:tcPr marT="3600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84788867"/>
                  </a:ext>
                </a:extLst>
              </a:tr>
            </a:tbl>
          </a:graphicData>
        </a:graphic>
      </p:graphicFrame>
      <p:sp>
        <p:nvSpPr>
          <p:cNvPr id="155" name="Rectangle 154">
            <a:extLst>
              <a:ext uri="{FF2B5EF4-FFF2-40B4-BE49-F238E27FC236}">
                <a16:creationId xmlns:a16="http://schemas.microsoft.com/office/drawing/2014/main" id="{4D5FA750-90EF-43EB-8C7C-A0DF33AB142F}"/>
              </a:ext>
            </a:extLst>
          </p:cNvPr>
          <p:cNvSpPr/>
          <p:nvPr/>
        </p:nvSpPr>
        <p:spPr>
          <a:xfrm>
            <a:off x="726553" y="1586921"/>
            <a:ext cx="6980268" cy="338554"/>
          </a:xfrm>
          <a:prstGeom prst="rect">
            <a:avLst/>
          </a:prstGeom>
          <a:solidFill>
            <a:schemeClr val="accent1"/>
          </a:solidFill>
        </p:spPr>
        <p:txBody>
          <a:bodyPr wrap="square">
            <a:spAutoFit/>
          </a:bodyPr>
          <a:lstStyle/>
          <a:p>
            <a:pPr marL="0" marR="0" lvl="0" indent="0" algn="l" defTabSz="1042990" rtl="0" eaLnBrk="1" fontAlgn="auto" latinLnBrk="0" hangingPunct="1">
              <a:lnSpc>
                <a:spcPct val="100000"/>
              </a:lnSpc>
              <a:spcBef>
                <a:spcPts val="0"/>
              </a:spcBef>
              <a:spcAft>
                <a:spcPts val="0"/>
              </a:spcAft>
              <a:buClrTx/>
              <a:buSzTx/>
              <a:buFontTx/>
              <a:buNone/>
              <a:tabLst/>
              <a:defRPr/>
            </a:pPr>
            <a:r>
              <a:rPr kumimoji="0" lang="en-IN" sz="1600" b="0" i="0" u="none" strike="noStrike" kern="0" cap="none" spc="0" normalizeH="0" baseline="0" noProof="0" dirty="0">
                <a:ln>
                  <a:noFill/>
                </a:ln>
                <a:solidFill>
                  <a:srgbClr val="FFFFFF"/>
                </a:solidFill>
                <a:effectLst/>
                <a:uLnTx/>
                <a:uFillTx/>
                <a:latin typeface="EYInterstate" panose="02000503020000020004" pitchFamily="2" charset="0"/>
                <a:ea typeface="+mn-ea"/>
                <a:cs typeface="Arial" pitchFamily="34" charset="0"/>
              </a:rPr>
              <a:t>EY Data and Analytics team (APAC)</a:t>
            </a:r>
            <a:endParaRPr kumimoji="0" lang="en-AU" sz="1600" b="0" i="0" u="none" strike="noStrike" kern="0" cap="none" spc="0" normalizeH="0" baseline="0" noProof="0" dirty="0">
              <a:ln>
                <a:noFill/>
              </a:ln>
              <a:solidFill>
                <a:srgbClr val="FFFFFF"/>
              </a:solidFill>
              <a:effectLst/>
              <a:uLnTx/>
              <a:uFillTx/>
              <a:latin typeface="EYInterstate" panose="02000503020000020004" pitchFamily="2" charset="0"/>
              <a:ea typeface="+mn-ea"/>
              <a:cs typeface="Arial" pitchFamily="34" charset="0"/>
            </a:endParaRPr>
          </a:p>
        </p:txBody>
      </p:sp>
      <p:sp>
        <p:nvSpPr>
          <p:cNvPr id="156" name="Isosceles Triangle 155">
            <a:extLst>
              <a:ext uri="{FF2B5EF4-FFF2-40B4-BE49-F238E27FC236}">
                <a16:creationId xmlns:a16="http://schemas.microsoft.com/office/drawing/2014/main" id="{6511A42F-04F8-4592-A096-C3FB5A1C693E}"/>
              </a:ext>
            </a:extLst>
          </p:cNvPr>
          <p:cNvSpPr/>
          <p:nvPr/>
        </p:nvSpPr>
        <p:spPr>
          <a:xfrm rot="5400000">
            <a:off x="5542975" y="2567539"/>
            <a:ext cx="836764" cy="190835"/>
          </a:xfrm>
          <a:prstGeom prst="triangle">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1042990" rtl="0" eaLnBrk="1" fontAlgn="auto" latinLnBrk="0" hangingPunct="1">
              <a:lnSpc>
                <a:spcPct val="100000"/>
              </a:lnSpc>
              <a:spcBef>
                <a:spcPts val="0"/>
              </a:spcBef>
              <a:spcAft>
                <a:spcPts val="0"/>
              </a:spcAft>
              <a:buClrTx/>
              <a:buSzTx/>
              <a:buFontTx/>
              <a:buNone/>
              <a:tabLst/>
              <a:defRPr/>
            </a:pPr>
            <a:endParaRPr kumimoji="0" lang="en-AU" sz="1200" b="0" i="0" u="none" strike="noStrike" kern="1200" cap="none" spc="0" normalizeH="0" baseline="0" noProof="0" dirty="0">
              <a:ln>
                <a:noFill/>
              </a:ln>
              <a:solidFill>
                <a:srgbClr val="2E2E38"/>
              </a:solidFill>
              <a:effectLst/>
              <a:uLnTx/>
              <a:uFillTx/>
              <a:latin typeface="EYInterstate Light"/>
              <a:ea typeface="+mn-ea"/>
              <a:cs typeface="+mn-cs"/>
            </a:endParaRPr>
          </a:p>
        </p:txBody>
      </p:sp>
      <p:sp>
        <p:nvSpPr>
          <p:cNvPr id="158" name="TextBox 73">
            <a:extLst>
              <a:ext uri="{FF2B5EF4-FFF2-40B4-BE49-F238E27FC236}">
                <a16:creationId xmlns:a16="http://schemas.microsoft.com/office/drawing/2014/main" id="{AFA8692C-CF92-4210-BB29-9B526432CB6F}"/>
              </a:ext>
            </a:extLst>
          </p:cNvPr>
          <p:cNvSpPr txBox="1"/>
          <p:nvPr/>
        </p:nvSpPr>
        <p:spPr>
          <a:xfrm>
            <a:off x="12003983" y="1961363"/>
            <a:ext cx="1045631" cy="507831"/>
          </a:xfrm>
          <a:prstGeom prst="rect">
            <a:avLst/>
          </a:prstGeom>
          <a:ln w="12700">
            <a:miter lim="400000"/>
          </a:ln>
          <a:extLst>
            <a:ext uri="{C572A759-6A51-4108-AA02-DFA0A04FC94B}">
              <ma14:wrappingTextBoxFlag xmlns:ma14="http://schemas.microsoft.com/office/mac/drawingml/2011/main" xmlns="" val="1"/>
            </a:ext>
          </a:extLst>
        </p:spPr>
        <p:txBody>
          <a:bodyPr wrap="square" lIns="0" tIns="0" rIns="0" bIns="0">
            <a:spAutoFit/>
          </a:bodyPr>
          <a:lstStyle>
            <a:lvl1pPr>
              <a:lnSpc>
                <a:spcPts val="1300"/>
              </a:lnSpc>
              <a:spcBef>
                <a:spcPts val="1200"/>
              </a:spcBef>
              <a:defRPr sz="1000">
                <a:solidFill>
                  <a:srgbClr val="333333"/>
                </a:solidFill>
                <a:latin typeface="EYInterstate Light"/>
                <a:ea typeface="EYInterstate Light"/>
                <a:cs typeface="EYInterstate Light"/>
                <a:sym typeface="EYInterstate Light"/>
              </a:defRPr>
            </a:lvl1pPr>
          </a:lstStyle>
          <a:p>
            <a:pPr marL="0" marR="0" lvl="0" indent="0" algn="l" defTabSz="914400" rtl="0" eaLnBrk="1" fontAlgn="base" latinLnBrk="0" hangingPunct="1">
              <a:lnSpc>
                <a:spcPct val="100000"/>
              </a:lnSpc>
              <a:spcBef>
                <a:spcPts val="1200"/>
              </a:spcBef>
              <a:spcAft>
                <a:spcPct val="50000"/>
              </a:spcAft>
              <a:buClr>
                <a:srgbClr val="FFE600"/>
              </a:buClr>
              <a:buSzPct val="80000"/>
              <a:buFont typeface="Arial" charset="0"/>
              <a:buNone/>
              <a:tabLst/>
              <a:defRPr/>
            </a:pPr>
            <a:r>
              <a:rPr kumimoji="0" lang="en-US" sz="1100" b="0" i="0" u="none" strike="noStrike" kern="1200" cap="none" spc="0" normalizeH="0" baseline="0" noProof="0" dirty="0">
                <a:ln>
                  <a:noFill/>
                </a:ln>
                <a:solidFill>
                  <a:srgbClr val="333333"/>
                </a:solidFill>
                <a:effectLst/>
                <a:uLnTx/>
                <a:uFillTx/>
                <a:latin typeface="EYInterstate Light" panose="02000506000000020004" pitchFamily="2" charset="0"/>
                <a:sym typeface="EYInterstate Light"/>
              </a:rPr>
              <a:t>We understand data analytics processes</a:t>
            </a:r>
          </a:p>
        </p:txBody>
      </p:sp>
      <p:pic>
        <p:nvPicPr>
          <p:cNvPr id="159" name="Picture 158">
            <a:extLst>
              <a:ext uri="{FF2B5EF4-FFF2-40B4-BE49-F238E27FC236}">
                <a16:creationId xmlns:a16="http://schemas.microsoft.com/office/drawing/2014/main" id="{AAC64FF2-5FE7-43E3-AD90-35F6531B7688}"/>
              </a:ext>
            </a:extLst>
          </p:cNvPr>
          <p:cNvPicPr>
            <a:picLocks noChangeAspect="1"/>
          </p:cNvPicPr>
          <p:nvPr/>
        </p:nvPicPr>
        <p:blipFill>
          <a:blip r:embed="rId16"/>
          <a:stretch>
            <a:fillRect/>
          </a:stretch>
        </p:blipFill>
        <p:spPr>
          <a:xfrm>
            <a:off x="11254363" y="1870375"/>
            <a:ext cx="642759" cy="642759"/>
          </a:xfrm>
          <a:prstGeom prst="rect">
            <a:avLst/>
          </a:prstGeom>
        </p:spPr>
      </p:pic>
      <p:sp>
        <p:nvSpPr>
          <p:cNvPr id="160" name="TextBox 68">
            <a:extLst>
              <a:ext uri="{FF2B5EF4-FFF2-40B4-BE49-F238E27FC236}">
                <a16:creationId xmlns:a16="http://schemas.microsoft.com/office/drawing/2014/main" id="{45F4A336-6158-402C-BCCF-635CDB95925C}"/>
              </a:ext>
            </a:extLst>
          </p:cNvPr>
          <p:cNvSpPr txBox="1"/>
          <p:nvPr/>
        </p:nvSpPr>
        <p:spPr>
          <a:xfrm>
            <a:off x="12005050" y="2846238"/>
            <a:ext cx="1210555" cy="507831"/>
          </a:xfrm>
          <a:prstGeom prst="rect">
            <a:avLst/>
          </a:prstGeom>
          <a:ln w="12700">
            <a:miter lim="400000"/>
          </a:ln>
          <a:extLst>
            <a:ext uri="{C572A759-6A51-4108-AA02-DFA0A04FC94B}">
              <ma14:wrappingTextBoxFlag xmlns:ma14="http://schemas.microsoft.com/office/mac/drawingml/2011/main" xmlns="" val="1"/>
            </a:ext>
          </a:extLst>
        </p:spPr>
        <p:txBody>
          <a:bodyPr wrap="square" lIns="0" tIns="0" rIns="0" bIns="0">
            <a:spAutoFit/>
          </a:bodyPr>
          <a:lstStyle>
            <a:lvl1pPr>
              <a:lnSpc>
                <a:spcPts val="1300"/>
              </a:lnSpc>
              <a:spcBef>
                <a:spcPts val="1200"/>
              </a:spcBef>
              <a:defRPr sz="1000">
                <a:solidFill>
                  <a:srgbClr val="333333"/>
                </a:solidFill>
                <a:latin typeface="EYInterstate Light"/>
                <a:ea typeface="EYInterstate Light"/>
                <a:cs typeface="EYInterstate Light"/>
                <a:sym typeface="EYInterstate Light"/>
              </a:defRPr>
            </a:lvl1pPr>
          </a:lstStyle>
          <a:p>
            <a:pPr marL="0" marR="0" lvl="0" indent="0" algn="l" defTabSz="914400" rtl="0" eaLnBrk="1" fontAlgn="base" latinLnBrk="0" hangingPunct="1">
              <a:lnSpc>
                <a:spcPct val="100000"/>
              </a:lnSpc>
              <a:spcBef>
                <a:spcPts val="1200"/>
              </a:spcBef>
              <a:spcAft>
                <a:spcPct val="50000"/>
              </a:spcAft>
              <a:buClr>
                <a:srgbClr val="FFE600"/>
              </a:buClr>
              <a:buSzPct val="80000"/>
              <a:buFont typeface="Arial" charset="0"/>
              <a:buNone/>
              <a:tabLst/>
              <a:defRPr/>
            </a:pPr>
            <a:r>
              <a:rPr kumimoji="0" lang="en-US" sz="1100" b="0" i="0" u="none" strike="noStrike" kern="1200" cap="none" spc="0" normalizeH="0" baseline="0" noProof="0" dirty="0">
                <a:ln>
                  <a:noFill/>
                </a:ln>
                <a:solidFill>
                  <a:srgbClr val="333333"/>
                </a:solidFill>
                <a:effectLst/>
                <a:uLnTx/>
                <a:uFillTx/>
                <a:latin typeface="EYInterstate Light" panose="02000506000000020004" pitchFamily="2" charset="0"/>
                <a:sym typeface="EYInterstate Light"/>
              </a:rPr>
              <a:t>We support wide variety of industries</a:t>
            </a:r>
          </a:p>
        </p:txBody>
      </p:sp>
      <p:pic>
        <p:nvPicPr>
          <p:cNvPr id="161" name="Graphic 160" descr="City">
            <a:extLst>
              <a:ext uri="{FF2B5EF4-FFF2-40B4-BE49-F238E27FC236}">
                <a16:creationId xmlns:a16="http://schemas.microsoft.com/office/drawing/2014/main" id="{EE64F931-ABBF-4CE8-BA35-5F24010512D4}"/>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11254363" y="2840398"/>
            <a:ext cx="640080" cy="640080"/>
          </a:xfrm>
          <a:prstGeom prst="rect">
            <a:avLst/>
          </a:prstGeom>
        </p:spPr>
      </p:pic>
      <p:sp>
        <p:nvSpPr>
          <p:cNvPr id="163" name="TextBox 72">
            <a:extLst>
              <a:ext uri="{FF2B5EF4-FFF2-40B4-BE49-F238E27FC236}">
                <a16:creationId xmlns:a16="http://schemas.microsoft.com/office/drawing/2014/main" id="{660A77F0-7B79-45D9-9BF9-35B672349216}"/>
              </a:ext>
            </a:extLst>
          </p:cNvPr>
          <p:cNvSpPr txBox="1"/>
          <p:nvPr/>
        </p:nvSpPr>
        <p:spPr>
          <a:xfrm>
            <a:off x="12005050" y="3731113"/>
            <a:ext cx="1249607" cy="677108"/>
          </a:xfrm>
          <a:prstGeom prst="rect">
            <a:avLst/>
          </a:prstGeom>
          <a:ln w="12700">
            <a:miter lim="400000"/>
          </a:ln>
          <a:extLst>
            <a:ext uri="{C572A759-6A51-4108-AA02-DFA0A04FC94B}">
              <ma14:wrappingTextBoxFlag xmlns:ma14="http://schemas.microsoft.com/office/mac/drawingml/2011/main" xmlns="" val="1"/>
            </a:ext>
          </a:extLst>
        </p:spPr>
        <p:txBody>
          <a:bodyPr wrap="square" lIns="0" tIns="0" rIns="0" bIns="0">
            <a:spAutoFit/>
          </a:bodyPr>
          <a:lstStyle>
            <a:lvl1pPr>
              <a:lnSpc>
                <a:spcPts val="1300"/>
              </a:lnSpc>
              <a:spcBef>
                <a:spcPts val="1200"/>
              </a:spcBef>
              <a:defRPr sz="1000">
                <a:solidFill>
                  <a:srgbClr val="333333"/>
                </a:solidFill>
                <a:latin typeface="EYInterstate Light"/>
                <a:ea typeface="EYInterstate Light"/>
                <a:cs typeface="EYInterstate Light"/>
                <a:sym typeface="EYInterstate Light"/>
              </a:defRPr>
            </a:lvl1pPr>
          </a:lstStyle>
          <a:p>
            <a:pPr marL="0" marR="0" lvl="0" indent="0" algn="l" defTabSz="914400" rtl="0" eaLnBrk="1" fontAlgn="base" latinLnBrk="0" hangingPunct="1">
              <a:lnSpc>
                <a:spcPct val="100000"/>
              </a:lnSpc>
              <a:spcBef>
                <a:spcPts val="1200"/>
              </a:spcBef>
              <a:spcAft>
                <a:spcPct val="50000"/>
              </a:spcAft>
              <a:buClr>
                <a:srgbClr val="FFE600"/>
              </a:buClr>
              <a:buSzPct val="80000"/>
              <a:buFont typeface="Arial" charset="0"/>
              <a:buNone/>
              <a:tabLst/>
              <a:defRPr/>
            </a:pPr>
            <a:r>
              <a:rPr kumimoji="0" lang="en-US" sz="1100" b="0" i="0" u="none" strike="noStrike" kern="1200" cap="none" spc="0" normalizeH="0" baseline="0" noProof="0" dirty="0">
                <a:ln>
                  <a:noFill/>
                </a:ln>
                <a:solidFill>
                  <a:srgbClr val="333333"/>
                </a:solidFill>
                <a:effectLst/>
                <a:uLnTx/>
                <a:uFillTx/>
                <a:latin typeface="EYInterstate Light" panose="02000506000000020004" pitchFamily="2" charset="0"/>
                <a:sym typeface="EYInterstate Light"/>
              </a:rPr>
              <a:t>We believe in taking an iterative &amp; incremental approach</a:t>
            </a:r>
          </a:p>
        </p:txBody>
      </p:sp>
      <p:pic>
        <p:nvPicPr>
          <p:cNvPr id="164" name="Graphic 163" descr="Research">
            <a:extLst>
              <a:ext uri="{FF2B5EF4-FFF2-40B4-BE49-F238E27FC236}">
                <a16:creationId xmlns:a16="http://schemas.microsoft.com/office/drawing/2014/main" id="{C1316160-B4D0-4FC4-9D6F-96EE722DA5E0}"/>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11254363" y="3699579"/>
            <a:ext cx="640080" cy="640080"/>
          </a:xfrm>
          <a:prstGeom prst="rect">
            <a:avLst/>
          </a:prstGeom>
        </p:spPr>
      </p:pic>
      <p:sp>
        <p:nvSpPr>
          <p:cNvPr id="165" name="TextBox 73">
            <a:extLst>
              <a:ext uri="{FF2B5EF4-FFF2-40B4-BE49-F238E27FC236}">
                <a16:creationId xmlns:a16="http://schemas.microsoft.com/office/drawing/2014/main" id="{6FA12A00-5A42-4805-8D2E-3F60F4967C73}"/>
              </a:ext>
            </a:extLst>
          </p:cNvPr>
          <p:cNvSpPr txBox="1"/>
          <p:nvPr/>
        </p:nvSpPr>
        <p:spPr>
          <a:xfrm>
            <a:off x="11995274" y="4732205"/>
            <a:ext cx="1192405" cy="507831"/>
          </a:xfrm>
          <a:prstGeom prst="rect">
            <a:avLst/>
          </a:prstGeom>
          <a:ln w="12700">
            <a:miter lim="400000"/>
          </a:ln>
          <a:extLst>
            <a:ext uri="{C572A759-6A51-4108-AA02-DFA0A04FC94B}">
              <ma14:wrappingTextBoxFlag xmlns:ma14="http://schemas.microsoft.com/office/mac/drawingml/2011/main" xmlns="" val="1"/>
            </a:ext>
          </a:extLst>
        </p:spPr>
        <p:txBody>
          <a:bodyPr wrap="square" lIns="0" tIns="0" rIns="0" bIns="0">
            <a:spAutoFit/>
          </a:bodyPr>
          <a:lstStyle>
            <a:lvl1pPr>
              <a:lnSpc>
                <a:spcPts val="1300"/>
              </a:lnSpc>
              <a:spcBef>
                <a:spcPts val="1200"/>
              </a:spcBef>
              <a:defRPr sz="1000">
                <a:solidFill>
                  <a:srgbClr val="333333"/>
                </a:solidFill>
                <a:latin typeface="EYInterstate Light"/>
                <a:ea typeface="EYInterstate Light"/>
                <a:cs typeface="EYInterstate Light"/>
                <a:sym typeface="EYInterstate Light"/>
              </a:defRPr>
            </a:lvl1pPr>
          </a:lstStyle>
          <a:p>
            <a:pPr marL="0" marR="0" lvl="0" indent="0" algn="l" defTabSz="914400" rtl="0" eaLnBrk="1" fontAlgn="base" latinLnBrk="0" hangingPunct="1">
              <a:lnSpc>
                <a:spcPct val="100000"/>
              </a:lnSpc>
              <a:spcBef>
                <a:spcPts val="1200"/>
              </a:spcBef>
              <a:spcAft>
                <a:spcPct val="50000"/>
              </a:spcAft>
              <a:buClr>
                <a:srgbClr val="FFE600"/>
              </a:buClr>
              <a:buSzPct val="80000"/>
              <a:buFont typeface="Arial" charset="0"/>
              <a:buNone/>
              <a:tabLst/>
              <a:defRPr/>
            </a:pPr>
            <a:r>
              <a:rPr kumimoji="0" lang="en-US" sz="1100" b="0" i="0" u="none" strike="noStrike" kern="1200" cap="none" spc="0" normalizeH="0" baseline="0" noProof="0" dirty="0">
                <a:ln>
                  <a:noFill/>
                </a:ln>
                <a:solidFill>
                  <a:srgbClr val="333333"/>
                </a:solidFill>
                <a:effectLst/>
                <a:uLnTx/>
                <a:uFillTx/>
                <a:latin typeface="EYInterstate Light" panose="02000506000000020004" pitchFamily="2" charset="0"/>
                <a:sym typeface="EYInterstate Light"/>
              </a:rPr>
              <a:t>We work with both legacy and modern systems</a:t>
            </a:r>
          </a:p>
        </p:txBody>
      </p:sp>
      <p:pic>
        <p:nvPicPr>
          <p:cNvPr id="166" name="Picture 165">
            <a:extLst>
              <a:ext uri="{FF2B5EF4-FFF2-40B4-BE49-F238E27FC236}">
                <a16:creationId xmlns:a16="http://schemas.microsoft.com/office/drawing/2014/main" id="{6F51E898-D59C-4383-B1A8-94081B891950}"/>
              </a:ext>
            </a:extLst>
          </p:cNvPr>
          <p:cNvPicPr>
            <a:picLocks noChangeAspect="1"/>
          </p:cNvPicPr>
          <p:nvPr/>
        </p:nvPicPr>
        <p:blipFill>
          <a:blip r:embed="rId21"/>
          <a:stretch>
            <a:fillRect/>
          </a:stretch>
        </p:blipFill>
        <p:spPr>
          <a:xfrm>
            <a:off x="11336191" y="4738107"/>
            <a:ext cx="457200" cy="457200"/>
          </a:xfrm>
          <a:prstGeom prst="rect">
            <a:avLst/>
          </a:prstGeom>
        </p:spPr>
      </p:pic>
      <p:sp>
        <p:nvSpPr>
          <p:cNvPr id="167" name="TextBox 75">
            <a:extLst>
              <a:ext uri="{FF2B5EF4-FFF2-40B4-BE49-F238E27FC236}">
                <a16:creationId xmlns:a16="http://schemas.microsoft.com/office/drawing/2014/main" id="{CF4BAB7B-7931-4D65-975C-C50B843918A1}"/>
              </a:ext>
            </a:extLst>
          </p:cNvPr>
          <p:cNvSpPr txBox="1"/>
          <p:nvPr/>
        </p:nvSpPr>
        <p:spPr>
          <a:xfrm>
            <a:off x="12003983" y="5523141"/>
            <a:ext cx="1243195" cy="677108"/>
          </a:xfrm>
          <a:prstGeom prst="rect">
            <a:avLst/>
          </a:prstGeom>
          <a:ln w="12700">
            <a:miter lim="400000"/>
          </a:ln>
          <a:extLst>
            <a:ext uri="{C572A759-6A51-4108-AA02-DFA0A04FC94B}">
              <ma14:wrappingTextBoxFlag xmlns:ma14="http://schemas.microsoft.com/office/mac/drawingml/2011/main" xmlns="" val="1"/>
            </a:ext>
          </a:extLst>
        </p:spPr>
        <p:txBody>
          <a:bodyPr wrap="square" lIns="0" tIns="0" rIns="0" bIns="0">
            <a:spAutoFit/>
          </a:bodyPr>
          <a:lstStyle>
            <a:lvl1pPr>
              <a:lnSpc>
                <a:spcPts val="1300"/>
              </a:lnSpc>
              <a:spcBef>
                <a:spcPts val="1200"/>
              </a:spcBef>
              <a:defRPr sz="1000">
                <a:solidFill>
                  <a:srgbClr val="333333"/>
                </a:solidFill>
                <a:latin typeface="EYInterstate Light"/>
                <a:ea typeface="EYInterstate Light"/>
                <a:cs typeface="EYInterstate Light"/>
                <a:sym typeface="EYInterstate Light"/>
              </a:defRPr>
            </a:lvl1pPr>
          </a:lstStyle>
          <a:p>
            <a:pPr marL="0" marR="0" lvl="0" indent="0" algn="l" defTabSz="914400" rtl="0" eaLnBrk="1" fontAlgn="base" latinLnBrk="0" hangingPunct="1">
              <a:lnSpc>
                <a:spcPct val="100000"/>
              </a:lnSpc>
              <a:spcBef>
                <a:spcPts val="1200"/>
              </a:spcBef>
              <a:spcAft>
                <a:spcPct val="50000"/>
              </a:spcAft>
              <a:buClr>
                <a:srgbClr val="FFE600"/>
              </a:buClr>
              <a:buSzPct val="80000"/>
              <a:buFont typeface="Arial" charset="0"/>
              <a:buNone/>
              <a:tabLst/>
              <a:defRPr/>
            </a:pPr>
            <a:r>
              <a:rPr kumimoji="0" lang="en-US" sz="1100" b="0" i="0" u="none" strike="noStrike" kern="1200" cap="none" spc="0" normalizeH="0" baseline="0" noProof="0" dirty="0">
                <a:ln>
                  <a:noFill/>
                </a:ln>
                <a:solidFill>
                  <a:srgbClr val="333333"/>
                </a:solidFill>
                <a:effectLst/>
                <a:uLnTx/>
                <a:uFillTx/>
                <a:latin typeface="EYInterstate Light" panose="02000506000000020004" pitchFamily="2" charset="0"/>
                <a:sym typeface="EYInterstate Light"/>
              </a:rPr>
              <a:t>We are built to deliver with the best user experience</a:t>
            </a:r>
          </a:p>
        </p:txBody>
      </p:sp>
      <p:pic>
        <p:nvPicPr>
          <p:cNvPr id="168" name="Graphic 167" descr="Target">
            <a:extLst>
              <a:ext uri="{FF2B5EF4-FFF2-40B4-BE49-F238E27FC236}">
                <a16:creationId xmlns:a16="http://schemas.microsoft.com/office/drawing/2014/main" id="{378F08BF-A09D-4EAD-9ABF-7265121ADCB5}"/>
              </a:ext>
            </a:extLst>
          </p:cNvPr>
          <p:cNvPicPr>
            <a:picLocks noChangeAspect="1"/>
          </p:cNvPicPr>
          <p:nvPr/>
        </p:nvPicPr>
        <p:blipFill>
          <a:blip r:embed="rId22">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11228775" y="5523141"/>
            <a:ext cx="731521" cy="731521"/>
          </a:xfrm>
          <a:prstGeom prst="rect">
            <a:avLst/>
          </a:prstGeom>
        </p:spPr>
      </p:pic>
      <p:sp>
        <p:nvSpPr>
          <p:cNvPr id="169" name="TextBox 76">
            <a:extLst>
              <a:ext uri="{FF2B5EF4-FFF2-40B4-BE49-F238E27FC236}">
                <a16:creationId xmlns:a16="http://schemas.microsoft.com/office/drawing/2014/main" id="{330C7DC5-682C-4400-B599-2A18477213A7}"/>
              </a:ext>
            </a:extLst>
          </p:cNvPr>
          <p:cNvSpPr txBox="1"/>
          <p:nvPr/>
        </p:nvSpPr>
        <p:spPr>
          <a:xfrm>
            <a:off x="11972409" y="6553240"/>
            <a:ext cx="1243195" cy="507831"/>
          </a:xfrm>
          <a:prstGeom prst="rect">
            <a:avLst/>
          </a:prstGeom>
          <a:ln w="12700">
            <a:miter lim="400000"/>
          </a:ln>
          <a:extLst>
            <a:ext uri="{C572A759-6A51-4108-AA02-DFA0A04FC94B}">
              <ma14:wrappingTextBoxFlag xmlns:ma14="http://schemas.microsoft.com/office/mac/drawingml/2011/main" xmlns="" val="1"/>
            </a:ext>
          </a:extLst>
        </p:spPr>
        <p:txBody>
          <a:bodyPr wrap="square" lIns="0" tIns="0" rIns="0" bIns="0">
            <a:spAutoFit/>
          </a:bodyPr>
          <a:lstStyle>
            <a:lvl1pPr>
              <a:lnSpc>
                <a:spcPts val="1300"/>
              </a:lnSpc>
              <a:spcBef>
                <a:spcPts val="1200"/>
              </a:spcBef>
              <a:defRPr sz="1000">
                <a:solidFill>
                  <a:srgbClr val="333333"/>
                </a:solidFill>
                <a:latin typeface="EYInterstate Light"/>
                <a:ea typeface="EYInterstate Light"/>
                <a:cs typeface="EYInterstate Light"/>
                <a:sym typeface="EYInterstate Light"/>
              </a:defRPr>
            </a:lvl1pPr>
          </a:lstStyle>
          <a:p>
            <a:pPr marL="0" marR="0" lvl="0" indent="0" algn="l" defTabSz="914400" rtl="0" eaLnBrk="1" fontAlgn="base" latinLnBrk="0" hangingPunct="1">
              <a:lnSpc>
                <a:spcPct val="100000"/>
              </a:lnSpc>
              <a:spcBef>
                <a:spcPts val="1200"/>
              </a:spcBef>
              <a:spcAft>
                <a:spcPct val="50000"/>
              </a:spcAft>
              <a:buClr>
                <a:srgbClr val="FFE600"/>
              </a:buClr>
              <a:buSzPct val="80000"/>
              <a:buFont typeface="Arial" charset="0"/>
              <a:buNone/>
              <a:tabLst/>
              <a:defRPr/>
            </a:pPr>
            <a:r>
              <a:rPr kumimoji="0" lang="en-US" sz="1100" b="0" i="0" u="none" strike="noStrike" kern="1200" cap="none" spc="0" normalizeH="0" baseline="0" noProof="0" dirty="0">
                <a:ln>
                  <a:noFill/>
                </a:ln>
                <a:solidFill>
                  <a:srgbClr val="333333"/>
                </a:solidFill>
                <a:effectLst/>
                <a:uLnTx/>
                <a:uFillTx/>
                <a:latin typeface="EYInterstate Light" panose="02000506000000020004" pitchFamily="2" charset="0"/>
                <a:sym typeface="EYInterstate Light"/>
              </a:rPr>
              <a:t>We are abreast of latest innovations in the market</a:t>
            </a:r>
          </a:p>
        </p:txBody>
      </p:sp>
      <p:pic>
        <p:nvPicPr>
          <p:cNvPr id="171" name="Graphic 170" descr="Lightbulb and gear">
            <a:extLst>
              <a:ext uri="{FF2B5EF4-FFF2-40B4-BE49-F238E27FC236}">
                <a16:creationId xmlns:a16="http://schemas.microsoft.com/office/drawing/2014/main" id="{7CEF0C50-AA3F-42CC-9656-A36981660084}"/>
              </a:ext>
            </a:extLst>
          </p:cNvPr>
          <p:cNvPicPr>
            <a:picLocks noChangeAspect="1"/>
          </p:cNvPicPr>
          <p:nvPr/>
        </p:nvPicPr>
        <p:blipFill>
          <a:blip r:embed="rId24">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11253299" y="6467158"/>
            <a:ext cx="640080" cy="640080"/>
          </a:xfrm>
          <a:prstGeom prst="rect">
            <a:avLst/>
          </a:prstGeom>
        </p:spPr>
      </p:pic>
      <p:pic>
        <p:nvPicPr>
          <p:cNvPr id="49" name="Picture 48">
            <a:extLst>
              <a:ext uri="{FF2B5EF4-FFF2-40B4-BE49-F238E27FC236}">
                <a16:creationId xmlns:a16="http://schemas.microsoft.com/office/drawing/2014/main" id="{0438DED7-1A00-4D4E-BCA3-E3F801D809A5}"/>
              </a:ext>
            </a:extLst>
          </p:cNvPr>
          <p:cNvPicPr>
            <a:picLocks noChangeAspect="1"/>
          </p:cNvPicPr>
          <p:nvPr/>
        </p:nvPicPr>
        <p:blipFill rotWithShape="1">
          <a:blip r:embed="rId26" cstate="print">
            <a:extLst>
              <a:ext uri="{28A0092B-C50C-407E-A947-70E740481C1C}">
                <a14:useLocalDpi xmlns:a14="http://schemas.microsoft.com/office/drawing/2010/main" val="0"/>
              </a:ext>
            </a:extLst>
          </a:blip>
          <a:srcRect b="3822"/>
          <a:stretch/>
        </p:blipFill>
        <p:spPr>
          <a:xfrm>
            <a:off x="3827721" y="2353657"/>
            <a:ext cx="1948296" cy="1005840"/>
          </a:xfrm>
          <a:prstGeom prst="rect">
            <a:avLst/>
          </a:prstGeom>
        </p:spPr>
      </p:pic>
    </p:spTree>
    <p:extLst>
      <p:ext uri="{BB962C8B-B14F-4D97-AF65-F5344CB8AC3E}">
        <p14:creationId xmlns:p14="http://schemas.microsoft.com/office/powerpoint/2010/main" val="255148078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205">
            <a:extLst>
              <a:ext uri="{FF2B5EF4-FFF2-40B4-BE49-F238E27FC236}">
                <a16:creationId xmlns:a16="http://schemas.microsoft.com/office/drawing/2014/main" id="{B64E09D0-FBCC-42EA-A59C-D646E36612E7}"/>
              </a:ext>
            </a:extLst>
          </p:cNvPr>
          <p:cNvPicPr>
            <a:picLocks noChangeArrowheads="1"/>
          </p:cNvPicPr>
          <p:nvPr/>
        </p:nvPicPr>
        <p:blipFill>
          <a:blip r:embed="rId2">
            <a:duotone>
              <a:prstClr val="black"/>
              <a:schemeClr val="accent1">
                <a:tint val="45000"/>
                <a:satMod val="400000"/>
              </a:schemeClr>
            </a:duotone>
            <a:extLst>
              <a:ext uri="{28A0092B-C50C-407E-A947-70E740481C1C}">
                <a14:useLocalDpi xmlns:a14="http://schemas.microsoft.com/office/drawing/2010/main" val="0"/>
              </a:ext>
            </a:extLst>
          </a:blip>
          <a:srcRect/>
          <a:stretch>
            <a:fillRect/>
          </a:stretch>
        </p:blipFill>
        <p:spPr>
          <a:xfrm>
            <a:off x="3788664" y="3610589"/>
            <a:ext cx="799092" cy="135297"/>
          </a:xfrm>
          <a:prstGeom prst="rect">
            <a:avLst/>
          </a:prstGeom>
          <a:noFill/>
        </p:spPr>
      </p:pic>
      <p:pic>
        <p:nvPicPr>
          <p:cNvPr id="19" name="Picture 207">
            <a:extLst>
              <a:ext uri="{FF2B5EF4-FFF2-40B4-BE49-F238E27FC236}">
                <a16:creationId xmlns:a16="http://schemas.microsoft.com/office/drawing/2014/main" id="{9022D209-B02F-4D0A-9DE5-AB576E00AB98}"/>
              </a:ext>
            </a:extLst>
          </p:cNvPr>
          <p:cNvPicPr>
            <a:picLocks noChangeArrowheads="1"/>
          </p:cNvPicPr>
          <p:nvPr/>
        </p:nvPicPr>
        <p:blipFill>
          <a:blip r:embed="rId3">
            <a:duotone>
              <a:prstClr val="black"/>
              <a:schemeClr val="accent1">
                <a:tint val="45000"/>
                <a:satMod val="400000"/>
              </a:schemeClr>
            </a:duotone>
            <a:extLst>
              <a:ext uri="{28A0092B-C50C-407E-A947-70E740481C1C}">
                <a14:useLocalDpi xmlns:a14="http://schemas.microsoft.com/office/drawing/2010/main" val="0"/>
              </a:ext>
            </a:extLst>
          </a:blip>
          <a:srcRect/>
          <a:stretch>
            <a:fillRect/>
          </a:stretch>
        </p:blipFill>
        <p:spPr>
          <a:xfrm>
            <a:off x="8312417" y="2834408"/>
            <a:ext cx="849471" cy="135297"/>
          </a:xfrm>
          <a:prstGeom prst="rect">
            <a:avLst/>
          </a:prstGeom>
          <a:noFill/>
        </p:spPr>
      </p:pic>
      <p:pic>
        <p:nvPicPr>
          <p:cNvPr id="21" name="Picture 209">
            <a:extLst>
              <a:ext uri="{FF2B5EF4-FFF2-40B4-BE49-F238E27FC236}">
                <a16:creationId xmlns:a16="http://schemas.microsoft.com/office/drawing/2014/main" id="{1689466D-3B5E-4017-9906-C13770912E86}"/>
              </a:ext>
            </a:extLst>
          </p:cNvPr>
          <p:cNvPicPr>
            <a:picLocks noChangeArrowheads="1"/>
          </p:cNvPicPr>
          <p:nvPr/>
        </p:nvPicPr>
        <p:blipFill>
          <a:blip r:embed="rId4">
            <a:duotone>
              <a:prstClr val="black"/>
              <a:schemeClr val="accent1">
                <a:tint val="45000"/>
                <a:satMod val="400000"/>
              </a:schemeClr>
            </a:duotone>
            <a:extLst>
              <a:ext uri="{28A0092B-C50C-407E-A947-70E740481C1C}">
                <a14:useLocalDpi xmlns:a14="http://schemas.microsoft.com/office/drawing/2010/main" val="0"/>
              </a:ext>
            </a:extLst>
          </a:blip>
          <a:srcRect/>
          <a:stretch>
            <a:fillRect/>
          </a:stretch>
        </p:blipFill>
        <p:spPr>
          <a:xfrm rot="16200000">
            <a:off x="8103127" y="5114114"/>
            <a:ext cx="139946" cy="1233230"/>
          </a:xfrm>
          <a:prstGeom prst="rect">
            <a:avLst/>
          </a:prstGeom>
          <a:noFill/>
        </p:spPr>
      </p:pic>
      <p:sp>
        <p:nvSpPr>
          <p:cNvPr id="3" name="Freeform 108">
            <a:extLst>
              <a:ext uri="{FF2B5EF4-FFF2-40B4-BE49-F238E27FC236}">
                <a16:creationId xmlns:a16="http://schemas.microsoft.com/office/drawing/2014/main" id="{23E72B4A-91A7-4226-AA65-85E3C6D46B80}"/>
              </a:ext>
            </a:extLst>
          </p:cNvPr>
          <p:cNvSpPr/>
          <p:nvPr/>
        </p:nvSpPr>
        <p:spPr>
          <a:xfrm>
            <a:off x="6496816" y="1801167"/>
            <a:ext cx="2537922" cy="3218709"/>
          </a:xfrm>
          <a:custGeom>
            <a:avLst/>
            <a:gdLst/>
            <a:ahLst/>
            <a:cxnLst/>
            <a:rect l="0" t="0" r="0" b="0"/>
            <a:pathLst>
              <a:path w="1842517" h="2417064">
                <a:moveTo>
                  <a:pt x="0" y="1611503"/>
                </a:moveTo>
                <a:lnTo>
                  <a:pt x="1397128" y="2417064"/>
                </a:lnTo>
                <a:cubicBezTo>
                  <a:pt x="1842517" y="1646301"/>
                  <a:pt x="1578103" y="660780"/>
                  <a:pt x="806578" y="215900"/>
                </a:cubicBezTo>
                <a:cubicBezTo>
                  <a:pt x="561214" y="74422"/>
                  <a:pt x="283210" y="0"/>
                  <a:pt x="0" y="0"/>
                </a:cubicBezTo>
                <a:lnTo>
                  <a:pt x="0" y="1611503"/>
                </a:lnTo>
                <a:close/>
              </a:path>
            </a:pathLst>
          </a:custGeom>
          <a:solidFill>
            <a:srgbClr val="91278F"/>
          </a:solidFill>
          <a:ln w="19050" cap="flat" cmpd="sng" algn="ctr">
            <a:solidFill>
              <a:schemeClr val="tx2"/>
            </a:solidFill>
            <a:prstDash val="solid"/>
          </a:ln>
          <a:effectLst/>
        </p:spPr>
      </p:sp>
      <p:sp>
        <p:nvSpPr>
          <p:cNvPr id="4" name="Freeform 109">
            <a:extLst>
              <a:ext uri="{FF2B5EF4-FFF2-40B4-BE49-F238E27FC236}">
                <a16:creationId xmlns:a16="http://schemas.microsoft.com/office/drawing/2014/main" id="{205D2CEB-7F51-46B3-95E4-6E07CA2B7859}"/>
              </a:ext>
            </a:extLst>
          </p:cNvPr>
          <p:cNvSpPr/>
          <p:nvPr/>
        </p:nvSpPr>
        <p:spPr>
          <a:xfrm>
            <a:off x="4550595" y="4031359"/>
            <a:ext cx="3849914" cy="2449547"/>
          </a:xfrm>
          <a:custGeom>
            <a:avLst/>
            <a:gdLst/>
            <a:ahLst/>
            <a:cxnLst/>
            <a:rect l="0" t="0" r="0" b="0"/>
            <a:pathLst>
              <a:path w="2795016" h="1839468">
                <a:moveTo>
                  <a:pt x="1397507" y="0"/>
                </a:moveTo>
                <a:lnTo>
                  <a:pt x="0" y="805307"/>
                </a:lnTo>
                <a:cubicBezTo>
                  <a:pt x="445643" y="1575690"/>
                  <a:pt x="1432560" y="1839468"/>
                  <a:pt x="2204338" y="1394842"/>
                </a:cubicBezTo>
                <a:cubicBezTo>
                  <a:pt x="2449703" y="1253491"/>
                  <a:pt x="2653411" y="1050036"/>
                  <a:pt x="2795016" y="805307"/>
                </a:cubicBezTo>
                <a:lnTo>
                  <a:pt x="1397507" y="0"/>
                </a:lnTo>
                <a:close/>
              </a:path>
            </a:pathLst>
          </a:custGeom>
          <a:solidFill>
            <a:srgbClr val="00B050"/>
          </a:solidFill>
          <a:ln w="19050" cap="flat" cmpd="sng" algn="ctr">
            <a:solidFill>
              <a:schemeClr val="tx2"/>
            </a:solidFill>
            <a:prstDash val="solid"/>
          </a:ln>
          <a:effectLst/>
        </p:spPr>
      </p:sp>
      <p:sp>
        <p:nvSpPr>
          <p:cNvPr id="5" name="Freeform 110">
            <a:extLst>
              <a:ext uri="{FF2B5EF4-FFF2-40B4-BE49-F238E27FC236}">
                <a16:creationId xmlns:a16="http://schemas.microsoft.com/office/drawing/2014/main" id="{3EF1341B-E2D5-444D-BBCF-4D5ED63B0884}"/>
              </a:ext>
            </a:extLst>
          </p:cNvPr>
          <p:cNvSpPr/>
          <p:nvPr/>
        </p:nvSpPr>
        <p:spPr>
          <a:xfrm>
            <a:off x="4188711" y="1811800"/>
            <a:ext cx="2223042" cy="3218709"/>
          </a:xfrm>
          <a:custGeom>
            <a:avLst/>
            <a:gdLst/>
            <a:ahLst/>
            <a:cxnLst/>
            <a:rect l="0" t="0" r="0" b="0"/>
            <a:pathLst>
              <a:path w="1613916" h="2417064">
                <a:moveTo>
                  <a:pt x="1613916" y="1611376"/>
                </a:moveTo>
                <a:lnTo>
                  <a:pt x="1613916" y="0"/>
                </a:lnTo>
                <a:cubicBezTo>
                  <a:pt x="722631" y="0"/>
                  <a:pt x="0" y="721487"/>
                  <a:pt x="0" y="1611376"/>
                </a:cubicBezTo>
                <a:cubicBezTo>
                  <a:pt x="0" y="1894078"/>
                  <a:pt x="74550" y="2172080"/>
                  <a:pt x="216155" y="2417064"/>
                </a:cubicBezTo>
                <a:lnTo>
                  <a:pt x="1613916" y="1611376"/>
                </a:lnTo>
                <a:close/>
              </a:path>
            </a:pathLst>
          </a:custGeom>
          <a:solidFill>
            <a:schemeClr val="accent5"/>
          </a:solidFill>
          <a:ln w="19050" cap="flat" cmpd="sng" algn="ctr">
            <a:solidFill>
              <a:schemeClr val="tx2"/>
            </a:solidFill>
            <a:prstDash val="solid"/>
          </a:ln>
          <a:effectLst/>
        </p:spPr>
      </p:sp>
      <p:sp>
        <p:nvSpPr>
          <p:cNvPr id="26" name="Textfeld 23">
            <a:extLst>
              <a:ext uri="{FF2B5EF4-FFF2-40B4-BE49-F238E27FC236}">
                <a16:creationId xmlns:a16="http://schemas.microsoft.com/office/drawing/2014/main" id="{FC34B961-3F54-41B7-9270-C465C73E021B}"/>
              </a:ext>
            </a:extLst>
          </p:cNvPr>
          <p:cNvSpPr txBox="1"/>
          <p:nvPr/>
        </p:nvSpPr>
        <p:spPr bwMode="gray">
          <a:xfrm>
            <a:off x="5103749" y="4321082"/>
            <a:ext cx="2743558" cy="1301201"/>
          </a:xfrm>
          <a:prstGeom prst="rect">
            <a:avLst/>
          </a:prstGeom>
          <a:noFill/>
          <a:effectLst/>
        </p:spPr>
        <p:txBody>
          <a:bodyPr wrap="none" rtlCol="0">
            <a:prstTxWarp prst="textArchDown">
              <a:avLst>
                <a:gd name="adj" fmla="val 59880"/>
              </a:avLst>
            </a:prstTxWarp>
            <a:spAutoFit/>
          </a:bodyPr>
          <a:lstStyle/>
          <a:p>
            <a:pPr algn="ctr" fontAlgn="auto">
              <a:spcBef>
                <a:spcPts val="0"/>
              </a:spcBef>
              <a:spcAft>
                <a:spcPts val="0"/>
              </a:spcAft>
              <a:buClrTx/>
              <a:buSzTx/>
              <a:buFontTx/>
              <a:buNone/>
            </a:pPr>
            <a:r>
              <a:rPr lang="en-US" sz="2000" b="1" noProof="1">
                <a:solidFill>
                  <a:schemeClr val="tx2"/>
                </a:solidFill>
                <a:latin typeface="EYInterstate"/>
                <a:cs typeface="Arial" pitchFamily="34" charset="0"/>
              </a:rPr>
              <a:t>Improving customer journeys </a:t>
            </a:r>
          </a:p>
          <a:p>
            <a:pPr algn="ctr" fontAlgn="auto">
              <a:spcBef>
                <a:spcPts val="0"/>
              </a:spcBef>
              <a:spcAft>
                <a:spcPts val="0"/>
              </a:spcAft>
              <a:buClrTx/>
              <a:buSzTx/>
              <a:buFontTx/>
              <a:buNone/>
            </a:pPr>
            <a:r>
              <a:rPr lang="en-US" sz="2000" b="1" noProof="1">
                <a:solidFill>
                  <a:schemeClr val="tx2"/>
                </a:solidFill>
                <a:latin typeface="EYInterstate"/>
                <a:cs typeface="Arial" pitchFamily="34" charset="0"/>
              </a:rPr>
              <a:t>through technology transformation</a:t>
            </a:r>
          </a:p>
        </p:txBody>
      </p:sp>
      <p:sp>
        <p:nvSpPr>
          <p:cNvPr id="27" name="Textfeld 21">
            <a:extLst>
              <a:ext uri="{FF2B5EF4-FFF2-40B4-BE49-F238E27FC236}">
                <a16:creationId xmlns:a16="http://schemas.microsoft.com/office/drawing/2014/main" id="{89AAEABC-A444-4820-8169-8EEB9246AF76}"/>
              </a:ext>
            </a:extLst>
          </p:cNvPr>
          <p:cNvSpPr txBox="1"/>
          <p:nvPr/>
        </p:nvSpPr>
        <p:spPr bwMode="gray">
          <a:xfrm rot="17789928">
            <a:off x="4368955" y="2967188"/>
            <a:ext cx="2376615" cy="1159850"/>
          </a:xfrm>
          <a:prstGeom prst="rect">
            <a:avLst/>
          </a:prstGeom>
          <a:noFill/>
          <a:effectLst/>
        </p:spPr>
        <p:txBody>
          <a:bodyPr wrap="none" rtlCol="0">
            <a:prstTxWarp prst="textArchUp">
              <a:avLst/>
            </a:prstTxWarp>
            <a:spAutoFit/>
          </a:bodyPr>
          <a:lstStyle/>
          <a:p>
            <a:pPr algn="ctr" fontAlgn="auto">
              <a:spcBef>
                <a:spcPts val="0"/>
              </a:spcBef>
              <a:spcAft>
                <a:spcPts val="0"/>
              </a:spcAft>
              <a:buClrTx/>
              <a:buSzTx/>
              <a:buFontTx/>
              <a:buNone/>
            </a:pPr>
            <a:r>
              <a:rPr lang="en-US" sz="1400" b="1" noProof="1">
                <a:solidFill>
                  <a:schemeClr val="tx2"/>
                </a:solidFill>
                <a:latin typeface="EYInterstate"/>
              </a:rPr>
              <a:t>Big Data Platform</a:t>
            </a:r>
          </a:p>
          <a:p>
            <a:pPr algn="ctr" fontAlgn="auto">
              <a:spcBef>
                <a:spcPts val="0"/>
              </a:spcBef>
              <a:spcAft>
                <a:spcPts val="0"/>
              </a:spcAft>
              <a:buClrTx/>
              <a:buSzTx/>
              <a:buFontTx/>
              <a:buNone/>
            </a:pPr>
            <a:r>
              <a:rPr lang="en-US" sz="1400" b="1" noProof="1">
                <a:solidFill>
                  <a:schemeClr val="tx2"/>
                </a:solidFill>
                <a:latin typeface="EYInterstate"/>
              </a:rPr>
              <a:t>Ingestion </a:t>
            </a:r>
          </a:p>
        </p:txBody>
      </p:sp>
      <p:sp>
        <p:nvSpPr>
          <p:cNvPr id="28" name="Textfeld 21">
            <a:extLst>
              <a:ext uri="{FF2B5EF4-FFF2-40B4-BE49-F238E27FC236}">
                <a16:creationId xmlns:a16="http://schemas.microsoft.com/office/drawing/2014/main" id="{132D7702-B87B-4277-92E1-1232D79141EB}"/>
              </a:ext>
            </a:extLst>
          </p:cNvPr>
          <p:cNvSpPr txBox="1"/>
          <p:nvPr/>
        </p:nvSpPr>
        <p:spPr bwMode="gray">
          <a:xfrm rot="3946005">
            <a:off x="6173690" y="2955964"/>
            <a:ext cx="2376615" cy="1159850"/>
          </a:xfrm>
          <a:prstGeom prst="rect">
            <a:avLst/>
          </a:prstGeom>
          <a:noFill/>
          <a:effectLst/>
        </p:spPr>
        <p:txBody>
          <a:bodyPr wrap="none" rtlCol="0">
            <a:prstTxWarp prst="textArchUp">
              <a:avLst/>
            </a:prstTxWarp>
            <a:spAutoFit/>
          </a:bodyPr>
          <a:lstStyle/>
          <a:p>
            <a:pPr algn="ctr" fontAlgn="auto">
              <a:spcBef>
                <a:spcPts val="0"/>
              </a:spcBef>
              <a:spcAft>
                <a:spcPts val="0"/>
              </a:spcAft>
              <a:buClrTx/>
              <a:buSzTx/>
              <a:buFontTx/>
              <a:buNone/>
            </a:pPr>
            <a:r>
              <a:rPr lang="en-US" sz="1400" b="1" noProof="1">
                <a:solidFill>
                  <a:schemeClr val="tx2"/>
                </a:solidFill>
                <a:latin typeface="EYInterstate"/>
              </a:rPr>
              <a:t>IFRS 17 Project Risk </a:t>
            </a:r>
          </a:p>
          <a:p>
            <a:pPr algn="ctr" fontAlgn="auto">
              <a:spcBef>
                <a:spcPts val="0"/>
              </a:spcBef>
              <a:spcAft>
                <a:spcPts val="0"/>
              </a:spcAft>
              <a:buClrTx/>
              <a:buSzTx/>
              <a:buFontTx/>
              <a:buNone/>
            </a:pPr>
            <a:r>
              <a:rPr lang="en-US" sz="1400" b="1" noProof="1">
                <a:solidFill>
                  <a:schemeClr val="tx2"/>
                </a:solidFill>
                <a:latin typeface="EYInterstate"/>
              </a:rPr>
              <a:t>Assessment</a:t>
            </a:r>
          </a:p>
        </p:txBody>
      </p:sp>
      <p:sp>
        <p:nvSpPr>
          <p:cNvPr id="6" name="Freeform 111">
            <a:extLst>
              <a:ext uri="{FF2B5EF4-FFF2-40B4-BE49-F238E27FC236}">
                <a16:creationId xmlns:a16="http://schemas.microsoft.com/office/drawing/2014/main" id="{A1B21933-B4EB-41BA-8B42-B3A38620422F}"/>
              </a:ext>
            </a:extLst>
          </p:cNvPr>
          <p:cNvSpPr/>
          <p:nvPr/>
        </p:nvSpPr>
        <p:spPr>
          <a:xfrm>
            <a:off x="6445888" y="2625036"/>
            <a:ext cx="1618477" cy="2053806"/>
          </a:xfrm>
          <a:custGeom>
            <a:avLst/>
            <a:gdLst/>
            <a:ahLst/>
            <a:cxnLst/>
            <a:rect l="0" t="0" r="0" b="0"/>
            <a:pathLst>
              <a:path w="1175005" h="1542289">
                <a:moveTo>
                  <a:pt x="0" y="1028193"/>
                </a:moveTo>
                <a:lnTo>
                  <a:pt x="891032" y="1542289"/>
                </a:lnTo>
                <a:cubicBezTo>
                  <a:pt x="1175005" y="1050545"/>
                  <a:pt x="1006349" y="421640"/>
                  <a:pt x="514350" y="137796"/>
                </a:cubicBezTo>
                <a:cubicBezTo>
                  <a:pt x="357887" y="47498"/>
                  <a:pt x="180594" y="0"/>
                  <a:pt x="0" y="0"/>
                </a:cubicBezTo>
                <a:lnTo>
                  <a:pt x="0" y="1028193"/>
                </a:lnTo>
                <a:close/>
              </a:path>
            </a:pathLst>
          </a:custGeom>
          <a:solidFill>
            <a:schemeClr val="accent2">
              <a:lumMod val="20000"/>
              <a:lumOff val="80000"/>
            </a:schemeClr>
          </a:solidFill>
          <a:ln w="6095" cap="flat" cmpd="sng" algn="ctr">
            <a:noFill/>
            <a:prstDash val="solid"/>
          </a:ln>
          <a:effectLst/>
        </p:spPr>
      </p:sp>
      <p:sp>
        <p:nvSpPr>
          <p:cNvPr id="7" name="Freeform 112">
            <a:extLst>
              <a:ext uri="{FF2B5EF4-FFF2-40B4-BE49-F238E27FC236}">
                <a16:creationId xmlns:a16="http://schemas.microsoft.com/office/drawing/2014/main" id="{F8099E7E-2C46-425E-B725-60CE147E7FA2}"/>
              </a:ext>
            </a:extLst>
          </p:cNvPr>
          <p:cNvSpPr/>
          <p:nvPr/>
        </p:nvSpPr>
        <p:spPr>
          <a:xfrm>
            <a:off x="6445888" y="2625036"/>
            <a:ext cx="1618477" cy="2053806"/>
          </a:xfrm>
          <a:custGeom>
            <a:avLst/>
            <a:gdLst/>
            <a:ahLst/>
            <a:cxnLst/>
            <a:rect l="0" t="0" r="0" b="0"/>
            <a:pathLst>
              <a:path w="1175005" h="1542289">
                <a:moveTo>
                  <a:pt x="0" y="1028193"/>
                </a:moveTo>
                <a:lnTo>
                  <a:pt x="891032" y="1542289"/>
                </a:lnTo>
                <a:cubicBezTo>
                  <a:pt x="1175005" y="1050545"/>
                  <a:pt x="1006349" y="421640"/>
                  <a:pt x="514350" y="137796"/>
                </a:cubicBezTo>
                <a:cubicBezTo>
                  <a:pt x="357887" y="47498"/>
                  <a:pt x="180594" y="0"/>
                  <a:pt x="0" y="0"/>
                </a:cubicBezTo>
                <a:lnTo>
                  <a:pt x="0" y="1028193"/>
                </a:lnTo>
                <a:close/>
              </a:path>
            </a:pathLst>
          </a:custGeom>
          <a:noFill/>
          <a:ln w="12191" cap="flat" cmpd="sng" algn="ctr">
            <a:solidFill>
              <a:srgbClr val="F2F2F2">
                <a:alpha val="100000"/>
              </a:srgbClr>
            </a:solidFill>
            <a:prstDash val="solid"/>
            <a:round/>
          </a:ln>
          <a:effectLst/>
        </p:spPr>
      </p:sp>
      <p:sp>
        <p:nvSpPr>
          <p:cNvPr id="8" name="Freeform 113">
            <a:extLst>
              <a:ext uri="{FF2B5EF4-FFF2-40B4-BE49-F238E27FC236}">
                <a16:creationId xmlns:a16="http://schemas.microsoft.com/office/drawing/2014/main" id="{F8150786-1AF3-4299-94CF-ECE8B222D5C6}"/>
              </a:ext>
            </a:extLst>
          </p:cNvPr>
          <p:cNvSpPr/>
          <p:nvPr/>
        </p:nvSpPr>
        <p:spPr>
          <a:xfrm>
            <a:off x="5215762" y="3976679"/>
            <a:ext cx="2456053" cy="1564708"/>
          </a:xfrm>
          <a:custGeom>
            <a:avLst/>
            <a:gdLst/>
            <a:ahLst/>
            <a:cxnLst/>
            <a:rect l="0" t="0" r="0" b="0"/>
            <a:pathLst>
              <a:path w="1783081" h="1175005">
                <a:moveTo>
                  <a:pt x="891540" y="0"/>
                </a:moveTo>
                <a:lnTo>
                  <a:pt x="0" y="514477"/>
                </a:lnTo>
                <a:cubicBezTo>
                  <a:pt x="284353" y="1006475"/>
                  <a:pt x="913893" y="1175005"/>
                  <a:pt x="1406271" y="891032"/>
                </a:cubicBezTo>
                <a:cubicBezTo>
                  <a:pt x="1562863" y="800608"/>
                  <a:pt x="1692657" y="670688"/>
                  <a:pt x="1783081" y="514477"/>
                </a:cubicBezTo>
                <a:lnTo>
                  <a:pt x="891540" y="0"/>
                </a:lnTo>
                <a:close/>
              </a:path>
            </a:pathLst>
          </a:custGeom>
          <a:solidFill>
            <a:schemeClr val="accent2">
              <a:lumMod val="20000"/>
              <a:lumOff val="80000"/>
            </a:schemeClr>
          </a:solidFill>
          <a:ln w="12191" cap="flat" cmpd="sng" algn="ctr">
            <a:noFill/>
            <a:prstDash val="solid"/>
          </a:ln>
          <a:effectLst/>
        </p:spPr>
      </p:sp>
      <p:sp>
        <p:nvSpPr>
          <p:cNvPr id="9" name="Freeform 114">
            <a:extLst>
              <a:ext uri="{FF2B5EF4-FFF2-40B4-BE49-F238E27FC236}">
                <a16:creationId xmlns:a16="http://schemas.microsoft.com/office/drawing/2014/main" id="{336EF441-BEB5-45D3-91FA-DEEFAE78DE71}"/>
              </a:ext>
            </a:extLst>
          </p:cNvPr>
          <p:cNvSpPr/>
          <p:nvPr/>
        </p:nvSpPr>
        <p:spPr>
          <a:xfrm>
            <a:off x="5215763" y="3992886"/>
            <a:ext cx="2456053" cy="1564708"/>
          </a:xfrm>
          <a:custGeom>
            <a:avLst/>
            <a:gdLst/>
            <a:ahLst/>
            <a:cxnLst/>
            <a:rect l="0" t="0" r="0" b="0"/>
            <a:pathLst>
              <a:path w="1783081" h="1175005">
                <a:moveTo>
                  <a:pt x="891540" y="0"/>
                </a:moveTo>
                <a:lnTo>
                  <a:pt x="0" y="514477"/>
                </a:lnTo>
                <a:cubicBezTo>
                  <a:pt x="284353" y="1006475"/>
                  <a:pt x="913893" y="1175005"/>
                  <a:pt x="1406271" y="891032"/>
                </a:cubicBezTo>
                <a:cubicBezTo>
                  <a:pt x="1562863" y="800608"/>
                  <a:pt x="1692657" y="670688"/>
                  <a:pt x="1783081" y="514477"/>
                </a:cubicBezTo>
                <a:lnTo>
                  <a:pt x="891540" y="0"/>
                </a:lnTo>
                <a:close/>
              </a:path>
            </a:pathLst>
          </a:custGeom>
          <a:noFill/>
          <a:ln w="12191" cap="flat" cmpd="sng" algn="ctr">
            <a:solidFill>
              <a:srgbClr val="F2F2F2">
                <a:alpha val="100000"/>
              </a:srgbClr>
            </a:solidFill>
            <a:prstDash val="solid"/>
            <a:round/>
          </a:ln>
          <a:effectLst/>
        </p:spPr>
      </p:sp>
      <p:sp>
        <p:nvSpPr>
          <p:cNvPr id="10" name="Freeform 115">
            <a:extLst>
              <a:ext uri="{FF2B5EF4-FFF2-40B4-BE49-F238E27FC236}">
                <a16:creationId xmlns:a16="http://schemas.microsoft.com/office/drawing/2014/main" id="{4BB5CAE7-69D4-4FAA-8771-F741CCDDA511}"/>
              </a:ext>
            </a:extLst>
          </p:cNvPr>
          <p:cNvSpPr/>
          <p:nvPr/>
        </p:nvSpPr>
        <p:spPr>
          <a:xfrm>
            <a:off x="5026837" y="2625036"/>
            <a:ext cx="1419051" cy="2053806"/>
          </a:xfrm>
          <a:custGeom>
            <a:avLst/>
            <a:gdLst/>
            <a:ahLst/>
            <a:cxnLst/>
            <a:rect l="0" t="0" r="0" b="0"/>
            <a:pathLst>
              <a:path w="1030223" h="1542289">
                <a:moveTo>
                  <a:pt x="1030223" y="1028193"/>
                </a:moveTo>
                <a:lnTo>
                  <a:pt x="1030223" y="0"/>
                </a:lnTo>
                <a:cubicBezTo>
                  <a:pt x="461263" y="0"/>
                  <a:pt x="0" y="460376"/>
                  <a:pt x="0" y="1028193"/>
                </a:cubicBezTo>
                <a:cubicBezTo>
                  <a:pt x="0" y="1208659"/>
                  <a:pt x="47625" y="1385951"/>
                  <a:pt x="137922" y="1542289"/>
                </a:cubicBezTo>
                <a:lnTo>
                  <a:pt x="1030223" y="1028193"/>
                </a:lnTo>
                <a:close/>
              </a:path>
            </a:pathLst>
          </a:custGeom>
          <a:solidFill>
            <a:schemeClr val="accent2">
              <a:lumMod val="20000"/>
              <a:lumOff val="80000"/>
            </a:schemeClr>
          </a:solidFill>
          <a:ln w="12191" cap="flat" cmpd="sng" algn="ctr">
            <a:noFill/>
            <a:prstDash val="solid"/>
          </a:ln>
          <a:effectLst/>
        </p:spPr>
      </p:sp>
      <p:sp>
        <p:nvSpPr>
          <p:cNvPr id="11" name="Freeform 116">
            <a:extLst>
              <a:ext uri="{FF2B5EF4-FFF2-40B4-BE49-F238E27FC236}">
                <a16:creationId xmlns:a16="http://schemas.microsoft.com/office/drawing/2014/main" id="{BF327C09-6F28-41C2-B5CF-BE4BB32CC2D2}"/>
              </a:ext>
            </a:extLst>
          </p:cNvPr>
          <p:cNvSpPr/>
          <p:nvPr/>
        </p:nvSpPr>
        <p:spPr>
          <a:xfrm>
            <a:off x="5026837" y="2625036"/>
            <a:ext cx="1419051" cy="2053806"/>
          </a:xfrm>
          <a:custGeom>
            <a:avLst/>
            <a:gdLst/>
            <a:ahLst/>
            <a:cxnLst/>
            <a:rect l="0" t="0" r="0" b="0"/>
            <a:pathLst>
              <a:path w="1030223" h="1542289">
                <a:moveTo>
                  <a:pt x="1030223" y="1028193"/>
                </a:moveTo>
                <a:lnTo>
                  <a:pt x="1030223" y="0"/>
                </a:lnTo>
                <a:cubicBezTo>
                  <a:pt x="461263" y="0"/>
                  <a:pt x="0" y="460376"/>
                  <a:pt x="0" y="1028193"/>
                </a:cubicBezTo>
                <a:cubicBezTo>
                  <a:pt x="0" y="1208659"/>
                  <a:pt x="47625" y="1385951"/>
                  <a:pt x="137922" y="1542289"/>
                </a:cubicBezTo>
                <a:lnTo>
                  <a:pt x="1030223" y="1028193"/>
                </a:lnTo>
                <a:close/>
              </a:path>
            </a:pathLst>
          </a:custGeom>
          <a:noFill/>
          <a:ln w="12191" cap="flat" cmpd="sng" algn="ctr">
            <a:solidFill>
              <a:srgbClr val="F2F2F2">
                <a:alpha val="100000"/>
              </a:srgbClr>
            </a:solidFill>
            <a:prstDash val="solid"/>
            <a:round/>
          </a:ln>
          <a:effectLst/>
        </p:spPr>
      </p:sp>
      <p:sp>
        <p:nvSpPr>
          <p:cNvPr id="12" name="Freeform 117">
            <a:extLst>
              <a:ext uri="{FF2B5EF4-FFF2-40B4-BE49-F238E27FC236}">
                <a16:creationId xmlns:a16="http://schemas.microsoft.com/office/drawing/2014/main" id="{0348B4DC-EB88-49A6-A9AB-624A2DE60001}"/>
              </a:ext>
            </a:extLst>
          </p:cNvPr>
          <p:cNvSpPr/>
          <p:nvPr/>
        </p:nvSpPr>
        <p:spPr>
          <a:xfrm>
            <a:off x="5291162" y="2843644"/>
            <a:ext cx="2295436" cy="2270617"/>
          </a:xfrm>
          <a:custGeom>
            <a:avLst/>
            <a:gdLst/>
            <a:ahLst/>
            <a:cxnLst/>
            <a:rect l="0" t="0" r="0" b="0"/>
            <a:pathLst>
              <a:path w="1691640" h="1691639">
                <a:moveTo>
                  <a:pt x="0" y="845819"/>
                </a:moveTo>
                <a:cubicBezTo>
                  <a:pt x="0" y="378713"/>
                  <a:pt x="378714" y="0"/>
                  <a:pt x="845820" y="0"/>
                </a:cubicBezTo>
                <a:cubicBezTo>
                  <a:pt x="1312926" y="0"/>
                  <a:pt x="1691640" y="378713"/>
                  <a:pt x="1691640" y="845819"/>
                </a:cubicBezTo>
                <a:cubicBezTo>
                  <a:pt x="1691640" y="1312925"/>
                  <a:pt x="1312926" y="1691639"/>
                  <a:pt x="845820" y="1691639"/>
                </a:cubicBezTo>
                <a:cubicBezTo>
                  <a:pt x="378714" y="1691639"/>
                  <a:pt x="0" y="1312925"/>
                  <a:pt x="0" y="845819"/>
                </a:cubicBezTo>
                <a:close/>
              </a:path>
            </a:pathLst>
          </a:custGeom>
          <a:solidFill>
            <a:schemeClr val="bg1">
              <a:lumMod val="75000"/>
            </a:schemeClr>
          </a:solidFill>
          <a:ln w="12191" cap="flat" cmpd="sng" algn="ctr">
            <a:noFill/>
            <a:prstDash val="solid"/>
          </a:ln>
          <a:effectLst/>
        </p:spPr>
      </p:sp>
      <p:sp>
        <p:nvSpPr>
          <p:cNvPr id="13" name="Freeform 118">
            <a:extLst>
              <a:ext uri="{FF2B5EF4-FFF2-40B4-BE49-F238E27FC236}">
                <a16:creationId xmlns:a16="http://schemas.microsoft.com/office/drawing/2014/main" id="{35F06FAD-55C4-44A4-B048-21AB82643CED}"/>
              </a:ext>
            </a:extLst>
          </p:cNvPr>
          <p:cNvSpPr/>
          <p:nvPr/>
        </p:nvSpPr>
        <p:spPr>
          <a:xfrm>
            <a:off x="6311540" y="4975142"/>
            <a:ext cx="316978" cy="158296"/>
          </a:xfrm>
          <a:custGeom>
            <a:avLst/>
            <a:gdLst/>
            <a:ahLst/>
            <a:cxnLst/>
            <a:rect l="0" t="0" r="0" b="0"/>
            <a:pathLst>
              <a:path w="230124" h="118871">
                <a:moveTo>
                  <a:pt x="0" y="118871"/>
                </a:moveTo>
                <a:lnTo>
                  <a:pt x="115062" y="0"/>
                </a:lnTo>
                <a:lnTo>
                  <a:pt x="230124" y="118871"/>
                </a:lnTo>
                <a:close/>
              </a:path>
            </a:pathLst>
          </a:custGeom>
          <a:solidFill>
            <a:schemeClr val="accent2">
              <a:lumMod val="20000"/>
              <a:lumOff val="80000"/>
            </a:schemeClr>
          </a:solidFill>
          <a:ln w="12191" cap="flat" cmpd="sng" algn="ctr">
            <a:noFill/>
            <a:prstDash val="solid"/>
          </a:ln>
          <a:effectLst/>
        </p:spPr>
      </p:sp>
      <p:sp>
        <p:nvSpPr>
          <p:cNvPr id="16" name="Freeform 204">
            <a:extLst>
              <a:ext uri="{FF2B5EF4-FFF2-40B4-BE49-F238E27FC236}">
                <a16:creationId xmlns:a16="http://schemas.microsoft.com/office/drawing/2014/main" id="{1CC27FE8-8E1E-48A9-AD45-6538B93985DD}"/>
              </a:ext>
            </a:extLst>
          </p:cNvPr>
          <p:cNvSpPr/>
          <p:nvPr/>
        </p:nvSpPr>
        <p:spPr>
          <a:xfrm>
            <a:off x="3858637" y="2589015"/>
            <a:ext cx="0" cy="2885283"/>
          </a:xfrm>
          <a:custGeom>
            <a:avLst/>
            <a:gdLst/>
            <a:ahLst/>
            <a:cxnLst/>
            <a:rect l="0" t="0" r="0" b="0"/>
            <a:pathLst>
              <a:path h="1884933">
                <a:moveTo>
                  <a:pt x="0" y="0"/>
                </a:moveTo>
                <a:lnTo>
                  <a:pt x="0" y="1884933"/>
                </a:lnTo>
              </a:path>
            </a:pathLst>
          </a:custGeom>
          <a:noFill/>
          <a:ln w="19050" cap="flat" cmpd="sng" algn="ctr">
            <a:solidFill>
              <a:schemeClr val="tx1">
                <a:lumMod val="50000"/>
                <a:lumOff val="50000"/>
              </a:schemeClr>
            </a:solidFill>
            <a:prstDash val="solid"/>
          </a:ln>
          <a:effectLst/>
        </p:spPr>
      </p:sp>
      <p:sp>
        <p:nvSpPr>
          <p:cNvPr id="18" name="Freeform 206">
            <a:extLst>
              <a:ext uri="{FF2B5EF4-FFF2-40B4-BE49-F238E27FC236}">
                <a16:creationId xmlns:a16="http://schemas.microsoft.com/office/drawing/2014/main" id="{4FD4EA79-7C4C-4E9A-8683-E6ACA3F71283}"/>
              </a:ext>
            </a:extLst>
          </p:cNvPr>
          <p:cNvSpPr/>
          <p:nvPr/>
        </p:nvSpPr>
        <p:spPr>
          <a:xfrm>
            <a:off x="9091916" y="1696564"/>
            <a:ext cx="0" cy="2510091"/>
          </a:xfrm>
          <a:custGeom>
            <a:avLst/>
            <a:gdLst/>
            <a:ahLst/>
            <a:cxnLst/>
            <a:rect l="0" t="0" r="0" b="0"/>
            <a:pathLst>
              <a:path h="1884933">
                <a:moveTo>
                  <a:pt x="0" y="1884933"/>
                </a:moveTo>
                <a:lnTo>
                  <a:pt x="0" y="0"/>
                </a:lnTo>
              </a:path>
            </a:pathLst>
          </a:custGeom>
          <a:noFill/>
          <a:ln w="19050" cap="flat" cmpd="sng" algn="ctr">
            <a:solidFill>
              <a:schemeClr val="tx1">
                <a:lumMod val="50000"/>
                <a:lumOff val="50000"/>
              </a:schemeClr>
            </a:solidFill>
            <a:prstDash val="solid"/>
          </a:ln>
          <a:effectLst/>
        </p:spPr>
      </p:sp>
      <p:sp>
        <p:nvSpPr>
          <p:cNvPr id="22" name="Rectangle 219">
            <a:extLst>
              <a:ext uri="{FF2B5EF4-FFF2-40B4-BE49-F238E27FC236}">
                <a16:creationId xmlns:a16="http://schemas.microsoft.com/office/drawing/2014/main" id="{1164E2E7-23D5-48F1-9847-EE22307B101A}"/>
              </a:ext>
            </a:extLst>
          </p:cNvPr>
          <p:cNvSpPr/>
          <p:nvPr/>
        </p:nvSpPr>
        <p:spPr>
          <a:xfrm>
            <a:off x="5460691" y="3641946"/>
            <a:ext cx="1749966" cy="830997"/>
          </a:xfrm>
          <a:prstGeom prst="rect">
            <a:avLst/>
          </a:prstGeom>
        </p:spPr>
        <p:txBody>
          <a:bodyPr wrap="none" lIns="0" tIns="0" rIns="0" bIns="0">
            <a:spAutoFit/>
          </a:bodyPr>
          <a:lstStyle/>
          <a:p>
            <a:pPr marL="292608" algn="ctr" fontAlgn="auto">
              <a:spcBef>
                <a:spcPts val="0"/>
              </a:spcBef>
              <a:spcAft>
                <a:spcPts val="0"/>
              </a:spcAft>
              <a:buClrTx/>
              <a:buSzTx/>
              <a:buFontTx/>
              <a:buNone/>
            </a:pPr>
            <a:r>
              <a:rPr lang="en-US" sz="1800" b="1" dirty="0">
                <a:solidFill>
                  <a:schemeClr val="tx2"/>
                </a:solidFill>
                <a:latin typeface="EYInterstate-LightBold"/>
              </a:rPr>
              <a:t>EY &amp; GE </a:t>
            </a:r>
          </a:p>
          <a:p>
            <a:pPr marL="292608" algn="ctr" fontAlgn="auto">
              <a:spcBef>
                <a:spcPts val="0"/>
              </a:spcBef>
              <a:spcAft>
                <a:spcPts val="0"/>
              </a:spcAft>
              <a:buClrTx/>
              <a:buSzTx/>
              <a:buFontTx/>
              <a:buNone/>
            </a:pPr>
            <a:r>
              <a:rPr lang="en-US" sz="1800" b="1" dirty="0">
                <a:solidFill>
                  <a:schemeClr val="tx2"/>
                </a:solidFill>
                <a:latin typeface="EYInterstate-LightBold"/>
              </a:rPr>
              <a:t>current </a:t>
            </a:r>
          </a:p>
          <a:p>
            <a:pPr marL="292608" algn="ctr" fontAlgn="auto">
              <a:spcBef>
                <a:spcPts val="0"/>
              </a:spcBef>
              <a:spcAft>
                <a:spcPts val="0"/>
              </a:spcAft>
              <a:buClrTx/>
              <a:buSzTx/>
              <a:buFontTx/>
              <a:buNone/>
            </a:pPr>
            <a:r>
              <a:rPr lang="en-US" sz="1800" b="1" dirty="0">
                <a:solidFill>
                  <a:schemeClr val="tx2"/>
                </a:solidFill>
                <a:latin typeface="EYInterstate-LightBold"/>
              </a:rPr>
              <a:t>engagements</a:t>
            </a:r>
          </a:p>
        </p:txBody>
      </p:sp>
      <p:sp>
        <p:nvSpPr>
          <p:cNvPr id="73" name="Freeform 118">
            <a:extLst>
              <a:ext uri="{FF2B5EF4-FFF2-40B4-BE49-F238E27FC236}">
                <a16:creationId xmlns:a16="http://schemas.microsoft.com/office/drawing/2014/main" id="{E1AA63F6-DC7E-4D15-A3BB-13A187D0B6C8}"/>
              </a:ext>
            </a:extLst>
          </p:cNvPr>
          <p:cNvSpPr/>
          <p:nvPr/>
        </p:nvSpPr>
        <p:spPr>
          <a:xfrm rot="14240426">
            <a:off x="7205970" y="3299388"/>
            <a:ext cx="316978" cy="158296"/>
          </a:xfrm>
          <a:custGeom>
            <a:avLst/>
            <a:gdLst/>
            <a:ahLst/>
            <a:cxnLst/>
            <a:rect l="0" t="0" r="0" b="0"/>
            <a:pathLst>
              <a:path w="230124" h="118871">
                <a:moveTo>
                  <a:pt x="0" y="118871"/>
                </a:moveTo>
                <a:lnTo>
                  <a:pt x="115062" y="0"/>
                </a:lnTo>
                <a:lnTo>
                  <a:pt x="230124" y="118871"/>
                </a:lnTo>
                <a:close/>
              </a:path>
            </a:pathLst>
          </a:custGeom>
          <a:solidFill>
            <a:schemeClr val="accent2">
              <a:lumMod val="20000"/>
              <a:lumOff val="80000"/>
            </a:schemeClr>
          </a:solidFill>
          <a:ln w="12191" cap="flat" cmpd="sng" algn="ctr">
            <a:noFill/>
            <a:prstDash val="solid"/>
          </a:ln>
          <a:effectLst/>
        </p:spPr>
      </p:sp>
      <p:sp>
        <p:nvSpPr>
          <p:cNvPr id="74" name="Freeform 118">
            <a:extLst>
              <a:ext uri="{FF2B5EF4-FFF2-40B4-BE49-F238E27FC236}">
                <a16:creationId xmlns:a16="http://schemas.microsoft.com/office/drawing/2014/main" id="{347BB57E-61C7-4644-BF6B-DD6A7F8BDBC1}"/>
              </a:ext>
            </a:extLst>
          </p:cNvPr>
          <p:cNvSpPr/>
          <p:nvPr/>
        </p:nvSpPr>
        <p:spPr>
          <a:xfrm rot="7377608">
            <a:off x="5352685" y="3372664"/>
            <a:ext cx="316978" cy="158296"/>
          </a:xfrm>
          <a:custGeom>
            <a:avLst/>
            <a:gdLst/>
            <a:ahLst/>
            <a:cxnLst/>
            <a:rect l="0" t="0" r="0" b="0"/>
            <a:pathLst>
              <a:path w="230124" h="118871">
                <a:moveTo>
                  <a:pt x="0" y="118871"/>
                </a:moveTo>
                <a:lnTo>
                  <a:pt x="115062" y="0"/>
                </a:lnTo>
                <a:lnTo>
                  <a:pt x="230124" y="118871"/>
                </a:lnTo>
                <a:close/>
              </a:path>
            </a:pathLst>
          </a:custGeom>
          <a:solidFill>
            <a:schemeClr val="accent2">
              <a:lumMod val="20000"/>
              <a:lumOff val="80000"/>
            </a:schemeClr>
          </a:solidFill>
          <a:ln w="12191" cap="flat" cmpd="sng" algn="ctr">
            <a:noFill/>
            <a:prstDash val="solid"/>
          </a:ln>
          <a:effectLst/>
        </p:spPr>
      </p:sp>
      <p:sp>
        <p:nvSpPr>
          <p:cNvPr id="2" name="Title 1">
            <a:extLst>
              <a:ext uri="{FF2B5EF4-FFF2-40B4-BE49-F238E27FC236}">
                <a16:creationId xmlns:a16="http://schemas.microsoft.com/office/drawing/2014/main" id="{A465C076-F93C-4A0A-8DBE-387F833B198C}"/>
              </a:ext>
            </a:extLst>
          </p:cNvPr>
          <p:cNvSpPr>
            <a:spLocks noGrp="1"/>
          </p:cNvSpPr>
          <p:nvPr>
            <p:ph type="title"/>
          </p:nvPr>
        </p:nvSpPr>
        <p:spPr>
          <a:xfrm>
            <a:off x="943199" y="619033"/>
            <a:ext cx="11773733" cy="741600"/>
          </a:xfrm>
        </p:spPr>
        <p:txBody>
          <a:bodyPr/>
          <a:lstStyle/>
          <a:p>
            <a:r>
              <a:rPr lang="en-US"/>
              <a:t>With our diverse existing engagements with GE, we believe that we are best positioned to deliver accelerated and optimized outcome for the current ask</a:t>
            </a:r>
          </a:p>
        </p:txBody>
      </p:sp>
      <p:sp>
        <p:nvSpPr>
          <p:cNvPr id="20" name="Freeform 208">
            <a:extLst>
              <a:ext uri="{FF2B5EF4-FFF2-40B4-BE49-F238E27FC236}">
                <a16:creationId xmlns:a16="http://schemas.microsoft.com/office/drawing/2014/main" id="{A33CEF5B-08A2-4170-95DD-D9538525F88C}"/>
              </a:ext>
            </a:extLst>
          </p:cNvPr>
          <p:cNvSpPr/>
          <p:nvPr/>
        </p:nvSpPr>
        <p:spPr>
          <a:xfrm rot="16200000">
            <a:off x="7648315" y="6234802"/>
            <a:ext cx="2203986" cy="0"/>
          </a:xfrm>
          <a:custGeom>
            <a:avLst/>
            <a:gdLst/>
            <a:ahLst/>
            <a:cxnLst/>
            <a:rect l="0" t="0" r="0" b="0"/>
            <a:pathLst>
              <a:path w="2834641">
                <a:moveTo>
                  <a:pt x="0" y="0"/>
                </a:moveTo>
                <a:lnTo>
                  <a:pt x="2834641" y="0"/>
                </a:lnTo>
              </a:path>
            </a:pathLst>
          </a:custGeom>
          <a:noFill/>
          <a:ln w="19050" cap="flat" cmpd="sng" algn="ctr">
            <a:solidFill>
              <a:schemeClr val="tx1">
                <a:lumMod val="50000"/>
                <a:lumOff val="50000"/>
              </a:schemeClr>
            </a:solidFill>
            <a:prstDash val="solid"/>
          </a:ln>
          <a:effectLst/>
        </p:spPr>
      </p:sp>
      <p:sp>
        <p:nvSpPr>
          <p:cNvPr id="24" name="Rectangle 222">
            <a:extLst>
              <a:ext uri="{FF2B5EF4-FFF2-40B4-BE49-F238E27FC236}">
                <a16:creationId xmlns:a16="http://schemas.microsoft.com/office/drawing/2014/main" id="{12733CCD-2504-4406-A36F-20723E2C257A}"/>
              </a:ext>
            </a:extLst>
          </p:cNvPr>
          <p:cNvSpPr/>
          <p:nvPr/>
        </p:nvSpPr>
        <p:spPr>
          <a:xfrm>
            <a:off x="9218567" y="1838787"/>
            <a:ext cx="3573796" cy="2185214"/>
          </a:xfrm>
          <a:prstGeom prst="rect">
            <a:avLst/>
          </a:prstGeom>
        </p:spPr>
        <p:txBody>
          <a:bodyPr wrap="square" lIns="0" tIns="0" rIns="0" bIns="0">
            <a:spAutoFit/>
          </a:bodyPr>
          <a:lstStyle/>
          <a:p>
            <a:pPr fontAlgn="auto">
              <a:spcBef>
                <a:spcPts val="0"/>
              </a:spcBef>
              <a:spcAft>
                <a:spcPts val="0"/>
              </a:spcAft>
              <a:buClrTx/>
              <a:buSzTx/>
              <a:buFontTx/>
              <a:buNone/>
            </a:pPr>
            <a:r>
              <a:rPr lang="en-US" sz="1200" b="1" dirty="0">
                <a:solidFill>
                  <a:schemeClr val="tx1">
                    <a:lumMod val="50000"/>
                    <a:lumOff val="50000"/>
                  </a:schemeClr>
                </a:solidFill>
                <a:latin typeface="EYInterstate-Light"/>
              </a:rPr>
              <a:t>Relevant project scope: </a:t>
            </a:r>
          </a:p>
          <a:p>
            <a:pPr fontAlgn="auto">
              <a:spcBef>
                <a:spcPts val="0"/>
              </a:spcBef>
              <a:spcAft>
                <a:spcPts val="0"/>
              </a:spcAft>
              <a:buClrTx/>
              <a:buSzTx/>
              <a:buFontTx/>
              <a:buNone/>
            </a:pPr>
            <a:r>
              <a:rPr lang="en-US" sz="1200" i="1" dirty="0">
                <a:solidFill>
                  <a:schemeClr val="bg1">
                    <a:lumMod val="75000"/>
                  </a:schemeClr>
                </a:solidFill>
              </a:rPr>
              <a:t>The review of Data Quality and transformation approach (i.e. input checks, data cleansing logic, transformation logic) within IFRS 17 Data Mart.</a:t>
            </a:r>
          </a:p>
          <a:p>
            <a:pPr fontAlgn="auto">
              <a:spcBef>
                <a:spcPts val="0"/>
              </a:spcBef>
              <a:spcAft>
                <a:spcPts val="0"/>
              </a:spcAft>
              <a:buClrTx/>
              <a:buSzTx/>
              <a:buFontTx/>
              <a:buNone/>
            </a:pPr>
            <a:endParaRPr lang="en-US" sz="1200" dirty="0">
              <a:solidFill>
                <a:srgbClr val="333333"/>
              </a:solidFill>
              <a:latin typeface="EYInterstate-Light"/>
            </a:endParaRPr>
          </a:p>
          <a:p>
            <a:pPr fontAlgn="auto">
              <a:spcBef>
                <a:spcPts val="0"/>
              </a:spcBef>
              <a:spcAft>
                <a:spcPts val="0"/>
              </a:spcAft>
              <a:buClrTx/>
              <a:buSzTx/>
              <a:buFontTx/>
              <a:buNone/>
            </a:pPr>
            <a:endParaRPr lang="en-US" sz="1200" dirty="0">
              <a:solidFill>
                <a:srgbClr val="333333"/>
              </a:solidFill>
              <a:latin typeface="EYInterstate-Light"/>
            </a:endParaRPr>
          </a:p>
          <a:p>
            <a:pPr fontAlgn="auto">
              <a:spcBef>
                <a:spcPts val="0"/>
              </a:spcBef>
              <a:spcAft>
                <a:spcPts val="0"/>
              </a:spcAft>
              <a:buClrTx/>
              <a:buSzTx/>
              <a:buFontTx/>
              <a:buNone/>
            </a:pPr>
            <a:r>
              <a:rPr lang="en-US" sz="1400" dirty="0">
                <a:solidFill>
                  <a:srgbClr val="333333"/>
                </a:solidFill>
                <a:latin typeface="EYInterstate-Light"/>
              </a:rPr>
              <a:t>This enables EY to perform accelerated data quality assessment (750+ business rules across 4 GELS systems) across policy, product, benefit and transaction (cash-flows) data dimensions.</a:t>
            </a:r>
          </a:p>
        </p:txBody>
      </p:sp>
      <p:sp>
        <p:nvSpPr>
          <p:cNvPr id="72" name="Rectangle 222">
            <a:extLst>
              <a:ext uri="{FF2B5EF4-FFF2-40B4-BE49-F238E27FC236}">
                <a16:creationId xmlns:a16="http://schemas.microsoft.com/office/drawing/2014/main" id="{62C053B6-B3CE-42BE-BA92-FD9CD0E849E6}"/>
              </a:ext>
            </a:extLst>
          </p:cNvPr>
          <p:cNvSpPr/>
          <p:nvPr/>
        </p:nvSpPr>
        <p:spPr>
          <a:xfrm>
            <a:off x="831274" y="2645727"/>
            <a:ext cx="2937393" cy="2800767"/>
          </a:xfrm>
          <a:prstGeom prst="rect">
            <a:avLst/>
          </a:prstGeom>
        </p:spPr>
        <p:txBody>
          <a:bodyPr wrap="square" lIns="0" tIns="0" rIns="0" bIns="0">
            <a:spAutoFit/>
          </a:bodyPr>
          <a:lstStyle/>
          <a:p>
            <a:pPr algn="r" fontAlgn="auto">
              <a:spcBef>
                <a:spcPts val="0"/>
              </a:spcBef>
              <a:spcAft>
                <a:spcPts val="0"/>
              </a:spcAft>
              <a:buClrTx/>
              <a:buSzTx/>
              <a:buFontTx/>
              <a:buNone/>
            </a:pPr>
            <a:r>
              <a:rPr lang="en-US" sz="1200" b="1">
                <a:solidFill>
                  <a:schemeClr val="tx1">
                    <a:lumMod val="50000"/>
                    <a:lumOff val="50000"/>
                  </a:schemeClr>
                </a:solidFill>
                <a:latin typeface="EYInterstate-Light"/>
              </a:rPr>
              <a:t>Relevant project scope: </a:t>
            </a:r>
          </a:p>
          <a:p>
            <a:pPr algn="r" fontAlgn="auto">
              <a:spcBef>
                <a:spcPts val="0"/>
              </a:spcBef>
              <a:spcAft>
                <a:spcPts val="0"/>
              </a:spcAft>
              <a:buClrTx/>
              <a:buSzTx/>
              <a:buFontTx/>
              <a:buNone/>
            </a:pPr>
            <a:r>
              <a:rPr lang="en-US" sz="1200" i="1">
                <a:solidFill>
                  <a:schemeClr val="bg1">
                    <a:lumMod val="75000"/>
                  </a:schemeClr>
                </a:solidFill>
              </a:rPr>
              <a:t>The ingestion and migration of data tables into Big Data Platform from multiple source systems across policy, product, benefit and transaction (cash-flows) data dimensions.</a:t>
            </a:r>
          </a:p>
          <a:p>
            <a:pPr algn="r" fontAlgn="auto">
              <a:spcBef>
                <a:spcPts val="0"/>
              </a:spcBef>
              <a:spcAft>
                <a:spcPts val="0"/>
              </a:spcAft>
              <a:buClrTx/>
              <a:buSzTx/>
              <a:buFontTx/>
              <a:buNone/>
            </a:pPr>
            <a:endParaRPr lang="en-US" sz="1200">
              <a:solidFill>
                <a:srgbClr val="333333"/>
              </a:solidFill>
              <a:latin typeface="EYInterstate-Light"/>
            </a:endParaRPr>
          </a:p>
          <a:p>
            <a:pPr algn="r" fontAlgn="auto">
              <a:spcBef>
                <a:spcPts val="0"/>
              </a:spcBef>
              <a:spcAft>
                <a:spcPts val="0"/>
              </a:spcAft>
              <a:buClrTx/>
              <a:buSzTx/>
              <a:buFontTx/>
              <a:buNone/>
            </a:pPr>
            <a:endParaRPr lang="en-US" sz="1400">
              <a:solidFill>
                <a:srgbClr val="333333"/>
              </a:solidFill>
              <a:latin typeface="EYInterstate-Light"/>
            </a:endParaRPr>
          </a:p>
          <a:p>
            <a:pPr algn="r" fontAlgn="auto">
              <a:spcBef>
                <a:spcPts val="0"/>
              </a:spcBef>
              <a:spcAft>
                <a:spcPts val="0"/>
              </a:spcAft>
              <a:buClrTx/>
              <a:buSzTx/>
              <a:buFontTx/>
              <a:buNone/>
            </a:pPr>
            <a:r>
              <a:rPr lang="en-US" sz="1400">
                <a:solidFill>
                  <a:srgbClr val="333333"/>
                </a:solidFill>
                <a:latin typeface="EYInterstate-Light"/>
              </a:rPr>
              <a:t>This enables EY to perform accelerated data aggregation and sourcing as we understand the taxonomy across 250+ tables across 8 systems and their corresponding lineage.</a:t>
            </a:r>
          </a:p>
        </p:txBody>
      </p:sp>
      <p:sp>
        <p:nvSpPr>
          <p:cNvPr id="75" name="Rectangle 222">
            <a:extLst>
              <a:ext uri="{FF2B5EF4-FFF2-40B4-BE49-F238E27FC236}">
                <a16:creationId xmlns:a16="http://schemas.microsoft.com/office/drawing/2014/main" id="{B05E1498-8592-4CC3-9868-DD27D5A65748}"/>
              </a:ext>
            </a:extLst>
          </p:cNvPr>
          <p:cNvSpPr/>
          <p:nvPr/>
        </p:nvSpPr>
        <p:spPr>
          <a:xfrm>
            <a:off x="8886869" y="5296909"/>
            <a:ext cx="3905493" cy="1938992"/>
          </a:xfrm>
          <a:prstGeom prst="rect">
            <a:avLst/>
          </a:prstGeom>
        </p:spPr>
        <p:txBody>
          <a:bodyPr wrap="square" lIns="0" tIns="0" rIns="0" bIns="0">
            <a:spAutoFit/>
          </a:bodyPr>
          <a:lstStyle/>
          <a:p>
            <a:pPr fontAlgn="auto">
              <a:spcBef>
                <a:spcPts val="0"/>
              </a:spcBef>
              <a:spcAft>
                <a:spcPts val="0"/>
              </a:spcAft>
              <a:buClrTx/>
              <a:buSzTx/>
              <a:buFontTx/>
              <a:buNone/>
            </a:pPr>
            <a:r>
              <a:rPr lang="en-US" sz="1200" b="1" dirty="0">
                <a:solidFill>
                  <a:schemeClr val="tx1">
                    <a:lumMod val="50000"/>
                    <a:lumOff val="50000"/>
                  </a:schemeClr>
                </a:solidFill>
                <a:latin typeface="EYInterstate-Light"/>
              </a:rPr>
              <a:t>Relevant project scope: </a:t>
            </a:r>
          </a:p>
          <a:p>
            <a:pPr fontAlgn="auto">
              <a:spcBef>
                <a:spcPts val="0"/>
              </a:spcBef>
              <a:spcAft>
                <a:spcPts val="0"/>
              </a:spcAft>
              <a:buClrTx/>
              <a:buSzTx/>
              <a:buFontTx/>
              <a:buNone/>
            </a:pPr>
            <a:r>
              <a:rPr lang="en-US" sz="1200" i="1" dirty="0">
                <a:solidFill>
                  <a:schemeClr val="bg1">
                    <a:lumMod val="75000"/>
                  </a:schemeClr>
                </a:solidFill>
              </a:rPr>
              <a:t>To expedite the realization of its future-state customer journeys across affinity partners, digital and online marketing, BANCA partnership by accelerating the identification of technology impacts.</a:t>
            </a:r>
          </a:p>
          <a:p>
            <a:pPr fontAlgn="auto">
              <a:spcBef>
                <a:spcPts val="0"/>
              </a:spcBef>
              <a:spcAft>
                <a:spcPts val="0"/>
              </a:spcAft>
              <a:buClrTx/>
              <a:buSzTx/>
              <a:buFontTx/>
              <a:buNone/>
            </a:pPr>
            <a:endParaRPr lang="en-US" sz="1200" dirty="0">
              <a:solidFill>
                <a:srgbClr val="333333"/>
              </a:solidFill>
              <a:latin typeface="EYInterstate-Light"/>
            </a:endParaRPr>
          </a:p>
          <a:p>
            <a:pPr fontAlgn="auto">
              <a:spcBef>
                <a:spcPts val="0"/>
              </a:spcBef>
              <a:spcAft>
                <a:spcPts val="0"/>
              </a:spcAft>
              <a:buClrTx/>
              <a:buSzTx/>
              <a:buFontTx/>
              <a:buNone/>
            </a:pPr>
            <a:endParaRPr lang="en-US" sz="1200" dirty="0">
              <a:solidFill>
                <a:srgbClr val="333333"/>
              </a:solidFill>
              <a:latin typeface="EYInterstate-Light"/>
            </a:endParaRPr>
          </a:p>
          <a:p>
            <a:pPr fontAlgn="auto">
              <a:spcBef>
                <a:spcPts val="0"/>
              </a:spcBef>
              <a:spcAft>
                <a:spcPts val="0"/>
              </a:spcAft>
              <a:buClrTx/>
              <a:buSzTx/>
              <a:buFontTx/>
              <a:buNone/>
            </a:pPr>
            <a:r>
              <a:rPr lang="en-US" sz="1400" dirty="0">
                <a:solidFill>
                  <a:srgbClr val="333333"/>
                </a:solidFill>
                <a:latin typeface="EYInterstate-Light"/>
              </a:rPr>
              <a:t>This enables EY to build analytics models like Propensity-to-buy that aligns with the future-state customer journeys being designed.</a:t>
            </a:r>
          </a:p>
        </p:txBody>
      </p:sp>
    </p:spTree>
    <p:extLst>
      <p:ext uri="{BB962C8B-B14F-4D97-AF65-F5344CB8AC3E}">
        <p14:creationId xmlns:p14="http://schemas.microsoft.com/office/powerpoint/2010/main" val="136909425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7A9C3EF-EC79-EF41-AEE2-C98A0561165D}"/>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5058" name="think-cell Slide" r:id="rId6" imgW="7772400" imgH="10058400" progId="TCLayout.ActiveDocument.1">
                  <p:embed/>
                </p:oleObj>
              </mc:Choice>
              <mc:Fallback>
                <p:oleObj name="think-cell Slide" r:id="rId6" imgW="7772400" imgH="10058400" progId="TCLayout.ActiveDocument.1">
                  <p:embed/>
                  <p:pic>
                    <p:nvPicPr>
                      <p:cNvPr id="4" name="Object 3" hidden="1">
                        <a:extLst>
                          <a:ext uri="{FF2B5EF4-FFF2-40B4-BE49-F238E27FC236}">
                            <a16:creationId xmlns:a16="http://schemas.microsoft.com/office/drawing/2014/main" id="{A7A9C3EF-EC79-EF41-AEE2-C98A0561165D}"/>
                          </a:ext>
                        </a:extLst>
                      </p:cNvPr>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7389429-FF38-8644-86AD-26B3FFE70C1E}"/>
              </a:ext>
            </a:extLst>
          </p:cNvPr>
          <p:cNvSpPr/>
          <p:nvPr>
            <p:custDataLst>
              <p:tags r:id="rId3"/>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marR="0" lvl="0" indent="0" algn="ctr" defTabSz="914400" rtl="0" eaLnBrk="1" fontAlgn="base" latinLnBrk="0" hangingPunct="1">
              <a:lnSpc>
                <a:spcPct val="100000"/>
              </a:lnSpc>
              <a:spcBef>
                <a:spcPct val="0"/>
              </a:spcBef>
              <a:spcAft>
                <a:spcPct val="50000"/>
              </a:spcAft>
              <a:buClr>
                <a:srgbClr val="FFE600"/>
              </a:buClr>
              <a:buSzPct val="80000"/>
              <a:buFont typeface="Arial" charset="0"/>
              <a:buNone/>
              <a:tabLst/>
              <a:defRPr/>
            </a:pPr>
            <a:endParaRPr kumimoji="0" lang="en-GB" sz="2400" b="1" i="0" u="none" strike="noStrike" kern="1200" cap="none" spc="0" normalizeH="0" baseline="0" noProof="0">
              <a:ln>
                <a:noFill/>
              </a:ln>
              <a:solidFill>
                <a:srgbClr val="646464"/>
              </a:solidFill>
              <a:effectLst/>
              <a:uLnTx/>
              <a:uFillTx/>
              <a:latin typeface="EYInterstate" panose="02000503020000020004" pitchFamily="2" charset="0"/>
              <a:ea typeface="+mn-ea"/>
              <a:cs typeface="+mn-cs"/>
              <a:sym typeface="EYInterstate" panose="02000503020000020004" pitchFamily="2" charset="0"/>
            </a:endParaRPr>
          </a:p>
        </p:txBody>
      </p:sp>
      <p:sp>
        <p:nvSpPr>
          <p:cNvPr id="2" name="Title 1">
            <a:extLst>
              <a:ext uri="{FF2B5EF4-FFF2-40B4-BE49-F238E27FC236}">
                <a16:creationId xmlns:a16="http://schemas.microsoft.com/office/drawing/2014/main" id="{C4C23136-0F1A-2043-A138-823BF069E3FE}"/>
              </a:ext>
            </a:extLst>
          </p:cNvPr>
          <p:cNvSpPr>
            <a:spLocks noGrp="1"/>
          </p:cNvSpPr>
          <p:nvPr>
            <p:ph type="title"/>
          </p:nvPr>
        </p:nvSpPr>
        <p:spPr/>
        <p:txBody>
          <a:bodyPr/>
          <a:lstStyle/>
          <a:p>
            <a:r>
              <a:rPr lang="en-GB">
                <a:solidFill>
                  <a:srgbClr val="FFFFFF"/>
                </a:solidFill>
              </a:rPr>
              <a:t>Table of Contents</a:t>
            </a:r>
            <a:endParaRPr lang="en-GB"/>
          </a:p>
        </p:txBody>
      </p:sp>
      <p:sp>
        <p:nvSpPr>
          <p:cNvPr id="5" name="Rectangle 4">
            <a:extLst>
              <a:ext uri="{FF2B5EF4-FFF2-40B4-BE49-F238E27FC236}">
                <a16:creationId xmlns:a16="http://schemas.microsoft.com/office/drawing/2014/main" id="{1A6C3D31-1A5E-F641-AEFF-8DE3943F771A}"/>
              </a:ext>
            </a:extLst>
          </p:cNvPr>
          <p:cNvSpPr/>
          <p:nvPr/>
        </p:nvSpPr>
        <p:spPr>
          <a:xfrm>
            <a:off x="943904" y="1906135"/>
            <a:ext cx="9791829" cy="4616648"/>
          </a:xfrm>
          <a:prstGeom prst="rect">
            <a:avLst/>
          </a:prstGeom>
        </p:spPr>
        <p:txBody>
          <a:bodyPr wrap="square" lIns="90000" anchor="t" anchorCtr="0">
            <a:spAutoFit/>
          </a:bodyPr>
          <a:lstStyle/>
          <a:p>
            <a:pPr marL="742950" lvl="3" indent="-742950" defTabSz="1042342">
              <a:spcAft>
                <a:spcPts val="1200"/>
              </a:spcAft>
              <a:buClr>
                <a:srgbClr val="FFE600"/>
              </a:buClr>
              <a:buSzPct val="100000"/>
              <a:buFont typeface="+mj-lt"/>
              <a:buAutoNum type="arabicPeriod"/>
              <a:defRPr/>
            </a:pPr>
            <a:r>
              <a:rPr lang="en-US" sz="2800" b="1" kern="0" dirty="0">
                <a:solidFill>
                  <a:srgbClr val="646464"/>
                </a:solidFill>
                <a:latin typeface="EYInterstate" panose="02000503020000020004" pitchFamily="2" charset="0"/>
              </a:rPr>
              <a:t>Our understanding of your needs</a:t>
            </a:r>
          </a:p>
          <a:p>
            <a:pPr marL="742950" lvl="3" indent="-742950" defTabSz="1042342">
              <a:spcAft>
                <a:spcPts val="1200"/>
              </a:spcAft>
              <a:buClr>
                <a:srgbClr val="FFE600"/>
              </a:buClr>
              <a:buSzPct val="100000"/>
              <a:buFont typeface="+mj-lt"/>
              <a:buAutoNum type="arabicPeriod"/>
              <a:defRPr/>
            </a:pPr>
            <a:r>
              <a:rPr lang="en-US" sz="2800" b="1" kern="0" dirty="0">
                <a:solidFill>
                  <a:srgbClr val="646464"/>
                </a:solidFill>
                <a:latin typeface="EYInterstate" panose="02000503020000020004" pitchFamily="2" charset="0"/>
              </a:rPr>
              <a:t>Our capabilities</a:t>
            </a:r>
          </a:p>
          <a:p>
            <a:pPr marL="742950" marR="0" lvl="3" indent="-742950" defTabSz="1042342" eaLnBrk="1" latinLnBrk="0" hangingPunct="1">
              <a:lnSpc>
                <a:spcPct val="100000"/>
              </a:lnSpc>
              <a:spcAft>
                <a:spcPts val="1200"/>
              </a:spcAft>
              <a:buClr>
                <a:srgbClr val="FFE600"/>
              </a:buClr>
              <a:buSzPct val="100000"/>
              <a:buFont typeface="+mj-lt"/>
              <a:buAutoNum type="arabicPeriod"/>
              <a:tabLst/>
              <a:defRPr/>
            </a:pPr>
            <a:r>
              <a:rPr lang="en-US" sz="2800" b="1" kern="0" dirty="0">
                <a:solidFill>
                  <a:srgbClr val="FFE600"/>
                </a:solidFill>
                <a:latin typeface="EYInterstate" panose="02000503020000020004" pitchFamily="2" charset="0"/>
              </a:rPr>
              <a:t>Our approach</a:t>
            </a:r>
          </a:p>
          <a:p>
            <a:pPr marL="742950" lvl="3" indent="-742950" defTabSz="1042342">
              <a:spcAft>
                <a:spcPts val="1200"/>
              </a:spcAft>
              <a:buClr>
                <a:srgbClr val="FFE600"/>
              </a:buClr>
              <a:buSzPct val="100000"/>
              <a:buFont typeface="+mj-lt"/>
              <a:buAutoNum type="arabicPeriod"/>
              <a:defRPr/>
            </a:pPr>
            <a:r>
              <a:rPr lang="en-US" sz="2800" b="1" kern="0" dirty="0">
                <a:solidFill>
                  <a:srgbClr val="646464"/>
                </a:solidFill>
                <a:latin typeface="EYInterstate" panose="02000503020000020004" pitchFamily="2" charset="0"/>
              </a:rPr>
              <a:t>Our delivery</a:t>
            </a:r>
          </a:p>
          <a:p>
            <a:pPr marL="742950" marR="0" lvl="3" indent="-742950" algn="l" defTabSz="1042342" rtl="0" eaLnBrk="1" fontAlgn="base" latinLnBrk="0" hangingPunct="1">
              <a:lnSpc>
                <a:spcPct val="100000"/>
              </a:lnSpc>
              <a:spcBef>
                <a:spcPct val="0"/>
              </a:spcBef>
              <a:spcAft>
                <a:spcPts val="1200"/>
              </a:spcAft>
              <a:buClr>
                <a:srgbClr val="FFE600"/>
              </a:buClr>
              <a:buSzPct val="100000"/>
              <a:buFont typeface="+mj-lt"/>
              <a:buAutoNum type="arabicPeriod"/>
              <a:tabLst/>
              <a:defRPr/>
            </a:pPr>
            <a:r>
              <a:rPr kumimoji="0" lang="en-US" sz="2800" b="1" i="0" u="none" strike="noStrike" kern="0" cap="none" spc="0" normalizeH="0" baseline="0" noProof="0" dirty="0">
                <a:ln>
                  <a:noFill/>
                </a:ln>
                <a:solidFill>
                  <a:srgbClr val="646464"/>
                </a:solidFill>
                <a:effectLst/>
                <a:uLnTx/>
                <a:uFillTx/>
                <a:latin typeface="EYInterstate" panose="02000503020000020004" pitchFamily="2" charset="0"/>
                <a:ea typeface="+mn-ea"/>
                <a:cs typeface="+mn-cs"/>
              </a:rPr>
              <a:t>Team structure</a:t>
            </a:r>
          </a:p>
          <a:p>
            <a:pPr marL="742950" lvl="3" indent="-742950" defTabSz="1042342">
              <a:spcAft>
                <a:spcPts val="1200"/>
              </a:spcAft>
              <a:buClr>
                <a:srgbClr val="FFE600"/>
              </a:buClr>
              <a:buSzPct val="100000"/>
              <a:buFont typeface="+mj-lt"/>
              <a:buAutoNum type="arabicPeriod"/>
              <a:defRPr/>
            </a:pPr>
            <a:r>
              <a:rPr lang="en-US" sz="2800" b="1" kern="0" dirty="0">
                <a:solidFill>
                  <a:srgbClr val="646464"/>
                </a:solidFill>
                <a:latin typeface="EYInterstate" panose="02000503020000020004" pitchFamily="2" charset="0"/>
              </a:rPr>
              <a:t>Our credentials</a:t>
            </a:r>
            <a:endParaRPr kumimoji="0" lang="en-US" sz="2800" b="1" i="0" u="none" strike="noStrike" kern="0" cap="none" spc="0" normalizeH="0" baseline="0" noProof="0" dirty="0">
              <a:ln>
                <a:noFill/>
              </a:ln>
              <a:solidFill>
                <a:srgbClr val="646464"/>
              </a:solidFill>
              <a:effectLst/>
              <a:uLnTx/>
              <a:uFillTx/>
              <a:latin typeface="EYInterstate" panose="02000503020000020004" pitchFamily="2" charset="0"/>
              <a:ea typeface="+mn-ea"/>
              <a:cs typeface="+mn-cs"/>
            </a:endParaRPr>
          </a:p>
          <a:p>
            <a:pPr marL="742950" lvl="3" indent="-742950" defTabSz="1042342">
              <a:spcAft>
                <a:spcPts val="1200"/>
              </a:spcAft>
              <a:buClr>
                <a:srgbClr val="FFE600"/>
              </a:buClr>
              <a:buSzPct val="100000"/>
              <a:buFont typeface="+mj-lt"/>
              <a:buAutoNum type="arabicPeriod"/>
              <a:defRPr/>
            </a:pPr>
            <a:r>
              <a:rPr lang="en-US" sz="2800" b="1" kern="0" dirty="0">
                <a:solidFill>
                  <a:srgbClr val="646464"/>
                </a:solidFill>
                <a:latin typeface="EYInterstate" panose="02000503020000020004" pitchFamily="2" charset="0"/>
              </a:rPr>
              <a:t>Our proposed fees</a:t>
            </a:r>
          </a:p>
          <a:p>
            <a:pPr marL="742950" lvl="3" indent="-742950" defTabSz="1042342">
              <a:spcAft>
                <a:spcPts val="1200"/>
              </a:spcAft>
              <a:buClr>
                <a:srgbClr val="FFE600"/>
              </a:buClr>
              <a:buSzPct val="100000"/>
              <a:buFont typeface="+mj-lt"/>
              <a:buAutoNum type="arabicPeriod"/>
              <a:defRPr/>
            </a:pPr>
            <a:r>
              <a:rPr kumimoji="0" lang="en-US" sz="2800" b="1" i="0" u="none" strike="noStrike" kern="0" cap="none" spc="0" normalizeH="0" baseline="0" noProof="0" dirty="0">
                <a:ln>
                  <a:noFill/>
                </a:ln>
                <a:solidFill>
                  <a:srgbClr val="646464"/>
                </a:solidFill>
                <a:effectLst/>
                <a:uLnTx/>
                <a:uFillTx/>
                <a:latin typeface="EYInterstate" panose="02000503020000020004" pitchFamily="2" charset="0"/>
                <a:ea typeface="+mn-ea"/>
                <a:cs typeface="+mn-cs"/>
              </a:rPr>
              <a:t>Appendix</a:t>
            </a:r>
          </a:p>
        </p:txBody>
      </p:sp>
      <p:grpSp>
        <p:nvGrpSpPr>
          <p:cNvPr id="10" name="Group 9">
            <a:extLst>
              <a:ext uri="{FF2B5EF4-FFF2-40B4-BE49-F238E27FC236}">
                <a16:creationId xmlns:a16="http://schemas.microsoft.com/office/drawing/2014/main" id="{A01F99EE-3BB0-4982-8CDA-0DB47603B60E}"/>
              </a:ext>
            </a:extLst>
          </p:cNvPr>
          <p:cNvGrpSpPr/>
          <p:nvPr/>
        </p:nvGrpSpPr>
        <p:grpSpPr>
          <a:xfrm>
            <a:off x="8678709" y="3127282"/>
            <a:ext cx="684000" cy="232949"/>
            <a:chOff x="9563141" y="2547476"/>
            <a:chExt cx="684000" cy="232949"/>
          </a:xfrm>
        </p:grpSpPr>
        <p:sp>
          <p:nvSpPr>
            <p:cNvPr id="11" name="Arrow: Chevron 3">
              <a:extLst>
                <a:ext uri="{FF2B5EF4-FFF2-40B4-BE49-F238E27FC236}">
                  <a16:creationId xmlns:a16="http://schemas.microsoft.com/office/drawing/2014/main" id="{D2BF9A0E-2389-4940-8496-513FE463B8AC}"/>
                </a:ext>
              </a:extLst>
            </p:cNvPr>
            <p:cNvSpPr/>
            <p:nvPr/>
          </p:nvSpPr>
          <p:spPr>
            <a:xfrm rot="10800000">
              <a:off x="9563141" y="2547476"/>
              <a:ext cx="276149" cy="232949"/>
            </a:xfrm>
            <a:prstGeom prst="chevron">
              <a:avLst/>
            </a:prstGeom>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50000"/>
                </a:spcAft>
                <a:buClr>
                  <a:srgbClr val="FFE600"/>
                </a:buClr>
                <a:buSzPct val="80000"/>
                <a:buFont typeface="Arial" charset="0"/>
                <a:buNone/>
                <a:tabLst/>
                <a:defRPr/>
              </a:pPr>
              <a:endParaRPr kumimoji="0" lang="en-US" sz="1400" b="1" i="0" u="none" strike="noStrike" kern="1200" cap="none" spc="0" normalizeH="0" baseline="0" noProof="0">
                <a:ln w="22225">
                  <a:solidFill>
                    <a:srgbClr val="FFE600"/>
                  </a:solidFill>
                  <a:prstDash val="solid"/>
                </a:ln>
                <a:solidFill>
                  <a:srgbClr val="FFE600">
                    <a:lumMod val="40000"/>
                    <a:lumOff val="60000"/>
                  </a:srgbClr>
                </a:solidFill>
                <a:effectLst/>
                <a:uLnTx/>
                <a:uFillTx/>
                <a:latin typeface="EYInterstate" panose="02000503020000020004" pitchFamily="2" charset="0"/>
                <a:ea typeface="+mn-ea"/>
                <a:cs typeface="+mn-cs"/>
              </a:endParaRPr>
            </a:p>
          </p:txBody>
        </p:sp>
        <p:sp>
          <p:nvSpPr>
            <p:cNvPr id="12" name="Arrow: Chevron 4">
              <a:extLst>
                <a:ext uri="{FF2B5EF4-FFF2-40B4-BE49-F238E27FC236}">
                  <a16:creationId xmlns:a16="http://schemas.microsoft.com/office/drawing/2014/main" id="{7E91B9B4-9770-48CB-9D95-B059104AA987}"/>
                </a:ext>
              </a:extLst>
            </p:cNvPr>
            <p:cNvSpPr/>
            <p:nvPr/>
          </p:nvSpPr>
          <p:spPr>
            <a:xfrm rot="10800000">
              <a:off x="9767067" y="2547476"/>
              <a:ext cx="276149" cy="232949"/>
            </a:xfrm>
            <a:prstGeom prst="chevron">
              <a:avLst/>
            </a:prstGeom>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50000"/>
                </a:spcAft>
                <a:buClr>
                  <a:srgbClr val="FFE600"/>
                </a:buClr>
                <a:buSzPct val="80000"/>
                <a:buFont typeface="Arial" charset="0"/>
                <a:buNone/>
                <a:tabLst/>
                <a:defRPr/>
              </a:pPr>
              <a:endParaRPr kumimoji="0" lang="en-US" sz="1400" b="1" i="0" u="none" strike="noStrike" kern="1200" cap="none" spc="0" normalizeH="0" baseline="0" noProof="0">
                <a:ln w="22225">
                  <a:solidFill>
                    <a:srgbClr val="FFE600"/>
                  </a:solidFill>
                  <a:prstDash val="solid"/>
                </a:ln>
                <a:solidFill>
                  <a:srgbClr val="FFE600">
                    <a:lumMod val="40000"/>
                    <a:lumOff val="60000"/>
                  </a:srgbClr>
                </a:solidFill>
                <a:effectLst/>
                <a:uLnTx/>
                <a:uFillTx/>
                <a:latin typeface="EYInterstate" panose="02000503020000020004" pitchFamily="2" charset="0"/>
                <a:ea typeface="+mn-ea"/>
                <a:cs typeface="+mn-cs"/>
              </a:endParaRPr>
            </a:p>
          </p:txBody>
        </p:sp>
        <p:sp>
          <p:nvSpPr>
            <p:cNvPr id="13" name="Arrow: Chevron 5">
              <a:extLst>
                <a:ext uri="{FF2B5EF4-FFF2-40B4-BE49-F238E27FC236}">
                  <a16:creationId xmlns:a16="http://schemas.microsoft.com/office/drawing/2014/main" id="{D7419B56-EA19-4F40-A31D-9C103AFC8EAC}"/>
                </a:ext>
              </a:extLst>
            </p:cNvPr>
            <p:cNvSpPr/>
            <p:nvPr/>
          </p:nvSpPr>
          <p:spPr>
            <a:xfrm rot="10800000">
              <a:off x="9970992" y="2547476"/>
              <a:ext cx="276149" cy="232949"/>
            </a:xfrm>
            <a:prstGeom prst="chevron">
              <a:avLst/>
            </a:prstGeom>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50000"/>
                </a:spcAft>
                <a:buClr>
                  <a:srgbClr val="FFE600"/>
                </a:buClr>
                <a:buSzPct val="80000"/>
                <a:buFont typeface="Arial" charset="0"/>
                <a:buNone/>
                <a:tabLst/>
                <a:defRPr/>
              </a:pPr>
              <a:endParaRPr kumimoji="0" lang="en-US" sz="1400" b="1" i="0" u="none" strike="noStrike" kern="1200" cap="none" spc="0" normalizeH="0" baseline="0" noProof="0">
                <a:ln w="22225">
                  <a:solidFill>
                    <a:srgbClr val="FFE600"/>
                  </a:solidFill>
                  <a:prstDash val="solid"/>
                </a:ln>
                <a:solidFill>
                  <a:srgbClr val="FFE600">
                    <a:lumMod val="40000"/>
                    <a:lumOff val="60000"/>
                  </a:srgbClr>
                </a:solidFill>
                <a:effectLst/>
                <a:uLnTx/>
                <a:uFillTx/>
                <a:latin typeface="EYInterstate" panose="02000503020000020004" pitchFamily="2" charset="0"/>
                <a:ea typeface="+mn-ea"/>
                <a:cs typeface="+mn-cs"/>
              </a:endParaRPr>
            </a:p>
          </p:txBody>
        </p:sp>
      </p:grpSp>
    </p:spTree>
    <p:extLst>
      <p:ext uri="{BB962C8B-B14F-4D97-AF65-F5344CB8AC3E}">
        <p14:creationId xmlns:p14="http://schemas.microsoft.com/office/powerpoint/2010/main" val="80573850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EB4B8E-E57B-423D-B11A-45BAF39AB13C}"/>
              </a:ext>
            </a:extLst>
          </p:cNvPr>
          <p:cNvSpPr>
            <a:spLocks noGrp="1"/>
          </p:cNvSpPr>
          <p:nvPr>
            <p:ph type="title"/>
          </p:nvPr>
        </p:nvSpPr>
        <p:spPr>
          <a:xfrm>
            <a:off x="943200" y="608399"/>
            <a:ext cx="11700000" cy="911391"/>
          </a:xfrm>
        </p:spPr>
        <p:txBody>
          <a:bodyPr/>
          <a:lstStyle/>
          <a:p>
            <a:r>
              <a:rPr lang="en-US"/>
              <a:t>We will build the Propensity-to-buy models through an iterative approach and ensure that the features selected by the models are diverse and make logical business sense</a:t>
            </a:r>
          </a:p>
        </p:txBody>
      </p:sp>
      <p:sp>
        <p:nvSpPr>
          <p:cNvPr id="6" name="Snip Same Side Corner Rectangle 7">
            <a:extLst>
              <a:ext uri="{FF2B5EF4-FFF2-40B4-BE49-F238E27FC236}">
                <a16:creationId xmlns:a16="http://schemas.microsoft.com/office/drawing/2014/main" id="{46EB43AA-374F-4AD0-8E09-CD93A25586E8}"/>
              </a:ext>
            </a:extLst>
          </p:cNvPr>
          <p:cNvSpPr/>
          <p:nvPr/>
        </p:nvSpPr>
        <p:spPr>
          <a:xfrm>
            <a:off x="10437861" y="2253748"/>
            <a:ext cx="2593512" cy="598717"/>
          </a:xfrm>
          <a:prstGeom prst="snip2SameRect">
            <a:avLst/>
          </a:prstGeom>
          <a:solidFill>
            <a:schemeClr val="accent5"/>
          </a:solidFill>
          <a:ln w="9525" cap="flat" cmpd="sng" algn="ctr">
            <a:noFill/>
            <a:prstDash val="solid"/>
          </a:ln>
          <a:effectLst>
            <a:outerShdw blurRad="50800" dist="38100" dir="18900000" algn="bl" rotWithShape="0">
              <a:prstClr val="black">
                <a:alpha val="40000"/>
              </a:prstClr>
            </a:outerShdw>
          </a:effectLst>
        </p:spPr>
        <p:txBody>
          <a:bodyPr rtlCol="0" anchor="ctr" anchorCtr="0"/>
          <a:lstStyle/>
          <a:p>
            <a:pPr algn="ctr" defTabSz="1007669" fontAlgn="auto">
              <a:spcBef>
                <a:spcPts val="0"/>
              </a:spcBef>
              <a:spcAft>
                <a:spcPts val="0"/>
              </a:spcAft>
              <a:buClrTx/>
              <a:buSzTx/>
              <a:defRPr/>
            </a:pPr>
            <a:r>
              <a:rPr lang="en-US" sz="1322" kern="0" dirty="0">
                <a:solidFill>
                  <a:srgbClr val="FFFFFF"/>
                </a:solidFill>
                <a:latin typeface="+mj-lt"/>
              </a:rPr>
              <a:t>Test &amp; deliver </a:t>
            </a:r>
          </a:p>
        </p:txBody>
      </p:sp>
      <p:sp>
        <p:nvSpPr>
          <p:cNvPr id="7" name="TextBox 6">
            <a:extLst>
              <a:ext uri="{FF2B5EF4-FFF2-40B4-BE49-F238E27FC236}">
                <a16:creationId xmlns:a16="http://schemas.microsoft.com/office/drawing/2014/main" id="{A5A5B994-1FB2-4D85-AC55-9201CD6438E8}"/>
              </a:ext>
            </a:extLst>
          </p:cNvPr>
          <p:cNvSpPr txBox="1"/>
          <p:nvPr/>
        </p:nvSpPr>
        <p:spPr>
          <a:xfrm>
            <a:off x="10488083" y="2430594"/>
            <a:ext cx="652422" cy="339228"/>
          </a:xfrm>
          <a:prstGeom prst="rect">
            <a:avLst/>
          </a:prstGeom>
          <a:noFill/>
        </p:spPr>
        <p:txBody>
          <a:bodyPr wrap="square" lIns="0" tIns="40308" rIns="0" bIns="0" rtlCol="0">
            <a:spAutoFit/>
          </a:bodyPr>
          <a:lstStyle/>
          <a:p>
            <a:pPr defTabSz="1007669" fontAlgn="auto">
              <a:lnSpc>
                <a:spcPct val="85000"/>
              </a:lnSpc>
              <a:spcBef>
                <a:spcPts val="0"/>
              </a:spcBef>
              <a:spcAft>
                <a:spcPts val="661"/>
              </a:spcAft>
              <a:buClr>
                <a:srgbClr val="FFE600"/>
              </a:buClr>
              <a:buSzPct val="70000"/>
              <a:defRPr/>
            </a:pPr>
            <a:r>
              <a:rPr lang="en-US" sz="2204" b="1" kern="0">
                <a:solidFill>
                  <a:schemeClr val="tx2"/>
                </a:solidFill>
                <a:latin typeface="+mj-lt"/>
              </a:rPr>
              <a:t>4</a:t>
            </a:r>
          </a:p>
        </p:txBody>
      </p:sp>
      <p:grpSp>
        <p:nvGrpSpPr>
          <p:cNvPr id="21" name="Group 20">
            <a:extLst>
              <a:ext uri="{FF2B5EF4-FFF2-40B4-BE49-F238E27FC236}">
                <a16:creationId xmlns:a16="http://schemas.microsoft.com/office/drawing/2014/main" id="{B0B96BB2-6AA1-4C9C-977E-8105167D4AED}"/>
              </a:ext>
            </a:extLst>
          </p:cNvPr>
          <p:cNvGrpSpPr/>
          <p:nvPr/>
        </p:nvGrpSpPr>
        <p:grpSpPr>
          <a:xfrm>
            <a:off x="803331" y="2251212"/>
            <a:ext cx="2389325" cy="2722063"/>
            <a:chOff x="524159" y="1836654"/>
            <a:chExt cx="1790704" cy="2382277"/>
          </a:xfrm>
        </p:grpSpPr>
        <p:sp>
          <p:nvSpPr>
            <p:cNvPr id="22" name="Rectangle 21">
              <a:extLst>
                <a:ext uri="{FF2B5EF4-FFF2-40B4-BE49-F238E27FC236}">
                  <a16:creationId xmlns:a16="http://schemas.microsoft.com/office/drawing/2014/main" id="{DBF2748D-8A18-4A9F-9AD8-82313FD90275}"/>
                </a:ext>
              </a:extLst>
            </p:cNvPr>
            <p:cNvSpPr/>
            <p:nvPr/>
          </p:nvSpPr>
          <p:spPr>
            <a:xfrm>
              <a:off x="529195" y="2380226"/>
              <a:ext cx="1785668" cy="1838705"/>
            </a:xfrm>
            <a:prstGeom prst="rect">
              <a:avLst/>
            </a:prstGeom>
            <a:solidFill>
              <a:srgbClr val="F0F0F0"/>
            </a:solidFill>
            <a:ln w="9525" cap="flat" cmpd="sng" algn="ctr">
              <a:noFill/>
              <a:prstDash val="solid"/>
            </a:ln>
            <a:effectLst/>
          </p:spPr>
          <p:txBody>
            <a:bodyPr rtlCol="0" anchor="t" anchorCtr="0"/>
            <a:lstStyle/>
            <a:p>
              <a:pPr algn="ctr" defTabSz="1007669" fontAlgn="auto">
                <a:spcBef>
                  <a:spcPts val="0"/>
                </a:spcBef>
                <a:spcAft>
                  <a:spcPts val="0"/>
                </a:spcAft>
                <a:buClrTx/>
                <a:buSzTx/>
                <a:defRPr/>
              </a:pPr>
              <a:endParaRPr lang="en-US" sz="1322" kern="0">
                <a:solidFill>
                  <a:srgbClr val="000000"/>
                </a:solidFill>
                <a:latin typeface="+mj-lt"/>
              </a:endParaRPr>
            </a:p>
          </p:txBody>
        </p:sp>
        <p:grpSp>
          <p:nvGrpSpPr>
            <p:cNvPr id="23" name="Group 22">
              <a:extLst>
                <a:ext uri="{FF2B5EF4-FFF2-40B4-BE49-F238E27FC236}">
                  <a16:creationId xmlns:a16="http://schemas.microsoft.com/office/drawing/2014/main" id="{C7EB8789-F8E6-48AF-BA29-1A6DB230719E}"/>
                </a:ext>
              </a:extLst>
            </p:cNvPr>
            <p:cNvGrpSpPr/>
            <p:nvPr/>
          </p:nvGrpSpPr>
          <p:grpSpPr>
            <a:xfrm>
              <a:off x="524160" y="2490344"/>
              <a:ext cx="1684202" cy="432344"/>
              <a:chOff x="290626" y="2566300"/>
              <a:chExt cx="1820246" cy="432344"/>
            </a:xfrm>
            <a:solidFill>
              <a:srgbClr val="646464"/>
            </a:solidFill>
          </p:grpSpPr>
          <p:sp>
            <p:nvSpPr>
              <p:cNvPr id="39" name="Rectangle 38">
                <a:extLst>
                  <a:ext uri="{FF2B5EF4-FFF2-40B4-BE49-F238E27FC236}">
                    <a16:creationId xmlns:a16="http://schemas.microsoft.com/office/drawing/2014/main" id="{9E616BA2-2BE8-4C95-A2FD-7CA3065925E8}"/>
                  </a:ext>
                </a:extLst>
              </p:cNvPr>
              <p:cNvSpPr/>
              <p:nvPr/>
            </p:nvSpPr>
            <p:spPr>
              <a:xfrm>
                <a:off x="380152" y="2632884"/>
                <a:ext cx="1730720" cy="365760"/>
              </a:xfrm>
              <a:prstGeom prst="rect">
                <a:avLst/>
              </a:prstGeom>
              <a:solidFill>
                <a:srgbClr val="646464">
                  <a:lumMod val="60000"/>
                  <a:lumOff val="40000"/>
                </a:srgbClr>
              </a:solidFill>
              <a:ln w="12700" cap="flat" cmpd="sng" algn="ctr">
                <a:noFill/>
                <a:prstDash val="sysDot"/>
              </a:ln>
              <a:effectLst/>
            </p:spPr>
            <p:txBody>
              <a:bodyPr rtlCol="0" anchor="ctr" anchorCtr="0"/>
              <a:lstStyle/>
              <a:p>
                <a:pPr algn="ctr" defTabSz="1007669" fontAlgn="auto">
                  <a:spcBef>
                    <a:spcPts val="0"/>
                  </a:spcBef>
                  <a:spcAft>
                    <a:spcPts val="0"/>
                  </a:spcAft>
                  <a:buClrTx/>
                  <a:buSzTx/>
                  <a:defRPr/>
                </a:pPr>
                <a:r>
                  <a:rPr lang="en-US" sz="1157" kern="0" dirty="0">
                    <a:solidFill>
                      <a:srgbClr val="FFFFFF"/>
                    </a:solidFill>
                    <a:latin typeface="+mj-lt"/>
                  </a:rPr>
                  <a:t>Agree on Observation &amp; Performance window</a:t>
                </a:r>
              </a:p>
            </p:txBody>
          </p:sp>
          <p:sp>
            <p:nvSpPr>
              <p:cNvPr id="40" name="Oval 39">
                <a:extLst>
                  <a:ext uri="{FF2B5EF4-FFF2-40B4-BE49-F238E27FC236}">
                    <a16:creationId xmlns:a16="http://schemas.microsoft.com/office/drawing/2014/main" id="{FD4F17B9-B2E3-41A1-91BA-5C5A72BB2DBB}"/>
                  </a:ext>
                </a:extLst>
              </p:cNvPr>
              <p:cNvSpPr/>
              <p:nvPr/>
            </p:nvSpPr>
            <p:spPr>
              <a:xfrm>
                <a:off x="290626" y="2566300"/>
                <a:ext cx="214487" cy="214487"/>
              </a:xfrm>
              <a:prstGeom prst="ellipse">
                <a:avLst/>
              </a:prstGeom>
              <a:grpFill/>
              <a:ln w="6350" cap="flat" cmpd="sng" algn="ctr">
                <a:noFill/>
                <a:prstDash val="solid"/>
              </a:ln>
              <a:effectLst/>
            </p:spPr>
            <p:txBody>
              <a:bodyPr lIns="0" tIns="0" rIns="0" bIns="0" rtlCol="0" anchor="ctr"/>
              <a:lstStyle/>
              <a:p>
                <a:pPr algn="ctr" defTabSz="1007669" fontAlgn="auto">
                  <a:spcBef>
                    <a:spcPts val="0"/>
                  </a:spcBef>
                  <a:spcAft>
                    <a:spcPts val="0"/>
                  </a:spcAft>
                  <a:buClrTx/>
                  <a:buSzTx/>
                  <a:defRPr/>
                </a:pPr>
                <a:r>
                  <a:rPr lang="en-US" sz="1102" kern="0">
                    <a:solidFill>
                      <a:srgbClr val="FFFFFF"/>
                    </a:solidFill>
                    <a:latin typeface="+mj-lt"/>
                  </a:rPr>
                  <a:t>1</a:t>
                </a:r>
              </a:p>
            </p:txBody>
          </p:sp>
        </p:grpSp>
        <p:grpSp>
          <p:nvGrpSpPr>
            <p:cNvPr id="24" name="Group 23">
              <a:extLst>
                <a:ext uri="{FF2B5EF4-FFF2-40B4-BE49-F238E27FC236}">
                  <a16:creationId xmlns:a16="http://schemas.microsoft.com/office/drawing/2014/main" id="{B9B72344-D04D-43B1-874A-2E71EDC1AFE8}"/>
                </a:ext>
              </a:extLst>
            </p:cNvPr>
            <p:cNvGrpSpPr/>
            <p:nvPr/>
          </p:nvGrpSpPr>
          <p:grpSpPr>
            <a:xfrm>
              <a:off x="524160" y="3061247"/>
              <a:ext cx="1684202" cy="427761"/>
              <a:chOff x="290626" y="3184613"/>
              <a:chExt cx="1820246" cy="427761"/>
            </a:xfrm>
            <a:solidFill>
              <a:srgbClr val="646464"/>
            </a:solidFill>
          </p:grpSpPr>
          <p:sp>
            <p:nvSpPr>
              <p:cNvPr id="37" name="Rectangle 36">
                <a:extLst>
                  <a:ext uri="{FF2B5EF4-FFF2-40B4-BE49-F238E27FC236}">
                    <a16:creationId xmlns:a16="http://schemas.microsoft.com/office/drawing/2014/main" id="{0A74E8DB-55EE-45D6-83A7-5C66210B622D}"/>
                  </a:ext>
                </a:extLst>
              </p:cNvPr>
              <p:cNvSpPr/>
              <p:nvPr/>
            </p:nvSpPr>
            <p:spPr>
              <a:xfrm>
                <a:off x="380152" y="3246614"/>
                <a:ext cx="1730720" cy="365760"/>
              </a:xfrm>
              <a:prstGeom prst="rect">
                <a:avLst/>
              </a:prstGeom>
              <a:solidFill>
                <a:srgbClr val="646464">
                  <a:lumMod val="60000"/>
                  <a:lumOff val="40000"/>
                </a:srgbClr>
              </a:solidFill>
              <a:ln w="12700" cap="flat" cmpd="sng" algn="ctr">
                <a:noFill/>
                <a:prstDash val="sysDot"/>
              </a:ln>
              <a:effectLst/>
            </p:spPr>
            <p:txBody>
              <a:bodyPr rtlCol="0" anchor="ctr" anchorCtr="0"/>
              <a:lstStyle/>
              <a:p>
                <a:pPr algn="ctr" defTabSz="1007669" fontAlgn="auto">
                  <a:spcBef>
                    <a:spcPts val="0"/>
                  </a:spcBef>
                  <a:spcAft>
                    <a:spcPts val="0"/>
                  </a:spcAft>
                  <a:buClrTx/>
                  <a:buSzTx/>
                  <a:defRPr/>
                </a:pPr>
                <a:r>
                  <a:rPr lang="en-US" sz="1157" kern="0">
                    <a:solidFill>
                      <a:srgbClr val="FFFFFF"/>
                    </a:solidFill>
                    <a:latin typeface="+mj-lt"/>
                  </a:rPr>
                  <a:t>Data availability for agreed data taxonomy</a:t>
                </a:r>
              </a:p>
            </p:txBody>
          </p:sp>
          <p:sp>
            <p:nvSpPr>
              <p:cNvPr id="38" name="Oval 37">
                <a:extLst>
                  <a:ext uri="{FF2B5EF4-FFF2-40B4-BE49-F238E27FC236}">
                    <a16:creationId xmlns:a16="http://schemas.microsoft.com/office/drawing/2014/main" id="{69D43874-6234-4A5A-8CEF-1B09F78B5B41}"/>
                  </a:ext>
                </a:extLst>
              </p:cNvPr>
              <p:cNvSpPr/>
              <p:nvPr/>
            </p:nvSpPr>
            <p:spPr>
              <a:xfrm>
                <a:off x="290626" y="3184613"/>
                <a:ext cx="214487" cy="214487"/>
              </a:xfrm>
              <a:prstGeom prst="ellipse">
                <a:avLst/>
              </a:prstGeom>
              <a:grpFill/>
              <a:ln w="6350" cap="flat" cmpd="sng" algn="ctr">
                <a:noFill/>
                <a:prstDash val="solid"/>
              </a:ln>
              <a:effectLst/>
            </p:spPr>
            <p:txBody>
              <a:bodyPr lIns="0" tIns="0" rIns="0" bIns="0" rtlCol="0" anchor="ctr"/>
              <a:lstStyle/>
              <a:p>
                <a:pPr algn="ctr" defTabSz="1007669" fontAlgn="auto">
                  <a:spcBef>
                    <a:spcPts val="0"/>
                  </a:spcBef>
                  <a:spcAft>
                    <a:spcPts val="0"/>
                  </a:spcAft>
                  <a:buClrTx/>
                  <a:buSzTx/>
                  <a:defRPr/>
                </a:pPr>
                <a:r>
                  <a:rPr lang="en-US" sz="1102" kern="0">
                    <a:solidFill>
                      <a:srgbClr val="FFFFFF"/>
                    </a:solidFill>
                    <a:latin typeface="+mj-lt"/>
                  </a:rPr>
                  <a:t>2</a:t>
                </a:r>
              </a:p>
            </p:txBody>
          </p:sp>
        </p:grpSp>
        <p:grpSp>
          <p:nvGrpSpPr>
            <p:cNvPr id="25" name="Group 24">
              <a:extLst>
                <a:ext uri="{FF2B5EF4-FFF2-40B4-BE49-F238E27FC236}">
                  <a16:creationId xmlns:a16="http://schemas.microsoft.com/office/drawing/2014/main" id="{7C1D9E9B-EE36-49CE-8F18-3FFCECD08063}"/>
                </a:ext>
              </a:extLst>
            </p:cNvPr>
            <p:cNvGrpSpPr/>
            <p:nvPr/>
          </p:nvGrpSpPr>
          <p:grpSpPr>
            <a:xfrm>
              <a:off x="524160" y="3627567"/>
              <a:ext cx="1684202" cy="427761"/>
              <a:chOff x="290626" y="3729165"/>
              <a:chExt cx="1820246" cy="427761"/>
            </a:xfrm>
            <a:solidFill>
              <a:srgbClr val="646464"/>
            </a:solidFill>
          </p:grpSpPr>
          <p:sp>
            <p:nvSpPr>
              <p:cNvPr id="35" name="Rectangle 34">
                <a:extLst>
                  <a:ext uri="{FF2B5EF4-FFF2-40B4-BE49-F238E27FC236}">
                    <a16:creationId xmlns:a16="http://schemas.microsoft.com/office/drawing/2014/main" id="{EB7DAEAC-165C-4420-981E-8976453D7FA5}"/>
                  </a:ext>
                </a:extLst>
              </p:cNvPr>
              <p:cNvSpPr/>
              <p:nvPr/>
            </p:nvSpPr>
            <p:spPr>
              <a:xfrm>
                <a:off x="380152" y="3791166"/>
                <a:ext cx="1730720" cy="365760"/>
              </a:xfrm>
              <a:prstGeom prst="rect">
                <a:avLst/>
              </a:prstGeom>
              <a:solidFill>
                <a:srgbClr val="646464">
                  <a:lumMod val="60000"/>
                  <a:lumOff val="40000"/>
                </a:srgbClr>
              </a:solidFill>
              <a:ln w="12700" cap="flat" cmpd="sng" algn="ctr">
                <a:noFill/>
                <a:prstDash val="sysDot"/>
              </a:ln>
              <a:effectLst/>
            </p:spPr>
            <p:txBody>
              <a:bodyPr rtlCol="0" anchor="ctr" anchorCtr="0"/>
              <a:lstStyle/>
              <a:p>
                <a:pPr algn="ctr" defTabSz="1007669" fontAlgn="auto">
                  <a:spcBef>
                    <a:spcPts val="0"/>
                  </a:spcBef>
                  <a:spcAft>
                    <a:spcPts val="0"/>
                  </a:spcAft>
                  <a:buClrTx/>
                  <a:buSzTx/>
                  <a:defRPr/>
                </a:pPr>
                <a:r>
                  <a:rPr lang="en-US" sz="1157" kern="0" dirty="0">
                    <a:solidFill>
                      <a:srgbClr val="FFFFFF"/>
                    </a:solidFill>
                    <a:latin typeface="+mj-lt"/>
                  </a:rPr>
                  <a:t>Thresholds and performance metrics</a:t>
                </a:r>
              </a:p>
            </p:txBody>
          </p:sp>
          <p:sp>
            <p:nvSpPr>
              <p:cNvPr id="36" name="Oval 35">
                <a:extLst>
                  <a:ext uri="{FF2B5EF4-FFF2-40B4-BE49-F238E27FC236}">
                    <a16:creationId xmlns:a16="http://schemas.microsoft.com/office/drawing/2014/main" id="{BA03B93E-8E7E-4037-95F9-D6B55131BBF9}"/>
                  </a:ext>
                </a:extLst>
              </p:cNvPr>
              <p:cNvSpPr/>
              <p:nvPr/>
            </p:nvSpPr>
            <p:spPr>
              <a:xfrm>
                <a:off x="290626" y="3729165"/>
                <a:ext cx="214487" cy="214487"/>
              </a:xfrm>
              <a:prstGeom prst="ellipse">
                <a:avLst/>
              </a:prstGeom>
              <a:grpFill/>
              <a:ln w="6350" cap="flat" cmpd="sng" algn="ctr">
                <a:noFill/>
                <a:prstDash val="solid"/>
              </a:ln>
              <a:effectLst/>
            </p:spPr>
            <p:txBody>
              <a:bodyPr lIns="0" tIns="0" rIns="0" bIns="0" rtlCol="0" anchor="ctr"/>
              <a:lstStyle/>
              <a:p>
                <a:pPr algn="ctr" defTabSz="1007669" fontAlgn="auto">
                  <a:spcBef>
                    <a:spcPts val="0"/>
                  </a:spcBef>
                  <a:spcAft>
                    <a:spcPts val="0"/>
                  </a:spcAft>
                  <a:buClrTx/>
                  <a:buSzTx/>
                  <a:defRPr/>
                </a:pPr>
                <a:r>
                  <a:rPr lang="en-US" sz="1102" kern="0">
                    <a:solidFill>
                      <a:srgbClr val="FFFFFF"/>
                    </a:solidFill>
                    <a:latin typeface="+mj-lt"/>
                  </a:rPr>
                  <a:t>3</a:t>
                </a:r>
              </a:p>
            </p:txBody>
          </p:sp>
        </p:grpSp>
        <p:sp>
          <p:nvSpPr>
            <p:cNvPr id="28" name="Snip Same Side Corner Rectangle 29">
              <a:extLst>
                <a:ext uri="{FF2B5EF4-FFF2-40B4-BE49-F238E27FC236}">
                  <a16:creationId xmlns:a16="http://schemas.microsoft.com/office/drawing/2014/main" id="{74120E46-DE9E-4D2A-8547-E198E9A0DD06}"/>
                </a:ext>
              </a:extLst>
            </p:cNvPr>
            <p:cNvSpPr/>
            <p:nvPr/>
          </p:nvSpPr>
          <p:spPr>
            <a:xfrm>
              <a:off x="524159" y="1836654"/>
              <a:ext cx="1790703" cy="526984"/>
            </a:xfrm>
            <a:prstGeom prst="snip2SameRect">
              <a:avLst/>
            </a:prstGeom>
            <a:solidFill>
              <a:schemeClr val="accent5"/>
            </a:solidFill>
            <a:ln w="9525" cap="flat" cmpd="sng" algn="ctr">
              <a:noFill/>
              <a:prstDash val="solid"/>
            </a:ln>
            <a:effectLst>
              <a:outerShdw blurRad="50800" dist="38100" dir="18900000" algn="bl" rotWithShape="0">
                <a:prstClr val="black">
                  <a:alpha val="40000"/>
                </a:prstClr>
              </a:outerShdw>
            </a:effectLst>
          </p:spPr>
          <p:txBody>
            <a:bodyPr rtlCol="0" anchor="ctr" anchorCtr="0"/>
            <a:lstStyle/>
            <a:p>
              <a:pPr algn="ctr" defTabSz="1007669" fontAlgn="auto">
                <a:spcBef>
                  <a:spcPts val="0"/>
                </a:spcBef>
                <a:spcAft>
                  <a:spcPts val="0"/>
                </a:spcAft>
                <a:buClrTx/>
                <a:buSzTx/>
                <a:defRPr/>
              </a:pPr>
              <a:r>
                <a:rPr lang="en-US" sz="1322" kern="0">
                  <a:solidFill>
                    <a:srgbClr val="FFFFFF"/>
                  </a:solidFill>
                  <a:latin typeface="+mj-lt"/>
                  <a:cs typeface="Calibri" pitchFamily="34" charset="0"/>
                </a:rPr>
                <a:t>Inputs</a:t>
              </a:r>
              <a:endParaRPr lang="en-US" sz="1212" kern="0">
                <a:solidFill>
                  <a:srgbClr val="FFFFFF"/>
                </a:solidFill>
                <a:latin typeface="+mj-lt"/>
                <a:cs typeface="Calibri" pitchFamily="34" charset="0"/>
              </a:endParaRPr>
            </a:p>
          </p:txBody>
        </p:sp>
        <p:sp>
          <p:nvSpPr>
            <p:cNvPr id="29" name="TextBox 28">
              <a:extLst>
                <a:ext uri="{FF2B5EF4-FFF2-40B4-BE49-F238E27FC236}">
                  <a16:creationId xmlns:a16="http://schemas.microsoft.com/office/drawing/2014/main" id="{079BD29C-D055-404A-87C8-F4E70AF2D0E0}"/>
                </a:ext>
              </a:extLst>
            </p:cNvPr>
            <p:cNvSpPr txBox="1"/>
            <p:nvPr/>
          </p:nvSpPr>
          <p:spPr>
            <a:xfrm>
              <a:off x="559575" y="1963360"/>
              <a:ext cx="483023" cy="297176"/>
            </a:xfrm>
            <a:prstGeom prst="rect">
              <a:avLst/>
            </a:prstGeom>
            <a:noFill/>
          </p:spPr>
          <p:txBody>
            <a:bodyPr wrap="square" lIns="0" tIns="40308" rIns="0" bIns="0" rtlCol="0">
              <a:spAutoFit/>
            </a:bodyPr>
            <a:lstStyle/>
            <a:p>
              <a:pPr defTabSz="1007669" fontAlgn="auto">
                <a:lnSpc>
                  <a:spcPct val="85000"/>
                </a:lnSpc>
                <a:spcBef>
                  <a:spcPts val="0"/>
                </a:spcBef>
                <a:spcAft>
                  <a:spcPts val="661"/>
                </a:spcAft>
                <a:buClr>
                  <a:srgbClr val="FFE600"/>
                </a:buClr>
                <a:buSzPct val="70000"/>
                <a:defRPr/>
              </a:pPr>
              <a:r>
                <a:rPr lang="en-US" sz="2204" b="1" kern="0">
                  <a:solidFill>
                    <a:schemeClr val="tx2"/>
                  </a:solidFill>
                  <a:latin typeface="+mj-lt"/>
                </a:rPr>
                <a:t>1</a:t>
              </a:r>
            </a:p>
          </p:txBody>
        </p:sp>
      </p:grpSp>
      <p:sp>
        <p:nvSpPr>
          <p:cNvPr id="41" name="Right Arrow 42">
            <a:extLst>
              <a:ext uri="{FF2B5EF4-FFF2-40B4-BE49-F238E27FC236}">
                <a16:creationId xmlns:a16="http://schemas.microsoft.com/office/drawing/2014/main" id="{6CFAF581-0EF9-4F41-B198-4B84A3A0C4BD}"/>
              </a:ext>
            </a:extLst>
          </p:cNvPr>
          <p:cNvSpPr/>
          <p:nvPr/>
        </p:nvSpPr>
        <p:spPr>
          <a:xfrm>
            <a:off x="9854950" y="2514714"/>
            <a:ext cx="548461" cy="186848"/>
          </a:xfrm>
          <a:prstGeom prst="rightArrow">
            <a:avLst/>
          </a:prstGeom>
          <a:solidFill>
            <a:schemeClr val="accent5"/>
          </a:solidFill>
          <a:ln w="9525" cap="flat" cmpd="sng" algn="ctr">
            <a:solidFill>
              <a:schemeClr val="accent5"/>
            </a:solidFill>
            <a:prstDash val="solid"/>
          </a:ln>
          <a:effectLst/>
        </p:spPr>
        <p:txBody>
          <a:bodyPr rtlCol="0" anchor="t" anchorCtr="0"/>
          <a:lstStyle/>
          <a:p>
            <a:pPr algn="ctr" defTabSz="1007669" fontAlgn="auto">
              <a:spcBef>
                <a:spcPts val="0"/>
              </a:spcBef>
              <a:spcAft>
                <a:spcPts val="0"/>
              </a:spcAft>
              <a:buClrTx/>
              <a:buSzTx/>
              <a:defRPr/>
            </a:pPr>
            <a:endParaRPr lang="en-US" sz="1322" kern="0">
              <a:solidFill>
                <a:srgbClr val="000000"/>
              </a:solidFill>
              <a:latin typeface="+mj-lt"/>
            </a:endParaRPr>
          </a:p>
        </p:txBody>
      </p:sp>
      <p:sp>
        <p:nvSpPr>
          <p:cNvPr id="43" name="Snip Same Side Corner Rectangle 44">
            <a:extLst>
              <a:ext uri="{FF2B5EF4-FFF2-40B4-BE49-F238E27FC236}">
                <a16:creationId xmlns:a16="http://schemas.microsoft.com/office/drawing/2014/main" id="{5D42A428-B14D-420F-AF26-311FE6462513}"/>
              </a:ext>
            </a:extLst>
          </p:cNvPr>
          <p:cNvSpPr/>
          <p:nvPr/>
        </p:nvSpPr>
        <p:spPr>
          <a:xfrm>
            <a:off x="4096479" y="2221065"/>
            <a:ext cx="2627963" cy="624426"/>
          </a:xfrm>
          <a:prstGeom prst="snip2SameRect">
            <a:avLst/>
          </a:prstGeom>
          <a:solidFill>
            <a:schemeClr val="accent5"/>
          </a:solidFill>
          <a:ln w="9525" cap="flat" cmpd="sng" algn="ctr">
            <a:noFill/>
            <a:prstDash val="solid"/>
          </a:ln>
          <a:effectLst>
            <a:outerShdw blurRad="50800" dist="38100" dir="18900000" algn="bl" rotWithShape="0">
              <a:prstClr val="black">
                <a:alpha val="40000"/>
              </a:prstClr>
            </a:outerShdw>
          </a:effectLst>
        </p:spPr>
        <p:txBody>
          <a:bodyPr rtlCol="0" anchor="ctr" anchorCtr="0"/>
          <a:lstStyle/>
          <a:p>
            <a:pPr algn="ctr" defTabSz="1007669" fontAlgn="auto">
              <a:spcBef>
                <a:spcPts val="0"/>
              </a:spcBef>
              <a:spcAft>
                <a:spcPts val="0"/>
              </a:spcAft>
              <a:buClrTx/>
              <a:buSzTx/>
              <a:defRPr/>
            </a:pPr>
            <a:r>
              <a:rPr lang="en-US" sz="1322" kern="0">
                <a:solidFill>
                  <a:srgbClr val="FFFFFF"/>
                </a:solidFill>
                <a:latin typeface="+mj-lt"/>
              </a:rPr>
              <a:t>Development </a:t>
            </a:r>
          </a:p>
        </p:txBody>
      </p:sp>
      <p:sp>
        <p:nvSpPr>
          <p:cNvPr id="49" name="Rectangle 48">
            <a:extLst>
              <a:ext uri="{FF2B5EF4-FFF2-40B4-BE49-F238E27FC236}">
                <a16:creationId xmlns:a16="http://schemas.microsoft.com/office/drawing/2014/main" id="{B98F8664-3D43-466B-A6AD-95D229B6679F}"/>
              </a:ext>
            </a:extLst>
          </p:cNvPr>
          <p:cNvSpPr/>
          <p:nvPr/>
        </p:nvSpPr>
        <p:spPr>
          <a:xfrm>
            <a:off x="4096479" y="2890801"/>
            <a:ext cx="2627964" cy="1004750"/>
          </a:xfrm>
          <a:prstGeom prst="rect">
            <a:avLst/>
          </a:prstGeom>
          <a:solidFill>
            <a:srgbClr val="FFFFFF"/>
          </a:solidFill>
          <a:ln w="9525" cap="flat" cmpd="sng" algn="ctr">
            <a:noFill/>
            <a:prstDash val="solid"/>
          </a:ln>
          <a:effectLst>
            <a:outerShdw blurRad="50800" dist="38100" dir="2700000" algn="tl" rotWithShape="0">
              <a:prstClr val="black">
                <a:alpha val="40000"/>
              </a:prstClr>
            </a:outerShdw>
            <a:softEdge rad="0"/>
          </a:effectLst>
        </p:spPr>
        <p:txBody>
          <a:bodyPr lIns="0" tIns="0" rIns="0" bIns="0" rtlCol="0" anchor="ctr"/>
          <a:lstStyle/>
          <a:p>
            <a:pPr defTabSz="1007669" fontAlgn="auto">
              <a:spcBef>
                <a:spcPts val="0"/>
              </a:spcBef>
              <a:spcAft>
                <a:spcPts val="0"/>
              </a:spcAft>
              <a:buClrTx/>
              <a:buSzTx/>
              <a:defRPr/>
            </a:pPr>
            <a:r>
              <a:rPr lang="en-US" sz="992" b="1" kern="0">
                <a:solidFill>
                  <a:srgbClr val="000000"/>
                </a:solidFill>
                <a:latin typeface="+mj-lt"/>
              </a:rPr>
              <a:t>1. Data quality assessment</a:t>
            </a:r>
          </a:p>
          <a:p>
            <a:pPr marL="188938" indent="-188938" defTabSz="1007669" fontAlgn="auto">
              <a:spcBef>
                <a:spcPts val="0"/>
              </a:spcBef>
              <a:spcAft>
                <a:spcPts val="0"/>
              </a:spcAft>
              <a:buClrTx/>
              <a:buSzTx/>
              <a:buFont typeface="Arial" panose="020B0604020202020204" pitchFamily="34" charset="0"/>
              <a:buChar char="•"/>
              <a:defRPr/>
            </a:pPr>
            <a:r>
              <a:rPr lang="en-US" sz="992" kern="0">
                <a:solidFill>
                  <a:srgbClr val="000000"/>
                </a:solidFill>
              </a:rPr>
              <a:t>Data aggregation</a:t>
            </a:r>
          </a:p>
          <a:p>
            <a:pPr marL="188938" indent="-188938" defTabSz="1007669" fontAlgn="auto">
              <a:spcBef>
                <a:spcPts val="0"/>
              </a:spcBef>
              <a:spcAft>
                <a:spcPts val="0"/>
              </a:spcAft>
              <a:buClrTx/>
              <a:buSzTx/>
              <a:buFont typeface="Arial" panose="020B0604020202020204" pitchFamily="34" charset="0"/>
              <a:buChar char="•"/>
              <a:defRPr/>
            </a:pPr>
            <a:r>
              <a:rPr lang="en-US" sz="992" kern="0">
                <a:solidFill>
                  <a:srgbClr val="000000"/>
                </a:solidFill>
              </a:rPr>
              <a:t>Data quality assessment</a:t>
            </a:r>
          </a:p>
          <a:p>
            <a:pPr marL="188938" indent="-188938" defTabSz="1007669" fontAlgn="auto">
              <a:spcBef>
                <a:spcPts val="0"/>
              </a:spcBef>
              <a:spcAft>
                <a:spcPts val="0"/>
              </a:spcAft>
              <a:buClrTx/>
              <a:buSzTx/>
              <a:buFont typeface="Arial" panose="020B0604020202020204" pitchFamily="34" charset="0"/>
              <a:buChar char="•"/>
              <a:defRPr/>
            </a:pPr>
            <a:r>
              <a:rPr lang="en-US" sz="992" kern="0">
                <a:solidFill>
                  <a:srgbClr val="000000"/>
                </a:solidFill>
              </a:rPr>
              <a:t>Finalizing data attributes to be used for model development</a:t>
            </a:r>
          </a:p>
        </p:txBody>
      </p:sp>
      <p:sp>
        <p:nvSpPr>
          <p:cNvPr id="51" name="Rectangle 50">
            <a:extLst>
              <a:ext uri="{FF2B5EF4-FFF2-40B4-BE49-F238E27FC236}">
                <a16:creationId xmlns:a16="http://schemas.microsoft.com/office/drawing/2014/main" id="{68037DC6-87A6-49F0-A40D-65B22948DBFB}"/>
              </a:ext>
            </a:extLst>
          </p:cNvPr>
          <p:cNvSpPr/>
          <p:nvPr/>
        </p:nvSpPr>
        <p:spPr>
          <a:xfrm>
            <a:off x="4096478" y="4025580"/>
            <a:ext cx="2627964" cy="1098879"/>
          </a:xfrm>
          <a:prstGeom prst="rect">
            <a:avLst/>
          </a:prstGeom>
          <a:solidFill>
            <a:srgbClr val="FFFFFF"/>
          </a:solidFill>
          <a:ln w="9525" cap="flat" cmpd="sng" algn="ctr">
            <a:noFill/>
            <a:prstDash val="solid"/>
          </a:ln>
          <a:effectLst>
            <a:outerShdw blurRad="50800" dist="38100" dir="2700000" algn="tl" rotWithShape="0">
              <a:prstClr val="black">
                <a:alpha val="40000"/>
              </a:prstClr>
            </a:outerShdw>
          </a:effectLst>
        </p:spPr>
        <p:txBody>
          <a:bodyPr lIns="0" tIns="0" rIns="0" bIns="0" rtlCol="0" anchor="ctr"/>
          <a:lstStyle/>
          <a:p>
            <a:pPr defTabSz="1007669" fontAlgn="auto">
              <a:spcBef>
                <a:spcPts val="0"/>
              </a:spcBef>
              <a:spcAft>
                <a:spcPts val="0"/>
              </a:spcAft>
              <a:buClrTx/>
              <a:buSzTx/>
              <a:defRPr/>
            </a:pPr>
            <a:r>
              <a:rPr lang="en-US" sz="992" b="1" kern="0">
                <a:solidFill>
                  <a:srgbClr val="000000"/>
                </a:solidFill>
                <a:latin typeface="+mj-lt"/>
              </a:rPr>
              <a:t>2. Data cleansing &amp; exploratory analysis</a:t>
            </a:r>
          </a:p>
          <a:p>
            <a:pPr marL="188938" indent="-188938" defTabSz="1007669" fontAlgn="auto">
              <a:spcBef>
                <a:spcPts val="0"/>
              </a:spcBef>
              <a:spcAft>
                <a:spcPts val="0"/>
              </a:spcAft>
              <a:buClrTx/>
              <a:buSzTx/>
              <a:buFont typeface="Arial" panose="020B0604020202020204" pitchFamily="34" charset="0"/>
              <a:buChar char="•"/>
              <a:defRPr/>
            </a:pPr>
            <a:r>
              <a:rPr lang="en-US" sz="992" kern="0">
                <a:solidFill>
                  <a:srgbClr val="000000"/>
                </a:solidFill>
              </a:rPr>
              <a:t>Data cleansing using statistical methods</a:t>
            </a:r>
          </a:p>
          <a:p>
            <a:pPr marL="188938" indent="-188938" defTabSz="1007669" fontAlgn="auto">
              <a:spcBef>
                <a:spcPts val="0"/>
              </a:spcBef>
              <a:spcAft>
                <a:spcPts val="0"/>
              </a:spcAft>
              <a:buClrTx/>
              <a:buSzTx/>
              <a:buFont typeface="Arial" panose="020B0604020202020204" pitchFamily="34" charset="0"/>
              <a:buChar char="•"/>
              <a:defRPr/>
            </a:pPr>
            <a:r>
              <a:rPr lang="en-US" sz="992" kern="0">
                <a:solidFill>
                  <a:srgbClr val="000000"/>
                </a:solidFill>
              </a:rPr>
              <a:t>Exploratory data analysis</a:t>
            </a:r>
          </a:p>
          <a:p>
            <a:pPr marL="188938" indent="-188938" defTabSz="1007669" fontAlgn="auto">
              <a:spcBef>
                <a:spcPts val="0"/>
              </a:spcBef>
              <a:spcAft>
                <a:spcPts val="0"/>
              </a:spcAft>
              <a:buClrTx/>
              <a:buSzTx/>
              <a:buFont typeface="Arial" panose="020B0604020202020204" pitchFamily="34" charset="0"/>
              <a:buChar char="•"/>
              <a:defRPr/>
            </a:pPr>
            <a:r>
              <a:rPr lang="en-US" sz="992" kern="0">
                <a:solidFill>
                  <a:srgbClr val="000000"/>
                </a:solidFill>
              </a:rPr>
              <a:t>Incorporate feedback from GE stakeholders on feature list for model development</a:t>
            </a:r>
          </a:p>
        </p:txBody>
      </p:sp>
      <p:sp>
        <p:nvSpPr>
          <p:cNvPr id="46" name="TextBox 45">
            <a:extLst>
              <a:ext uri="{FF2B5EF4-FFF2-40B4-BE49-F238E27FC236}">
                <a16:creationId xmlns:a16="http://schemas.microsoft.com/office/drawing/2014/main" id="{C31AA3E6-C134-48E2-B8E2-2B134E9A0807}"/>
              </a:ext>
            </a:extLst>
          </p:cNvPr>
          <p:cNvSpPr txBox="1"/>
          <p:nvPr/>
        </p:nvSpPr>
        <p:spPr>
          <a:xfrm>
            <a:off x="4174415" y="2387919"/>
            <a:ext cx="615176" cy="329050"/>
          </a:xfrm>
          <a:prstGeom prst="rect">
            <a:avLst/>
          </a:prstGeom>
          <a:noFill/>
        </p:spPr>
        <p:txBody>
          <a:bodyPr wrap="square" lIns="0" tIns="40308" rIns="0" bIns="0" rtlCol="0">
            <a:spAutoFit/>
          </a:bodyPr>
          <a:lstStyle/>
          <a:p>
            <a:pPr defTabSz="1007669" fontAlgn="auto">
              <a:lnSpc>
                <a:spcPct val="85000"/>
              </a:lnSpc>
              <a:spcBef>
                <a:spcPts val="0"/>
              </a:spcBef>
              <a:spcAft>
                <a:spcPts val="661"/>
              </a:spcAft>
              <a:buClr>
                <a:srgbClr val="FFE600"/>
              </a:buClr>
              <a:buSzPct val="70000"/>
              <a:defRPr/>
            </a:pPr>
            <a:r>
              <a:rPr lang="en-US" sz="2204" b="1" kern="0">
                <a:solidFill>
                  <a:schemeClr val="tx2"/>
                </a:solidFill>
                <a:latin typeface="+mj-lt"/>
              </a:rPr>
              <a:t>2</a:t>
            </a:r>
          </a:p>
        </p:txBody>
      </p:sp>
      <p:sp>
        <p:nvSpPr>
          <p:cNvPr id="54" name="Snip Same Side Corner Rectangle 55">
            <a:extLst>
              <a:ext uri="{FF2B5EF4-FFF2-40B4-BE49-F238E27FC236}">
                <a16:creationId xmlns:a16="http://schemas.microsoft.com/office/drawing/2014/main" id="{A1CB547D-E6E6-4791-81AA-89D7B3E95C79}"/>
              </a:ext>
            </a:extLst>
          </p:cNvPr>
          <p:cNvSpPr/>
          <p:nvPr/>
        </p:nvSpPr>
        <p:spPr>
          <a:xfrm>
            <a:off x="7442002" y="2257918"/>
            <a:ext cx="2374225" cy="667673"/>
          </a:xfrm>
          <a:prstGeom prst="snip2SameRect">
            <a:avLst/>
          </a:prstGeom>
          <a:solidFill>
            <a:schemeClr val="accent5"/>
          </a:solidFill>
          <a:ln w="9525" cap="flat" cmpd="sng" algn="ctr">
            <a:noFill/>
            <a:prstDash val="solid"/>
          </a:ln>
          <a:effectLst>
            <a:outerShdw blurRad="50800" dist="38100" dir="18900000" algn="bl" rotWithShape="0">
              <a:prstClr val="black">
                <a:alpha val="40000"/>
              </a:prstClr>
            </a:outerShdw>
          </a:effectLst>
        </p:spPr>
        <p:txBody>
          <a:bodyPr tIns="201539" rtlCol="0" anchor="ctr" anchorCtr="1"/>
          <a:lstStyle/>
          <a:p>
            <a:pPr algn="ctr" defTabSz="1007669" fontAlgn="auto">
              <a:spcBef>
                <a:spcPts val="0"/>
              </a:spcBef>
              <a:spcAft>
                <a:spcPts val="0"/>
              </a:spcAft>
              <a:buClrTx/>
              <a:buSzTx/>
              <a:defRPr/>
            </a:pPr>
            <a:r>
              <a:rPr lang="en-US" sz="1322" kern="0" dirty="0">
                <a:solidFill>
                  <a:srgbClr val="FFFFFF"/>
                </a:solidFill>
                <a:latin typeface="+mj-lt"/>
              </a:rPr>
              <a:t>Enhancement &amp; output</a:t>
            </a:r>
          </a:p>
          <a:p>
            <a:pPr algn="ctr" defTabSz="1007669" fontAlgn="auto">
              <a:spcBef>
                <a:spcPts val="0"/>
              </a:spcBef>
              <a:spcAft>
                <a:spcPts val="0"/>
              </a:spcAft>
              <a:buClrTx/>
              <a:buSzTx/>
              <a:defRPr/>
            </a:pPr>
            <a:endParaRPr lang="en-US" sz="1322" kern="0" dirty="0">
              <a:solidFill>
                <a:srgbClr val="FFFFFF"/>
              </a:solidFill>
              <a:latin typeface="+mj-lt"/>
            </a:endParaRPr>
          </a:p>
        </p:txBody>
      </p:sp>
      <p:sp>
        <p:nvSpPr>
          <p:cNvPr id="55" name="TextBox 54">
            <a:extLst>
              <a:ext uri="{FF2B5EF4-FFF2-40B4-BE49-F238E27FC236}">
                <a16:creationId xmlns:a16="http://schemas.microsoft.com/office/drawing/2014/main" id="{628DDCB8-C9F8-4A19-9462-D16AD5212224}"/>
              </a:ext>
            </a:extLst>
          </p:cNvPr>
          <p:cNvSpPr txBox="1"/>
          <p:nvPr/>
        </p:nvSpPr>
        <p:spPr>
          <a:xfrm>
            <a:off x="7471015" y="2432140"/>
            <a:ext cx="651533" cy="329050"/>
          </a:xfrm>
          <a:prstGeom prst="rect">
            <a:avLst/>
          </a:prstGeom>
          <a:noFill/>
        </p:spPr>
        <p:txBody>
          <a:bodyPr wrap="square" lIns="0" tIns="40308" rIns="0" bIns="0" rtlCol="0">
            <a:spAutoFit/>
          </a:bodyPr>
          <a:lstStyle/>
          <a:p>
            <a:pPr defTabSz="1007669" fontAlgn="auto">
              <a:lnSpc>
                <a:spcPct val="85000"/>
              </a:lnSpc>
              <a:spcBef>
                <a:spcPts val="0"/>
              </a:spcBef>
              <a:spcAft>
                <a:spcPts val="661"/>
              </a:spcAft>
              <a:buClr>
                <a:srgbClr val="FFE600"/>
              </a:buClr>
              <a:buSzPct val="70000"/>
              <a:defRPr/>
            </a:pPr>
            <a:r>
              <a:rPr lang="en-US" sz="2204" b="1" kern="0">
                <a:solidFill>
                  <a:schemeClr val="tx2"/>
                </a:solidFill>
                <a:latin typeface="+mj-lt"/>
              </a:rPr>
              <a:t>3</a:t>
            </a:r>
          </a:p>
        </p:txBody>
      </p:sp>
      <p:sp>
        <p:nvSpPr>
          <p:cNvPr id="63" name="Right Arrow 67">
            <a:extLst>
              <a:ext uri="{FF2B5EF4-FFF2-40B4-BE49-F238E27FC236}">
                <a16:creationId xmlns:a16="http://schemas.microsoft.com/office/drawing/2014/main" id="{084F1FF9-F720-467F-B5CA-79563DA28798}"/>
              </a:ext>
            </a:extLst>
          </p:cNvPr>
          <p:cNvSpPr/>
          <p:nvPr/>
        </p:nvSpPr>
        <p:spPr>
          <a:xfrm>
            <a:off x="6768127" y="2509315"/>
            <a:ext cx="616568" cy="175001"/>
          </a:xfrm>
          <a:prstGeom prst="rightArrow">
            <a:avLst/>
          </a:prstGeom>
          <a:solidFill>
            <a:schemeClr val="accent5"/>
          </a:solidFill>
          <a:ln w="9525" cap="flat" cmpd="sng" algn="ctr">
            <a:solidFill>
              <a:schemeClr val="accent5"/>
            </a:solidFill>
            <a:prstDash val="solid"/>
          </a:ln>
          <a:effectLst/>
        </p:spPr>
        <p:txBody>
          <a:bodyPr rtlCol="0" anchor="t" anchorCtr="0"/>
          <a:lstStyle/>
          <a:p>
            <a:pPr algn="ctr" defTabSz="1007669" fontAlgn="auto">
              <a:spcBef>
                <a:spcPts val="0"/>
              </a:spcBef>
              <a:spcAft>
                <a:spcPts val="0"/>
              </a:spcAft>
              <a:buClrTx/>
              <a:buSzTx/>
              <a:defRPr/>
            </a:pPr>
            <a:endParaRPr lang="en-US" sz="1322" kern="0">
              <a:solidFill>
                <a:srgbClr val="000000"/>
              </a:solidFill>
              <a:latin typeface="+mj-lt"/>
            </a:endParaRPr>
          </a:p>
        </p:txBody>
      </p:sp>
      <p:sp>
        <p:nvSpPr>
          <p:cNvPr id="64" name="Right Arrow 68">
            <a:extLst>
              <a:ext uri="{FF2B5EF4-FFF2-40B4-BE49-F238E27FC236}">
                <a16:creationId xmlns:a16="http://schemas.microsoft.com/office/drawing/2014/main" id="{37F506FC-7505-4097-9DBB-749F28F4747A}"/>
              </a:ext>
            </a:extLst>
          </p:cNvPr>
          <p:cNvSpPr/>
          <p:nvPr/>
        </p:nvSpPr>
        <p:spPr>
          <a:xfrm>
            <a:off x="3259198" y="2497468"/>
            <a:ext cx="798558" cy="186848"/>
          </a:xfrm>
          <a:prstGeom prst="rightArrow">
            <a:avLst/>
          </a:prstGeom>
          <a:solidFill>
            <a:schemeClr val="accent5"/>
          </a:solidFill>
          <a:ln w="9525" cap="flat" cmpd="sng" algn="ctr">
            <a:solidFill>
              <a:schemeClr val="accent5"/>
            </a:solidFill>
            <a:prstDash val="solid"/>
          </a:ln>
          <a:effectLst/>
        </p:spPr>
        <p:txBody>
          <a:bodyPr rtlCol="0" anchor="t" anchorCtr="0"/>
          <a:lstStyle/>
          <a:p>
            <a:pPr algn="ctr" defTabSz="1007669" fontAlgn="auto">
              <a:spcBef>
                <a:spcPts val="0"/>
              </a:spcBef>
              <a:spcAft>
                <a:spcPts val="0"/>
              </a:spcAft>
              <a:buClrTx/>
              <a:buSzTx/>
              <a:defRPr/>
            </a:pPr>
            <a:endParaRPr lang="en-US" sz="1322" kern="0">
              <a:solidFill>
                <a:srgbClr val="000000"/>
              </a:solidFill>
              <a:latin typeface="+mj-lt"/>
            </a:endParaRPr>
          </a:p>
        </p:txBody>
      </p:sp>
      <p:sp>
        <p:nvSpPr>
          <p:cNvPr id="71" name="Rectangle 70">
            <a:extLst>
              <a:ext uri="{FF2B5EF4-FFF2-40B4-BE49-F238E27FC236}">
                <a16:creationId xmlns:a16="http://schemas.microsoft.com/office/drawing/2014/main" id="{37020F9B-DF42-465D-9F20-D61FD276BE12}"/>
              </a:ext>
            </a:extLst>
          </p:cNvPr>
          <p:cNvSpPr/>
          <p:nvPr/>
        </p:nvSpPr>
        <p:spPr>
          <a:xfrm>
            <a:off x="10403410" y="2897785"/>
            <a:ext cx="2627963" cy="2147221"/>
          </a:xfrm>
          <a:prstGeom prst="rect">
            <a:avLst/>
          </a:prstGeom>
          <a:solidFill>
            <a:srgbClr val="F0F0F0"/>
          </a:solidFill>
          <a:ln w="9525" cap="flat" cmpd="sng" algn="ctr">
            <a:noFill/>
            <a:prstDash val="solid"/>
          </a:ln>
          <a:effectLst/>
        </p:spPr>
        <p:txBody>
          <a:bodyPr rtlCol="0" anchor="t" anchorCtr="0"/>
          <a:lstStyle/>
          <a:p>
            <a:pPr algn="ctr" defTabSz="1007669" fontAlgn="auto">
              <a:spcBef>
                <a:spcPts val="0"/>
              </a:spcBef>
              <a:spcAft>
                <a:spcPts val="0"/>
              </a:spcAft>
              <a:buClrTx/>
              <a:buSzTx/>
              <a:defRPr/>
            </a:pPr>
            <a:endParaRPr lang="en-US" sz="1322" kern="0">
              <a:solidFill>
                <a:srgbClr val="000000"/>
              </a:solidFill>
              <a:latin typeface="+mj-lt"/>
            </a:endParaRPr>
          </a:p>
        </p:txBody>
      </p:sp>
      <p:sp>
        <p:nvSpPr>
          <p:cNvPr id="72" name="Rectangle 71">
            <a:extLst>
              <a:ext uri="{FF2B5EF4-FFF2-40B4-BE49-F238E27FC236}">
                <a16:creationId xmlns:a16="http://schemas.microsoft.com/office/drawing/2014/main" id="{B2F865CC-77EF-4C84-9FC7-A7AC50644AB3}"/>
              </a:ext>
            </a:extLst>
          </p:cNvPr>
          <p:cNvSpPr/>
          <p:nvPr/>
        </p:nvSpPr>
        <p:spPr>
          <a:xfrm>
            <a:off x="10495940" y="3578113"/>
            <a:ext cx="2393608" cy="719451"/>
          </a:xfrm>
          <a:prstGeom prst="rect">
            <a:avLst/>
          </a:prstGeom>
          <a:solidFill>
            <a:srgbClr val="646464">
              <a:lumMod val="60000"/>
              <a:lumOff val="40000"/>
            </a:srgbClr>
          </a:solidFill>
          <a:ln w="12700" cap="flat" cmpd="sng" algn="ctr">
            <a:noFill/>
            <a:prstDash val="sysDot"/>
          </a:ln>
          <a:effectLst/>
        </p:spPr>
        <p:txBody>
          <a:bodyPr rtlCol="0" anchor="ctr" anchorCtr="0"/>
          <a:lstStyle/>
          <a:p>
            <a:pPr algn="ctr" defTabSz="1007669" fontAlgn="auto">
              <a:spcBef>
                <a:spcPts val="0"/>
              </a:spcBef>
              <a:spcAft>
                <a:spcPts val="0"/>
              </a:spcAft>
              <a:buClrTx/>
              <a:buSzTx/>
              <a:defRPr/>
            </a:pPr>
            <a:r>
              <a:rPr lang="en-US" sz="1157" kern="0">
                <a:solidFill>
                  <a:srgbClr val="FFFFFF"/>
                </a:solidFill>
                <a:latin typeface="+mj-lt"/>
              </a:rPr>
              <a:t>Model Scoring: </a:t>
            </a:r>
            <a:r>
              <a:rPr lang="en-US" sz="1000">
                <a:solidFill>
                  <a:schemeClr val="tx2"/>
                </a:solidFill>
              </a:rPr>
              <a:t>Every customer will be tagged with a probability to buy for each product category</a:t>
            </a:r>
          </a:p>
        </p:txBody>
      </p:sp>
      <p:sp>
        <p:nvSpPr>
          <p:cNvPr id="74" name="Rectangle 73">
            <a:extLst>
              <a:ext uri="{FF2B5EF4-FFF2-40B4-BE49-F238E27FC236}">
                <a16:creationId xmlns:a16="http://schemas.microsoft.com/office/drawing/2014/main" id="{5BADF0CF-661A-4BA0-A3CE-7FA99BB7749D}"/>
              </a:ext>
            </a:extLst>
          </p:cNvPr>
          <p:cNvSpPr/>
          <p:nvPr/>
        </p:nvSpPr>
        <p:spPr>
          <a:xfrm>
            <a:off x="10513717" y="3042344"/>
            <a:ext cx="2393608" cy="415547"/>
          </a:xfrm>
          <a:prstGeom prst="rect">
            <a:avLst/>
          </a:prstGeom>
          <a:solidFill>
            <a:srgbClr val="646464">
              <a:lumMod val="60000"/>
              <a:lumOff val="40000"/>
            </a:srgbClr>
          </a:solidFill>
          <a:ln w="12700" cap="flat" cmpd="sng" algn="ctr">
            <a:noFill/>
            <a:prstDash val="sysDot"/>
          </a:ln>
          <a:effectLst/>
        </p:spPr>
        <p:txBody>
          <a:bodyPr rtlCol="0" anchor="ctr" anchorCtr="0"/>
          <a:lstStyle/>
          <a:p>
            <a:r>
              <a:rPr lang="en-US" sz="1157" kern="0">
                <a:solidFill>
                  <a:srgbClr val="FFFFFF"/>
                </a:solidFill>
                <a:latin typeface="+mj-lt"/>
              </a:rPr>
              <a:t>Testing: </a:t>
            </a:r>
            <a:r>
              <a:rPr lang="en-US" sz="1000">
                <a:solidFill>
                  <a:schemeClr val="tx2"/>
                </a:solidFill>
              </a:rPr>
              <a:t>Model performance on Test dataset</a:t>
            </a:r>
            <a:endParaRPr lang="en-US" sz="1157" kern="0">
              <a:solidFill>
                <a:schemeClr val="tx2"/>
              </a:solidFill>
              <a:latin typeface="+mj-lt"/>
            </a:endParaRPr>
          </a:p>
        </p:txBody>
      </p:sp>
      <p:grpSp>
        <p:nvGrpSpPr>
          <p:cNvPr id="58" name="Group 57">
            <a:extLst>
              <a:ext uri="{FF2B5EF4-FFF2-40B4-BE49-F238E27FC236}">
                <a16:creationId xmlns:a16="http://schemas.microsoft.com/office/drawing/2014/main" id="{6610997E-3451-411D-AAFE-D6FF4E7BEF1C}"/>
              </a:ext>
            </a:extLst>
          </p:cNvPr>
          <p:cNvGrpSpPr/>
          <p:nvPr/>
        </p:nvGrpSpPr>
        <p:grpSpPr>
          <a:xfrm>
            <a:off x="7644422" y="4056010"/>
            <a:ext cx="2171805" cy="560170"/>
            <a:chOff x="7644422" y="4305391"/>
            <a:chExt cx="2171805" cy="560170"/>
          </a:xfrm>
        </p:grpSpPr>
        <p:sp>
          <p:nvSpPr>
            <p:cNvPr id="60" name="TextBox 59">
              <a:extLst>
                <a:ext uri="{FF2B5EF4-FFF2-40B4-BE49-F238E27FC236}">
                  <a16:creationId xmlns:a16="http://schemas.microsoft.com/office/drawing/2014/main" id="{302C41E6-31E2-43F4-BD3C-135F61E82238}"/>
                </a:ext>
              </a:extLst>
            </p:cNvPr>
            <p:cNvSpPr txBox="1"/>
            <p:nvPr/>
          </p:nvSpPr>
          <p:spPr>
            <a:xfrm>
              <a:off x="8285556" y="4305391"/>
              <a:ext cx="1530671" cy="549559"/>
            </a:xfrm>
            <a:prstGeom prst="rect">
              <a:avLst/>
            </a:prstGeom>
            <a:noFill/>
          </p:spPr>
          <p:txBody>
            <a:bodyPr wrap="square" lIns="0" tIns="40308" rIns="0" bIns="0" rtlCol="0">
              <a:spAutoFit/>
            </a:bodyPr>
            <a:lstStyle/>
            <a:p>
              <a:pPr algn="ctr" defTabSz="1007669" fontAlgn="auto">
                <a:lnSpc>
                  <a:spcPct val="85000"/>
                </a:lnSpc>
                <a:spcBef>
                  <a:spcPts val="0"/>
                </a:spcBef>
                <a:spcAft>
                  <a:spcPts val="661"/>
                </a:spcAft>
                <a:buClr>
                  <a:srgbClr val="FFE600"/>
                </a:buClr>
                <a:buSzPct val="70000"/>
                <a:defRPr/>
              </a:pPr>
              <a:r>
                <a:rPr lang="en-US" sz="1102" kern="0" dirty="0">
                  <a:solidFill>
                    <a:schemeClr val="bg1"/>
                  </a:solidFill>
                  <a:latin typeface="+mj-lt"/>
                </a:rPr>
                <a:t>Model performance evaluations</a:t>
              </a:r>
            </a:p>
            <a:p>
              <a:pPr defTabSz="1007669" fontAlgn="auto">
                <a:lnSpc>
                  <a:spcPct val="85000"/>
                </a:lnSpc>
                <a:spcBef>
                  <a:spcPts val="0"/>
                </a:spcBef>
                <a:spcAft>
                  <a:spcPts val="661"/>
                </a:spcAft>
                <a:buClr>
                  <a:srgbClr val="FFE600"/>
                </a:buClr>
                <a:buSzPct val="70000"/>
                <a:defRPr/>
              </a:pPr>
              <a:r>
                <a:rPr lang="en-US" sz="1000" i="1" kern="0" dirty="0">
                  <a:solidFill>
                    <a:schemeClr val="bg1"/>
                  </a:solidFill>
                </a:rPr>
                <a:t>Recall, Precision, AUC</a:t>
              </a:r>
            </a:p>
          </p:txBody>
        </p:sp>
        <p:grpSp>
          <p:nvGrpSpPr>
            <p:cNvPr id="95" name="Group 94">
              <a:extLst>
                <a:ext uri="{FF2B5EF4-FFF2-40B4-BE49-F238E27FC236}">
                  <a16:creationId xmlns:a16="http://schemas.microsoft.com/office/drawing/2014/main" id="{EA7FE41F-38A1-41FF-8C53-173B6AF94058}"/>
                </a:ext>
              </a:extLst>
            </p:cNvPr>
            <p:cNvGrpSpPr/>
            <p:nvPr/>
          </p:nvGrpSpPr>
          <p:grpSpPr>
            <a:xfrm>
              <a:off x="7644422" y="4378032"/>
              <a:ext cx="584365" cy="487529"/>
              <a:chOff x="17333913" y="2549525"/>
              <a:chExt cx="3006725" cy="2566988"/>
            </a:xfrm>
            <a:solidFill>
              <a:schemeClr val="accent5"/>
            </a:solidFill>
          </p:grpSpPr>
          <p:sp>
            <p:nvSpPr>
              <p:cNvPr id="96" name="Freeform 32">
                <a:extLst>
                  <a:ext uri="{FF2B5EF4-FFF2-40B4-BE49-F238E27FC236}">
                    <a16:creationId xmlns:a16="http://schemas.microsoft.com/office/drawing/2014/main" id="{0A21DAA5-65A1-43B2-A397-D1FF6AEC80D4}"/>
                  </a:ext>
                </a:extLst>
              </p:cNvPr>
              <p:cNvSpPr>
                <a:spLocks/>
              </p:cNvSpPr>
              <p:nvPr/>
            </p:nvSpPr>
            <p:spPr bwMode="auto">
              <a:xfrm>
                <a:off x="17333913" y="2735263"/>
                <a:ext cx="3006725" cy="1914525"/>
              </a:xfrm>
              <a:custGeom>
                <a:avLst/>
                <a:gdLst>
                  <a:gd name="T0" fmla="*/ 2504 w 2504"/>
                  <a:gd name="T1" fmla="*/ 86 h 1594"/>
                  <a:gd name="T2" fmla="*/ 2270 w 2504"/>
                  <a:gd name="T3" fmla="*/ 364 h 1594"/>
                  <a:gd name="T4" fmla="*/ 1997 w 2504"/>
                  <a:gd name="T5" fmla="*/ 684 h 1594"/>
                  <a:gd name="T6" fmla="*/ 1767 w 2504"/>
                  <a:gd name="T7" fmla="*/ 955 h 1594"/>
                  <a:gd name="T8" fmla="*/ 1649 w 2504"/>
                  <a:gd name="T9" fmla="*/ 1093 h 1594"/>
                  <a:gd name="T10" fmla="*/ 1576 w 2504"/>
                  <a:gd name="T11" fmla="*/ 1116 h 1594"/>
                  <a:gd name="T12" fmla="*/ 1268 w 2504"/>
                  <a:gd name="T13" fmla="*/ 1025 h 1594"/>
                  <a:gd name="T14" fmla="*/ 1234 w 2504"/>
                  <a:gd name="T15" fmla="*/ 1039 h 1594"/>
                  <a:gd name="T16" fmla="*/ 885 w 2504"/>
                  <a:gd name="T17" fmla="*/ 1557 h 1594"/>
                  <a:gd name="T18" fmla="*/ 796 w 2504"/>
                  <a:gd name="T19" fmla="*/ 1566 h 1594"/>
                  <a:gd name="T20" fmla="*/ 568 w 2504"/>
                  <a:gd name="T21" fmla="*/ 1345 h 1594"/>
                  <a:gd name="T22" fmla="*/ 475 w 2504"/>
                  <a:gd name="T23" fmla="*/ 1256 h 1594"/>
                  <a:gd name="T24" fmla="*/ 397 w 2504"/>
                  <a:gd name="T25" fmla="*/ 1320 h 1594"/>
                  <a:gd name="T26" fmla="*/ 96 w 2504"/>
                  <a:gd name="T27" fmla="*/ 1568 h 1594"/>
                  <a:gd name="T28" fmla="*/ 7 w 2504"/>
                  <a:gd name="T29" fmla="*/ 1553 h 1594"/>
                  <a:gd name="T30" fmla="*/ 0 w 2504"/>
                  <a:gd name="T31" fmla="*/ 1546 h 1594"/>
                  <a:gd name="T32" fmla="*/ 0 w 2504"/>
                  <a:gd name="T33" fmla="*/ 1518 h 1594"/>
                  <a:gd name="T34" fmla="*/ 77 w 2504"/>
                  <a:gd name="T35" fmla="*/ 1441 h 1594"/>
                  <a:gd name="T36" fmla="*/ 416 w 2504"/>
                  <a:gd name="T37" fmla="*/ 1162 h 1594"/>
                  <a:gd name="T38" fmla="*/ 442 w 2504"/>
                  <a:gd name="T39" fmla="*/ 1140 h 1594"/>
                  <a:gd name="T40" fmla="*/ 520 w 2504"/>
                  <a:gd name="T41" fmla="*/ 1147 h 1594"/>
                  <a:gd name="T42" fmla="*/ 677 w 2504"/>
                  <a:gd name="T43" fmla="*/ 1298 h 1594"/>
                  <a:gd name="T44" fmla="*/ 818 w 2504"/>
                  <a:gd name="T45" fmla="*/ 1434 h 1594"/>
                  <a:gd name="T46" fmla="*/ 830 w 2504"/>
                  <a:gd name="T47" fmla="*/ 1443 h 1594"/>
                  <a:gd name="T48" fmla="*/ 913 w 2504"/>
                  <a:gd name="T49" fmla="*/ 1320 h 1594"/>
                  <a:gd name="T50" fmla="*/ 1168 w 2504"/>
                  <a:gd name="T51" fmla="*/ 941 h 1594"/>
                  <a:gd name="T52" fmla="*/ 1256 w 2504"/>
                  <a:gd name="T53" fmla="*/ 908 h 1594"/>
                  <a:gd name="T54" fmla="*/ 1561 w 2504"/>
                  <a:gd name="T55" fmla="*/ 998 h 1594"/>
                  <a:gd name="T56" fmla="*/ 1594 w 2504"/>
                  <a:gd name="T57" fmla="*/ 987 h 1594"/>
                  <a:gd name="T58" fmla="*/ 1901 w 2504"/>
                  <a:gd name="T59" fmla="*/ 627 h 1594"/>
                  <a:gd name="T60" fmla="*/ 2172 w 2504"/>
                  <a:gd name="T61" fmla="*/ 310 h 1594"/>
                  <a:gd name="T62" fmla="*/ 2400 w 2504"/>
                  <a:gd name="T63" fmla="*/ 42 h 1594"/>
                  <a:gd name="T64" fmla="*/ 2504 w 2504"/>
                  <a:gd name="T65" fmla="*/ 58 h 1594"/>
                  <a:gd name="T66" fmla="*/ 2504 w 2504"/>
                  <a:gd name="T67" fmla="*/ 86 h 15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504" h="1594">
                    <a:moveTo>
                      <a:pt x="2504" y="86"/>
                    </a:moveTo>
                    <a:cubicBezTo>
                      <a:pt x="2426" y="179"/>
                      <a:pt x="2349" y="271"/>
                      <a:pt x="2270" y="364"/>
                    </a:cubicBezTo>
                    <a:cubicBezTo>
                      <a:pt x="2180" y="471"/>
                      <a:pt x="2089" y="578"/>
                      <a:pt x="1997" y="684"/>
                    </a:cubicBezTo>
                    <a:cubicBezTo>
                      <a:pt x="1921" y="775"/>
                      <a:pt x="1844" y="865"/>
                      <a:pt x="1767" y="955"/>
                    </a:cubicBezTo>
                    <a:cubicBezTo>
                      <a:pt x="1727" y="1001"/>
                      <a:pt x="1687" y="1046"/>
                      <a:pt x="1649" y="1093"/>
                    </a:cubicBezTo>
                    <a:cubicBezTo>
                      <a:pt x="1629" y="1117"/>
                      <a:pt x="1606" y="1125"/>
                      <a:pt x="1576" y="1116"/>
                    </a:cubicBezTo>
                    <a:cubicBezTo>
                      <a:pt x="1473" y="1086"/>
                      <a:pt x="1370" y="1056"/>
                      <a:pt x="1268" y="1025"/>
                    </a:cubicBezTo>
                    <a:cubicBezTo>
                      <a:pt x="1251" y="1020"/>
                      <a:pt x="1243" y="1026"/>
                      <a:pt x="1234" y="1039"/>
                    </a:cubicBezTo>
                    <a:cubicBezTo>
                      <a:pt x="1118" y="1212"/>
                      <a:pt x="1002" y="1385"/>
                      <a:pt x="885" y="1557"/>
                    </a:cubicBezTo>
                    <a:cubicBezTo>
                      <a:pt x="863" y="1590"/>
                      <a:pt x="825" y="1593"/>
                      <a:pt x="796" y="1566"/>
                    </a:cubicBezTo>
                    <a:cubicBezTo>
                      <a:pt x="720" y="1492"/>
                      <a:pt x="644" y="1419"/>
                      <a:pt x="568" y="1345"/>
                    </a:cubicBezTo>
                    <a:cubicBezTo>
                      <a:pt x="538" y="1316"/>
                      <a:pt x="508" y="1287"/>
                      <a:pt x="475" y="1256"/>
                    </a:cubicBezTo>
                    <a:cubicBezTo>
                      <a:pt x="449" y="1278"/>
                      <a:pt x="423" y="1299"/>
                      <a:pt x="397" y="1320"/>
                    </a:cubicBezTo>
                    <a:cubicBezTo>
                      <a:pt x="296" y="1403"/>
                      <a:pt x="196" y="1485"/>
                      <a:pt x="96" y="1568"/>
                    </a:cubicBezTo>
                    <a:cubicBezTo>
                      <a:pt x="63" y="1594"/>
                      <a:pt x="29" y="1588"/>
                      <a:pt x="7" y="1553"/>
                    </a:cubicBezTo>
                    <a:cubicBezTo>
                      <a:pt x="5" y="1550"/>
                      <a:pt x="2" y="1548"/>
                      <a:pt x="0" y="1546"/>
                    </a:cubicBezTo>
                    <a:cubicBezTo>
                      <a:pt x="0" y="1537"/>
                      <a:pt x="0" y="1527"/>
                      <a:pt x="0" y="1518"/>
                    </a:cubicBezTo>
                    <a:cubicBezTo>
                      <a:pt x="15" y="1482"/>
                      <a:pt x="49" y="1464"/>
                      <a:pt x="77" y="1441"/>
                    </a:cubicBezTo>
                    <a:cubicBezTo>
                      <a:pt x="189" y="1347"/>
                      <a:pt x="303" y="1255"/>
                      <a:pt x="416" y="1162"/>
                    </a:cubicBezTo>
                    <a:cubicBezTo>
                      <a:pt x="424" y="1154"/>
                      <a:pt x="433" y="1147"/>
                      <a:pt x="442" y="1140"/>
                    </a:cubicBezTo>
                    <a:cubicBezTo>
                      <a:pt x="466" y="1122"/>
                      <a:pt x="496" y="1124"/>
                      <a:pt x="520" y="1147"/>
                    </a:cubicBezTo>
                    <a:cubicBezTo>
                      <a:pt x="573" y="1197"/>
                      <a:pt x="625" y="1248"/>
                      <a:pt x="677" y="1298"/>
                    </a:cubicBezTo>
                    <a:cubicBezTo>
                      <a:pt x="724" y="1343"/>
                      <a:pt x="771" y="1389"/>
                      <a:pt x="818" y="1434"/>
                    </a:cubicBezTo>
                    <a:cubicBezTo>
                      <a:pt x="821" y="1437"/>
                      <a:pt x="825" y="1439"/>
                      <a:pt x="830" y="1443"/>
                    </a:cubicBezTo>
                    <a:cubicBezTo>
                      <a:pt x="858" y="1401"/>
                      <a:pt x="886" y="1361"/>
                      <a:pt x="913" y="1320"/>
                    </a:cubicBezTo>
                    <a:cubicBezTo>
                      <a:pt x="998" y="1194"/>
                      <a:pt x="1083" y="1067"/>
                      <a:pt x="1168" y="941"/>
                    </a:cubicBezTo>
                    <a:cubicBezTo>
                      <a:pt x="1194" y="902"/>
                      <a:pt x="1212" y="895"/>
                      <a:pt x="1256" y="908"/>
                    </a:cubicBezTo>
                    <a:cubicBezTo>
                      <a:pt x="1357" y="938"/>
                      <a:pt x="1459" y="967"/>
                      <a:pt x="1561" y="998"/>
                    </a:cubicBezTo>
                    <a:cubicBezTo>
                      <a:pt x="1575" y="1002"/>
                      <a:pt x="1584" y="1000"/>
                      <a:pt x="1594" y="987"/>
                    </a:cubicBezTo>
                    <a:cubicBezTo>
                      <a:pt x="1696" y="867"/>
                      <a:pt x="1799" y="747"/>
                      <a:pt x="1901" y="627"/>
                    </a:cubicBezTo>
                    <a:cubicBezTo>
                      <a:pt x="1992" y="522"/>
                      <a:pt x="2082" y="416"/>
                      <a:pt x="2172" y="310"/>
                    </a:cubicBezTo>
                    <a:cubicBezTo>
                      <a:pt x="2248" y="220"/>
                      <a:pt x="2324" y="131"/>
                      <a:pt x="2400" y="42"/>
                    </a:cubicBezTo>
                    <a:cubicBezTo>
                      <a:pt x="2436" y="0"/>
                      <a:pt x="2477" y="7"/>
                      <a:pt x="2504" y="58"/>
                    </a:cubicBezTo>
                    <a:cubicBezTo>
                      <a:pt x="2504" y="67"/>
                      <a:pt x="2504" y="77"/>
                      <a:pt x="2504" y="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lang="en-GB"/>
              </a:p>
            </p:txBody>
          </p:sp>
          <p:sp>
            <p:nvSpPr>
              <p:cNvPr id="97" name="Freeform 33">
                <a:extLst>
                  <a:ext uri="{FF2B5EF4-FFF2-40B4-BE49-F238E27FC236}">
                    <a16:creationId xmlns:a16="http://schemas.microsoft.com/office/drawing/2014/main" id="{3D53EF76-4A36-472F-98E5-2F023902B02D}"/>
                  </a:ext>
                </a:extLst>
              </p:cNvPr>
              <p:cNvSpPr>
                <a:spLocks/>
              </p:cNvSpPr>
              <p:nvPr/>
            </p:nvSpPr>
            <p:spPr bwMode="auto">
              <a:xfrm>
                <a:off x="18500725" y="3171825"/>
                <a:ext cx="619125" cy="898525"/>
              </a:xfrm>
              <a:custGeom>
                <a:avLst/>
                <a:gdLst>
                  <a:gd name="T0" fmla="*/ 514 w 516"/>
                  <a:gd name="T1" fmla="*/ 547 h 748"/>
                  <a:gd name="T2" fmla="*/ 412 w 516"/>
                  <a:gd name="T3" fmla="*/ 517 h 748"/>
                  <a:gd name="T4" fmla="*/ 276 w 516"/>
                  <a:gd name="T5" fmla="*/ 477 h 748"/>
                  <a:gd name="T6" fmla="*/ 151 w 516"/>
                  <a:gd name="T7" fmla="*/ 528 h 748"/>
                  <a:gd name="T8" fmla="*/ 14 w 516"/>
                  <a:gd name="T9" fmla="*/ 732 h 748"/>
                  <a:gd name="T10" fmla="*/ 2 w 516"/>
                  <a:gd name="T11" fmla="*/ 748 h 748"/>
                  <a:gd name="T12" fmla="*/ 0 w 516"/>
                  <a:gd name="T13" fmla="*/ 728 h 748"/>
                  <a:gd name="T14" fmla="*/ 0 w 516"/>
                  <a:gd name="T15" fmla="*/ 46 h 748"/>
                  <a:gd name="T16" fmla="*/ 46 w 516"/>
                  <a:gd name="T17" fmla="*/ 0 h 748"/>
                  <a:gd name="T18" fmla="*/ 471 w 516"/>
                  <a:gd name="T19" fmla="*/ 0 h 748"/>
                  <a:gd name="T20" fmla="*/ 515 w 516"/>
                  <a:gd name="T21" fmla="*/ 41 h 748"/>
                  <a:gd name="T22" fmla="*/ 515 w 516"/>
                  <a:gd name="T23" fmla="*/ 533 h 748"/>
                  <a:gd name="T24" fmla="*/ 514 w 516"/>
                  <a:gd name="T25" fmla="*/ 547 h 7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16" h="748">
                    <a:moveTo>
                      <a:pt x="514" y="547"/>
                    </a:moveTo>
                    <a:cubicBezTo>
                      <a:pt x="479" y="537"/>
                      <a:pt x="445" y="527"/>
                      <a:pt x="412" y="517"/>
                    </a:cubicBezTo>
                    <a:cubicBezTo>
                      <a:pt x="366" y="504"/>
                      <a:pt x="321" y="490"/>
                      <a:pt x="276" y="477"/>
                    </a:cubicBezTo>
                    <a:cubicBezTo>
                      <a:pt x="229" y="464"/>
                      <a:pt x="181" y="484"/>
                      <a:pt x="151" y="528"/>
                    </a:cubicBezTo>
                    <a:cubicBezTo>
                      <a:pt x="106" y="596"/>
                      <a:pt x="60" y="664"/>
                      <a:pt x="14" y="732"/>
                    </a:cubicBezTo>
                    <a:cubicBezTo>
                      <a:pt x="12" y="736"/>
                      <a:pt x="8" y="740"/>
                      <a:pt x="2" y="748"/>
                    </a:cubicBezTo>
                    <a:cubicBezTo>
                      <a:pt x="1" y="738"/>
                      <a:pt x="0" y="733"/>
                      <a:pt x="0" y="728"/>
                    </a:cubicBezTo>
                    <a:cubicBezTo>
                      <a:pt x="0" y="500"/>
                      <a:pt x="0" y="273"/>
                      <a:pt x="0" y="46"/>
                    </a:cubicBezTo>
                    <a:cubicBezTo>
                      <a:pt x="0" y="11"/>
                      <a:pt x="12" y="0"/>
                      <a:pt x="46" y="0"/>
                    </a:cubicBezTo>
                    <a:cubicBezTo>
                      <a:pt x="188" y="0"/>
                      <a:pt x="330" y="0"/>
                      <a:pt x="471" y="0"/>
                    </a:cubicBezTo>
                    <a:cubicBezTo>
                      <a:pt x="502" y="0"/>
                      <a:pt x="515" y="12"/>
                      <a:pt x="515" y="41"/>
                    </a:cubicBezTo>
                    <a:cubicBezTo>
                      <a:pt x="516" y="205"/>
                      <a:pt x="515" y="369"/>
                      <a:pt x="515" y="533"/>
                    </a:cubicBezTo>
                    <a:cubicBezTo>
                      <a:pt x="515" y="537"/>
                      <a:pt x="515" y="541"/>
                      <a:pt x="514" y="54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lang="en-GB"/>
              </a:p>
            </p:txBody>
          </p:sp>
          <p:sp>
            <p:nvSpPr>
              <p:cNvPr id="98" name="Freeform 34">
                <a:extLst>
                  <a:ext uri="{FF2B5EF4-FFF2-40B4-BE49-F238E27FC236}">
                    <a16:creationId xmlns:a16="http://schemas.microsoft.com/office/drawing/2014/main" id="{1430F368-8FE8-43ED-AE22-245E9EEF74F6}"/>
                  </a:ext>
                </a:extLst>
              </p:cNvPr>
              <p:cNvSpPr>
                <a:spLocks/>
              </p:cNvSpPr>
              <p:nvPr/>
            </p:nvSpPr>
            <p:spPr bwMode="auto">
              <a:xfrm>
                <a:off x="19465925" y="2549525"/>
                <a:ext cx="615950" cy="993775"/>
              </a:xfrm>
              <a:custGeom>
                <a:avLst/>
                <a:gdLst>
                  <a:gd name="T0" fmla="*/ 0 w 514"/>
                  <a:gd name="T1" fmla="*/ 828 h 828"/>
                  <a:gd name="T2" fmla="*/ 0 w 514"/>
                  <a:gd name="T3" fmla="*/ 800 h 828"/>
                  <a:gd name="T4" fmla="*/ 0 w 514"/>
                  <a:gd name="T5" fmla="*/ 51 h 828"/>
                  <a:gd name="T6" fmla="*/ 51 w 514"/>
                  <a:gd name="T7" fmla="*/ 0 h 828"/>
                  <a:gd name="T8" fmla="*/ 463 w 514"/>
                  <a:gd name="T9" fmla="*/ 0 h 828"/>
                  <a:gd name="T10" fmla="*/ 514 w 514"/>
                  <a:gd name="T11" fmla="*/ 50 h 828"/>
                  <a:gd name="T12" fmla="*/ 513 w 514"/>
                  <a:gd name="T13" fmla="*/ 212 h 828"/>
                  <a:gd name="T14" fmla="*/ 502 w 514"/>
                  <a:gd name="T15" fmla="*/ 240 h 828"/>
                  <a:gd name="T16" fmla="*/ 157 w 514"/>
                  <a:gd name="T17" fmla="*/ 646 h 828"/>
                  <a:gd name="T18" fmla="*/ 11 w 514"/>
                  <a:gd name="T19" fmla="*/ 816 h 828"/>
                  <a:gd name="T20" fmla="*/ 0 w 514"/>
                  <a:gd name="T21" fmla="*/ 828 h 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14" h="828">
                    <a:moveTo>
                      <a:pt x="0" y="828"/>
                    </a:moveTo>
                    <a:cubicBezTo>
                      <a:pt x="0" y="815"/>
                      <a:pt x="0" y="808"/>
                      <a:pt x="0" y="800"/>
                    </a:cubicBezTo>
                    <a:cubicBezTo>
                      <a:pt x="0" y="550"/>
                      <a:pt x="0" y="301"/>
                      <a:pt x="0" y="51"/>
                    </a:cubicBezTo>
                    <a:cubicBezTo>
                      <a:pt x="0" y="7"/>
                      <a:pt x="7" y="0"/>
                      <a:pt x="51" y="0"/>
                    </a:cubicBezTo>
                    <a:cubicBezTo>
                      <a:pt x="189" y="0"/>
                      <a:pt x="326" y="0"/>
                      <a:pt x="463" y="0"/>
                    </a:cubicBezTo>
                    <a:cubicBezTo>
                      <a:pt x="505" y="0"/>
                      <a:pt x="514" y="8"/>
                      <a:pt x="514" y="50"/>
                    </a:cubicBezTo>
                    <a:cubicBezTo>
                      <a:pt x="514" y="104"/>
                      <a:pt x="514" y="158"/>
                      <a:pt x="513" y="212"/>
                    </a:cubicBezTo>
                    <a:cubicBezTo>
                      <a:pt x="513" y="221"/>
                      <a:pt x="509" y="233"/>
                      <a:pt x="502" y="240"/>
                    </a:cubicBezTo>
                    <a:cubicBezTo>
                      <a:pt x="388" y="376"/>
                      <a:pt x="272" y="511"/>
                      <a:pt x="157" y="646"/>
                    </a:cubicBezTo>
                    <a:cubicBezTo>
                      <a:pt x="108" y="703"/>
                      <a:pt x="60" y="759"/>
                      <a:pt x="11" y="816"/>
                    </a:cubicBezTo>
                    <a:cubicBezTo>
                      <a:pt x="9" y="819"/>
                      <a:pt x="6" y="821"/>
                      <a:pt x="0" y="8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lang="en-GB"/>
              </a:p>
            </p:txBody>
          </p:sp>
          <p:sp>
            <p:nvSpPr>
              <p:cNvPr id="99" name="Freeform 35">
                <a:extLst>
                  <a:ext uri="{FF2B5EF4-FFF2-40B4-BE49-F238E27FC236}">
                    <a16:creationId xmlns:a16="http://schemas.microsoft.com/office/drawing/2014/main" id="{047FDB16-8996-479F-9A7D-39628310E5E7}"/>
                  </a:ext>
                </a:extLst>
              </p:cNvPr>
              <p:cNvSpPr>
                <a:spLocks/>
              </p:cNvSpPr>
              <p:nvPr/>
            </p:nvSpPr>
            <p:spPr bwMode="auto">
              <a:xfrm>
                <a:off x="17591088" y="3636963"/>
                <a:ext cx="617538" cy="620713"/>
              </a:xfrm>
              <a:custGeom>
                <a:avLst/>
                <a:gdLst>
                  <a:gd name="T0" fmla="*/ 0 w 514"/>
                  <a:gd name="T1" fmla="*/ 491 h 517"/>
                  <a:gd name="T2" fmla="*/ 0 w 514"/>
                  <a:gd name="T3" fmla="*/ 468 h 517"/>
                  <a:gd name="T4" fmla="*/ 0 w 514"/>
                  <a:gd name="T5" fmla="*/ 50 h 517"/>
                  <a:gd name="T6" fmla="*/ 51 w 514"/>
                  <a:gd name="T7" fmla="*/ 0 h 517"/>
                  <a:gd name="T8" fmla="*/ 466 w 514"/>
                  <a:gd name="T9" fmla="*/ 0 h 517"/>
                  <a:gd name="T10" fmla="*/ 514 w 514"/>
                  <a:gd name="T11" fmla="*/ 48 h 517"/>
                  <a:gd name="T12" fmla="*/ 514 w 514"/>
                  <a:gd name="T13" fmla="*/ 492 h 517"/>
                  <a:gd name="T14" fmla="*/ 514 w 514"/>
                  <a:gd name="T15" fmla="*/ 517 h 517"/>
                  <a:gd name="T16" fmla="*/ 470 w 514"/>
                  <a:gd name="T17" fmla="*/ 475 h 517"/>
                  <a:gd name="T18" fmla="*/ 342 w 514"/>
                  <a:gd name="T19" fmla="*/ 351 h 517"/>
                  <a:gd name="T20" fmla="*/ 177 w 514"/>
                  <a:gd name="T21" fmla="*/ 346 h 517"/>
                  <a:gd name="T22" fmla="*/ 0 w 514"/>
                  <a:gd name="T23" fmla="*/ 491 h 5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4" h="517">
                    <a:moveTo>
                      <a:pt x="0" y="491"/>
                    </a:moveTo>
                    <a:cubicBezTo>
                      <a:pt x="0" y="481"/>
                      <a:pt x="0" y="474"/>
                      <a:pt x="0" y="468"/>
                    </a:cubicBezTo>
                    <a:cubicBezTo>
                      <a:pt x="0" y="328"/>
                      <a:pt x="0" y="189"/>
                      <a:pt x="0" y="50"/>
                    </a:cubicBezTo>
                    <a:cubicBezTo>
                      <a:pt x="0" y="8"/>
                      <a:pt x="8" y="0"/>
                      <a:pt x="51" y="0"/>
                    </a:cubicBezTo>
                    <a:cubicBezTo>
                      <a:pt x="189" y="0"/>
                      <a:pt x="328" y="0"/>
                      <a:pt x="466" y="0"/>
                    </a:cubicBezTo>
                    <a:cubicBezTo>
                      <a:pt x="506" y="0"/>
                      <a:pt x="514" y="8"/>
                      <a:pt x="514" y="48"/>
                    </a:cubicBezTo>
                    <a:cubicBezTo>
                      <a:pt x="514" y="196"/>
                      <a:pt x="514" y="344"/>
                      <a:pt x="514" y="492"/>
                    </a:cubicBezTo>
                    <a:cubicBezTo>
                      <a:pt x="514" y="498"/>
                      <a:pt x="514" y="505"/>
                      <a:pt x="514" y="517"/>
                    </a:cubicBezTo>
                    <a:cubicBezTo>
                      <a:pt x="497" y="501"/>
                      <a:pt x="483" y="488"/>
                      <a:pt x="470" y="475"/>
                    </a:cubicBezTo>
                    <a:cubicBezTo>
                      <a:pt x="427" y="434"/>
                      <a:pt x="384" y="392"/>
                      <a:pt x="342" y="351"/>
                    </a:cubicBezTo>
                    <a:cubicBezTo>
                      <a:pt x="291" y="302"/>
                      <a:pt x="232" y="301"/>
                      <a:pt x="177" y="346"/>
                    </a:cubicBezTo>
                    <a:cubicBezTo>
                      <a:pt x="120" y="394"/>
                      <a:pt x="62" y="441"/>
                      <a:pt x="0" y="49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lang="en-GB"/>
              </a:p>
            </p:txBody>
          </p:sp>
          <p:sp>
            <p:nvSpPr>
              <p:cNvPr id="100" name="Freeform 36">
                <a:extLst>
                  <a:ext uri="{FF2B5EF4-FFF2-40B4-BE49-F238E27FC236}">
                    <a16:creationId xmlns:a16="http://schemas.microsoft.com/office/drawing/2014/main" id="{21969A13-962A-4462-8B49-6B0B2234CE8D}"/>
                  </a:ext>
                </a:extLst>
              </p:cNvPr>
              <p:cNvSpPr>
                <a:spLocks/>
              </p:cNvSpPr>
              <p:nvPr/>
            </p:nvSpPr>
            <p:spPr bwMode="auto">
              <a:xfrm>
                <a:off x="19464338" y="3232150"/>
                <a:ext cx="617538" cy="1884363"/>
              </a:xfrm>
              <a:custGeom>
                <a:avLst/>
                <a:gdLst>
                  <a:gd name="T0" fmla="*/ 515 w 515"/>
                  <a:gd name="T1" fmla="*/ 0 h 1569"/>
                  <a:gd name="T2" fmla="*/ 515 w 515"/>
                  <a:gd name="T3" fmla="*/ 41 h 1569"/>
                  <a:gd name="T4" fmla="*/ 515 w 515"/>
                  <a:gd name="T5" fmla="*/ 1517 h 1569"/>
                  <a:gd name="T6" fmla="*/ 514 w 515"/>
                  <a:gd name="T7" fmla="*/ 1539 h 1569"/>
                  <a:gd name="T8" fmla="*/ 484 w 515"/>
                  <a:gd name="T9" fmla="*/ 1569 h 1569"/>
                  <a:gd name="T10" fmla="*/ 464 w 515"/>
                  <a:gd name="T11" fmla="*/ 1569 h 1569"/>
                  <a:gd name="T12" fmla="*/ 50 w 515"/>
                  <a:gd name="T13" fmla="*/ 1569 h 1569"/>
                  <a:gd name="T14" fmla="*/ 1 w 515"/>
                  <a:gd name="T15" fmla="*/ 1520 h 1569"/>
                  <a:gd name="T16" fmla="*/ 0 w 515"/>
                  <a:gd name="T17" fmla="*/ 622 h 1569"/>
                  <a:gd name="T18" fmla="*/ 16 w 515"/>
                  <a:gd name="T19" fmla="*/ 583 h 1569"/>
                  <a:gd name="T20" fmla="*/ 226 w 515"/>
                  <a:gd name="T21" fmla="*/ 337 h 1569"/>
                  <a:gd name="T22" fmla="*/ 499 w 515"/>
                  <a:gd name="T23" fmla="*/ 17 h 1569"/>
                  <a:gd name="T24" fmla="*/ 515 w 515"/>
                  <a:gd name="T25" fmla="*/ 0 h 15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15" h="1569">
                    <a:moveTo>
                      <a:pt x="515" y="0"/>
                    </a:moveTo>
                    <a:cubicBezTo>
                      <a:pt x="515" y="17"/>
                      <a:pt x="515" y="29"/>
                      <a:pt x="515" y="41"/>
                    </a:cubicBezTo>
                    <a:cubicBezTo>
                      <a:pt x="515" y="533"/>
                      <a:pt x="515" y="1025"/>
                      <a:pt x="515" y="1517"/>
                    </a:cubicBezTo>
                    <a:cubicBezTo>
                      <a:pt x="515" y="1524"/>
                      <a:pt x="515" y="1532"/>
                      <a:pt x="514" y="1539"/>
                    </a:cubicBezTo>
                    <a:cubicBezTo>
                      <a:pt x="512" y="1557"/>
                      <a:pt x="502" y="1566"/>
                      <a:pt x="484" y="1569"/>
                    </a:cubicBezTo>
                    <a:cubicBezTo>
                      <a:pt x="478" y="1569"/>
                      <a:pt x="471" y="1569"/>
                      <a:pt x="464" y="1569"/>
                    </a:cubicBezTo>
                    <a:cubicBezTo>
                      <a:pt x="326" y="1569"/>
                      <a:pt x="188" y="1569"/>
                      <a:pt x="50" y="1569"/>
                    </a:cubicBezTo>
                    <a:cubicBezTo>
                      <a:pt x="9" y="1569"/>
                      <a:pt x="1" y="1561"/>
                      <a:pt x="1" y="1520"/>
                    </a:cubicBezTo>
                    <a:cubicBezTo>
                      <a:pt x="1" y="1221"/>
                      <a:pt x="1" y="922"/>
                      <a:pt x="0" y="622"/>
                    </a:cubicBezTo>
                    <a:cubicBezTo>
                      <a:pt x="0" y="607"/>
                      <a:pt x="5" y="595"/>
                      <a:pt x="16" y="583"/>
                    </a:cubicBezTo>
                    <a:cubicBezTo>
                      <a:pt x="86" y="502"/>
                      <a:pt x="156" y="419"/>
                      <a:pt x="226" y="337"/>
                    </a:cubicBezTo>
                    <a:cubicBezTo>
                      <a:pt x="317" y="230"/>
                      <a:pt x="408" y="123"/>
                      <a:pt x="499" y="17"/>
                    </a:cubicBezTo>
                    <a:cubicBezTo>
                      <a:pt x="503" y="12"/>
                      <a:pt x="507" y="8"/>
                      <a:pt x="51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lang="en-GB"/>
              </a:p>
            </p:txBody>
          </p:sp>
          <p:sp>
            <p:nvSpPr>
              <p:cNvPr id="101" name="Freeform 37">
                <a:extLst>
                  <a:ext uri="{FF2B5EF4-FFF2-40B4-BE49-F238E27FC236}">
                    <a16:creationId xmlns:a16="http://schemas.microsoft.com/office/drawing/2014/main" id="{14B95CF7-92AC-483E-BB77-926260007913}"/>
                  </a:ext>
                </a:extLst>
              </p:cNvPr>
              <p:cNvSpPr>
                <a:spLocks/>
              </p:cNvSpPr>
              <p:nvPr/>
            </p:nvSpPr>
            <p:spPr bwMode="auto">
              <a:xfrm>
                <a:off x="18500725" y="4027488"/>
                <a:ext cx="619125" cy="1089025"/>
              </a:xfrm>
              <a:custGeom>
                <a:avLst/>
                <a:gdLst>
                  <a:gd name="T0" fmla="*/ 515 w 516"/>
                  <a:gd name="T1" fmla="*/ 475 h 907"/>
                  <a:gd name="T2" fmla="*/ 515 w 516"/>
                  <a:gd name="T3" fmla="*/ 857 h 907"/>
                  <a:gd name="T4" fmla="*/ 466 w 516"/>
                  <a:gd name="T5" fmla="*/ 907 h 907"/>
                  <a:gd name="T6" fmla="*/ 50 w 516"/>
                  <a:gd name="T7" fmla="*/ 907 h 907"/>
                  <a:gd name="T8" fmla="*/ 0 w 516"/>
                  <a:gd name="T9" fmla="*/ 858 h 907"/>
                  <a:gd name="T10" fmla="*/ 1 w 516"/>
                  <a:gd name="T11" fmla="*/ 454 h 907"/>
                  <a:gd name="T12" fmla="*/ 10 w 516"/>
                  <a:gd name="T13" fmla="*/ 421 h 907"/>
                  <a:gd name="T14" fmla="*/ 283 w 516"/>
                  <a:gd name="T15" fmla="*/ 15 h 907"/>
                  <a:gd name="T16" fmla="*/ 309 w 516"/>
                  <a:gd name="T17" fmla="*/ 4 h 907"/>
                  <a:gd name="T18" fmla="*/ 499 w 516"/>
                  <a:gd name="T19" fmla="*/ 59 h 907"/>
                  <a:gd name="T20" fmla="*/ 516 w 516"/>
                  <a:gd name="T21" fmla="*/ 83 h 907"/>
                  <a:gd name="T22" fmla="*/ 515 w 516"/>
                  <a:gd name="T23" fmla="*/ 475 h 9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6" h="907">
                    <a:moveTo>
                      <a:pt x="515" y="475"/>
                    </a:moveTo>
                    <a:cubicBezTo>
                      <a:pt x="516" y="603"/>
                      <a:pt x="516" y="730"/>
                      <a:pt x="515" y="857"/>
                    </a:cubicBezTo>
                    <a:cubicBezTo>
                      <a:pt x="515" y="897"/>
                      <a:pt x="506" y="907"/>
                      <a:pt x="466" y="907"/>
                    </a:cubicBezTo>
                    <a:cubicBezTo>
                      <a:pt x="328" y="907"/>
                      <a:pt x="189" y="907"/>
                      <a:pt x="50" y="907"/>
                    </a:cubicBezTo>
                    <a:cubicBezTo>
                      <a:pt x="10" y="907"/>
                      <a:pt x="0" y="897"/>
                      <a:pt x="0" y="858"/>
                    </a:cubicBezTo>
                    <a:cubicBezTo>
                      <a:pt x="0" y="723"/>
                      <a:pt x="0" y="589"/>
                      <a:pt x="1" y="454"/>
                    </a:cubicBezTo>
                    <a:cubicBezTo>
                      <a:pt x="1" y="443"/>
                      <a:pt x="4" y="430"/>
                      <a:pt x="10" y="421"/>
                    </a:cubicBezTo>
                    <a:cubicBezTo>
                      <a:pt x="101" y="285"/>
                      <a:pt x="192" y="150"/>
                      <a:pt x="283" y="15"/>
                    </a:cubicBezTo>
                    <a:cubicBezTo>
                      <a:pt x="289" y="5"/>
                      <a:pt x="295" y="0"/>
                      <a:pt x="309" y="4"/>
                    </a:cubicBezTo>
                    <a:cubicBezTo>
                      <a:pt x="372" y="24"/>
                      <a:pt x="435" y="41"/>
                      <a:pt x="499" y="59"/>
                    </a:cubicBezTo>
                    <a:cubicBezTo>
                      <a:pt x="512" y="63"/>
                      <a:pt x="516" y="70"/>
                      <a:pt x="516" y="83"/>
                    </a:cubicBezTo>
                    <a:cubicBezTo>
                      <a:pt x="515" y="214"/>
                      <a:pt x="515" y="345"/>
                      <a:pt x="515" y="4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lang="en-GB"/>
              </a:p>
            </p:txBody>
          </p:sp>
          <p:sp>
            <p:nvSpPr>
              <p:cNvPr id="102" name="Freeform 38">
                <a:extLst>
                  <a:ext uri="{FF2B5EF4-FFF2-40B4-BE49-F238E27FC236}">
                    <a16:creationId xmlns:a16="http://schemas.microsoft.com/office/drawing/2014/main" id="{FE20C7ED-6ED6-467E-A459-E3700BB4D648}"/>
                  </a:ext>
                </a:extLst>
              </p:cNvPr>
              <p:cNvSpPr>
                <a:spLocks/>
              </p:cNvSpPr>
              <p:nvPr/>
            </p:nvSpPr>
            <p:spPr bwMode="auto">
              <a:xfrm>
                <a:off x="17591088" y="4324350"/>
                <a:ext cx="617538" cy="792163"/>
              </a:xfrm>
              <a:custGeom>
                <a:avLst/>
                <a:gdLst>
                  <a:gd name="T0" fmla="*/ 253 w 514"/>
                  <a:gd name="T1" fmla="*/ 0 h 660"/>
                  <a:gd name="T2" fmla="*/ 333 w 514"/>
                  <a:gd name="T3" fmla="*/ 76 h 660"/>
                  <a:gd name="T4" fmla="*/ 502 w 514"/>
                  <a:gd name="T5" fmla="*/ 241 h 660"/>
                  <a:gd name="T6" fmla="*/ 514 w 514"/>
                  <a:gd name="T7" fmla="*/ 266 h 660"/>
                  <a:gd name="T8" fmla="*/ 514 w 514"/>
                  <a:gd name="T9" fmla="*/ 618 h 660"/>
                  <a:gd name="T10" fmla="*/ 472 w 514"/>
                  <a:gd name="T11" fmla="*/ 660 h 660"/>
                  <a:gd name="T12" fmla="*/ 44 w 514"/>
                  <a:gd name="T13" fmla="*/ 660 h 660"/>
                  <a:gd name="T14" fmla="*/ 0 w 514"/>
                  <a:gd name="T15" fmla="*/ 617 h 660"/>
                  <a:gd name="T16" fmla="*/ 1 w 514"/>
                  <a:gd name="T17" fmla="*/ 219 h 660"/>
                  <a:gd name="T18" fmla="*/ 8 w 514"/>
                  <a:gd name="T19" fmla="*/ 198 h 660"/>
                  <a:gd name="T20" fmla="*/ 246 w 514"/>
                  <a:gd name="T21" fmla="*/ 3 h 660"/>
                  <a:gd name="T22" fmla="*/ 253 w 514"/>
                  <a:gd name="T23" fmla="*/ 0 h 6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4" h="660">
                    <a:moveTo>
                      <a:pt x="253" y="0"/>
                    </a:moveTo>
                    <a:cubicBezTo>
                      <a:pt x="280" y="25"/>
                      <a:pt x="307" y="51"/>
                      <a:pt x="333" y="76"/>
                    </a:cubicBezTo>
                    <a:cubicBezTo>
                      <a:pt x="390" y="131"/>
                      <a:pt x="446" y="186"/>
                      <a:pt x="502" y="241"/>
                    </a:cubicBezTo>
                    <a:cubicBezTo>
                      <a:pt x="509" y="247"/>
                      <a:pt x="514" y="258"/>
                      <a:pt x="514" y="266"/>
                    </a:cubicBezTo>
                    <a:cubicBezTo>
                      <a:pt x="514" y="383"/>
                      <a:pt x="514" y="501"/>
                      <a:pt x="514" y="618"/>
                    </a:cubicBezTo>
                    <a:cubicBezTo>
                      <a:pt x="514" y="650"/>
                      <a:pt x="504" y="660"/>
                      <a:pt x="472" y="660"/>
                    </a:cubicBezTo>
                    <a:cubicBezTo>
                      <a:pt x="329" y="660"/>
                      <a:pt x="187" y="660"/>
                      <a:pt x="44" y="660"/>
                    </a:cubicBezTo>
                    <a:cubicBezTo>
                      <a:pt x="11" y="660"/>
                      <a:pt x="1" y="650"/>
                      <a:pt x="0" y="617"/>
                    </a:cubicBezTo>
                    <a:cubicBezTo>
                      <a:pt x="0" y="484"/>
                      <a:pt x="0" y="352"/>
                      <a:pt x="1" y="219"/>
                    </a:cubicBezTo>
                    <a:cubicBezTo>
                      <a:pt x="1" y="212"/>
                      <a:pt x="3" y="202"/>
                      <a:pt x="8" y="198"/>
                    </a:cubicBezTo>
                    <a:cubicBezTo>
                      <a:pt x="87" y="133"/>
                      <a:pt x="167" y="68"/>
                      <a:pt x="246" y="3"/>
                    </a:cubicBezTo>
                    <a:cubicBezTo>
                      <a:pt x="248" y="2"/>
                      <a:pt x="250" y="1"/>
                      <a:pt x="25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lang="en-GB"/>
              </a:p>
            </p:txBody>
          </p:sp>
        </p:grpSp>
      </p:grpSp>
      <p:sp>
        <p:nvSpPr>
          <p:cNvPr id="84" name="Rectangle 83">
            <a:extLst>
              <a:ext uri="{FF2B5EF4-FFF2-40B4-BE49-F238E27FC236}">
                <a16:creationId xmlns:a16="http://schemas.microsoft.com/office/drawing/2014/main" id="{67D80ECF-EA25-4546-BC77-E267A58DDF04}"/>
              </a:ext>
            </a:extLst>
          </p:cNvPr>
          <p:cNvSpPr/>
          <p:nvPr/>
        </p:nvSpPr>
        <p:spPr>
          <a:xfrm>
            <a:off x="4096478" y="5250459"/>
            <a:ext cx="2627964" cy="684389"/>
          </a:xfrm>
          <a:prstGeom prst="rect">
            <a:avLst/>
          </a:prstGeom>
          <a:solidFill>
            <a:srgbClr val="FFFFFF"/>
          </a:solidFill>
          <a:ln w="9525" cap="flat" cmpd="sng" algn="ctr">
            <a:noFill/>
            <a:prstDash val="solid"/>
          </a:ln>
          <a:effectLst>
            <a:outerShdw blurRad="50800" dist="38100" dir="2700000" algn="tl" rotWithShape="0">
              <a:prstClr val="black">
                <a:alpha val="40000"/>
              </a:prstClr>
            </a:outerShdw>
          </a:effectLst>
        </p:spPr>
        <p:txBody>
          <a:bodyPr lIns="0" tIns="0" rIns="0" bIns="0" rtlCol="0" anchor="ctr"/>
          <a:lstStyle/>
          <a:p>
            <a:pPr defTabSz="1007669" fontAlgn="auto">
              <a:spcBef>
                <a:spcPts val="0"/>
              </a:spcBef>
              <a:spcAft>
                <a:spcPts val="0"/>
              </a:spcAft>
              <a:buClrTx/>
              <a:buSzTx/>
              <a:defRPr/>
            </a:pPr>
            <a:r>
              <a:rPr lang="en-US" sz="992" b="1" kern="0">
                <a:solidFill>
                  <a:srgbClr val="000000"/>
                </a:solidFill>
                <a:latin typeface="+mj-lt"/>
              </a:rPr>
              <a:t>3. Rapid prototyping and review</a:t>
            </a:r>
          </a:p>
          <a:p>
            <a:pPr marL="188938" indent="-188938" defTabSz="1007669" fontAlgn="auto">
              <a:spcBef>
                <a:spcPts val="0"/>
              </a:spcBef>
              <a:spcAft>
                <a:spcPts val="0"/>
              </a:spcAft>
              <a:buClrTx/>
              <a:buSzTx/>
              <a:buFont typeface="Arial" panose="020B0604020202020204" pitchFamily="34" charset="0"/>
              <a:buChar char="•"/>
              <a:defRPr/>
            </a:pPr>
            <a:r>
              <a:rPr lang="en-US" sz="992" kern="0">
                <a:solidFill>
                  <a:srgbClr val="000000"/>
                </a:solidFill>
              </a:rPr>
              <a:t>Engineer causal relationship features</a:t>
            </a:r>
          </a:p>
          <a:p>
            <a:pPr marL="188938" indent="-188938" defTabSz="1007669" fontAlgn="auto">
              <a:spcBef>
                <a:spcPts val="0"/>
              </a:spcBef>
              <a:spcAft>
                <a:spcPts val="0"/>
              </a:spcAft>
              <a:buClrTx/>
              <a:buSzTx/>
              <a:buFont typeface="Arial" panose="020B0604020202020204" pitchFamily="34" charset="0"/>
              <a:buChar char="•"/>
              <a:defRPr/>
            </a:pPr>
            <a:r>
              <a:rPr lang="en-US" sz="992" kern="0">
                <a:solidFill>
                  <a:srgbClr val="000000"/>
                </a:solidFill>
              </a:rPr>
              <a:t>Develop prototype models</a:t>
            </a:r>
          </a:p>
        </p:txBody>
      </p:sp>
      <p:grpSp>
        <p:nvGrpSpPr>
          <p:cNvPr id="57" name="Group 56">
            <a:extLst>
              <a:ext uri="{FF2B5EF4-FFF2-40B4-BE49-F238E27FC236}">
                <a16:creationId xmlns:a16="http://schemas.microsoft.com/office/drawing/2014/main" id="{00090ED1-23A4-4AC4-9A7E-094638E21925}"/>
              </a:ext>
            </a:extLst>
          </p:cNvPr>
          <p:cNvGrpSpPr/>
          <p:nvPr/>
        </p:nvGrpSpPr>
        <p:grpSpPr>
          <a:xfrm>
            <a:off x="7575241" y="4991315"/>
            <a:ext cx="2483159" cy="876018"/>
            <a:chOff x="7575241" y="5148336"/>
            <a:chExt cx="2483159" cy="876018"/>
          </a:xfrm>
        </p:grpSpPr>
        <p:grpSp>
          <p:nvGrpSpPr>
            <p:cNvPr id="76" name="Graphic 7" descr="Presentation with pie chart">
              <a:extLst>
                <a:ext uri="{FF2B5EF4-FFF2-40B4-BE49-F238E27FC236}">
                  <a16:creationId xmlns:a16="http://schemas.microsoft.com/office/drawing/2014/main" id="{9E1AEEC5-8062-4CEF-A942-43F6BB10209F}"/>
                </a:ext>
              </a:extLst>
            </p:cNvPr>
            <p:cNvGrpSpPr/>
            <p:nvPr/>
          </p:nvGrpSpPr>
          <p:grpSpPr>
            <a:xfrm>
              <a:off x="7575241" y="5148336"/>
              <a:ext cx="819005" cy="876018"/>
              <a:chOff x="7303543" y="3195148"/>
              <a:chExt cx="914400" cy="914400"/>
            </a:xfrm>
          </p:grpSpPr>
          <p:sp>
            <p:nvSpPr>
              <p:cNvPr id="77" name="Freeform: Shape 76">
                <a:extLst>
                  <a:ext uri="{FF2B5EF4-FFF2-40B4-BE49-F238E27FC236}">
                    <a16:creationId xmlns:a16="http://schemas.microsoft.com/office/drawing/2014/main" id="{B442AF19-DB2D-48BF-B5FB-6CB9D3150F0F}"/>
                  </a:ext>
                </a:extLst>
              </p:cNvPr>
              <p:cNvSpPr/>
              <p:nvPr/>
            </p:nvSpPr>
            <p:spPr>
              <a:xfrm>
                <a:off x="7783698" y="3585673"/>
                <a:ext cx="104775" cy="76200"/>
              </a:xfrm>
              <a:custGeom>
                <a:avLst/>
                <a:gdLst>
                  <a:gd name="connsiteX0" fmla="*/ 0 w 104775"/>
                  <a:gd name="connsiteY0" fmla="*/ 0 h 76200"/>
                  <a:gd name="connsiteX1" fmla="*/ 77724 w 104775"/>
                  <a:gd name="connsiteY1" fmla="*/ 77724 h 76200"/>
                  <a:gd name="connsiteX2" fmla="*/ 110395 w 104775"/>
                  <a:gd name="connsiteY2" fmla="*/ 0 h 76200"/>
                </a:gdLst>
                <a:ahLst/>
                <a:cxnLst>
                  <a:cxn ang="0">
                    <a:pos x="connsiteX0" y="connsiteY0"/>
                  </a:cxn>
                  <a:cxn ang="0">
                    <a:pos x="connsiteX1" y="connsiteY1"/>
                  </a:cxn>
                  <a:cxn ang="0">
                    <a:pos x="connsiteX2" y="connsiteY2"/>
                  </a:cxn>
                </a:cxnLst>
                <a:rect l="l" t="t" r="r" b="b"/>
                <a:pathLst>
                  <a:path w="104775" h="76200">
                    <a:moveTo>
                      <a:pt x="0" y="0"/>
                    </a:moveTo>
                    <a:lnTo>
                      <a:pt x="77724" y="77724"/>
                    </a:lnTo>
                    <a:cubicBezTo>
                      <a:pt x="96793" y="56068"/>
                      <a:pt x="108265" y="28776"/>
                      <a:pt x="110395" y="0"/>
                    </a:cubicBezTo>
                    <a:close/>
                  </a:path>
                </a:pathLst>
              </a:custGeom>
              <a:solidFill>
                <a:schemeClr val="accent5">
                  <a:lumMod val="40000"/>
                  <a:lumOff val="60000"/>
                </a:schemeClr>
              </a:solidFill>
              <a:ln w="9525" cap="flat">
                <a:noFill/>
                <a:prstDash val="solid"/>
                <a:miter/>
              </a:ln>
            </p:spPr>
            <p:txBody>
              <a:bodyPr rtlCol="0" anchor="ctr"/>
              <a:lstStyle/>
              <a:p>
                <a:endParaRPr lang="en-US"/>
              </a:p>
            </p:txBody>
          </p:sp>
          <p:sp>
            <p:nvSpPr>
              <p:cNvPr id="78" name="Freeform: Shape 77">
                <a:extLst>
                  <a:ext uri="{FF2B5EF4-FFF2-40B4-BE49-F238E27FC236}">
                    <a16:creationId xmlns:a16="http://schemas.microsoft.com/office/drawing/2014/main" id="{48EC1ECF-DE88-4A80-A545-C6A2567DF0D4}"/>
                  </a:ext>
                </a:extLst>
              </p:cNvPr>
              <p:cNvSpPr/>
              <p:nvPr/>
            </p:nvSpPr>
            <p:spPr>
              <a:xfrm>
                <a:off x="7627010" y="3443274"/>
                <a:ext cx="219075" cy="257175"/>
              </a:xfrm>
              <a:custGeom>
                <a:avLst/>
                <a:gdLst>
                  <a:gd name="connsiteX0" fmla="*/ 124208 w 219075"/>
                  <a:gd name="connsiteY0" fmla="*/ 136779 h 257175"/>
                  <a:gd name="connsiteX1" fmla="*/ 124208 w 219075"/>
                  <a:gd name="connsiteY1" fmla="*/ 0 h 257175"/>
                  <a:gd name="connsiteX2" fmla="*/ 319 w 219075"/>
                  <a:gd name="connsiteY2" fmla="*/ 142183 h 257175"/>
                  <a:gd name="connsiteX3" fmla="*/ 142502 w 219075"/>
                  <a:gd name="connsiteY3" fmla="*/ 266072 h 257175"/>
                  <a:gd name="connsiteX4" fmla="*/ 220982 w 219075"/>
                  <a:gd name="connsiteY4" fmla="*/ 233553 h 257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9075" h="257175">
                    <a:moveTo>
                      <a:pt x="124208" y="136779"/>
                    </a:moveTo>
                    <a:lnTo>
                      <a:pt x="124208" y="0"/>
                    </a:lnTo>
                    <a:cubicBezTo>
                      <a:pt x="50734" y="5051"/>
                      <a:pt x="-4733" y="68709"/>
                      <a:pt x="319" y="142183"/>
                    </a:cubicBezTo>
                    <a:cubicBezTo>
                      <a:pt x="5371" y="215657"/>
                      <a:pt x="69028" y="271123"/>
                      <a:pt x="142502" y="266072"/>
                    </a:cubicBezTo>
                    <a:cubicBezTo>
                      <a:pt x="171508" y="264078"/>
                      <a:pt x="199066" y="252658"/>
                      <a:pt x="220982" y="233553"/>
                    </a:cubicBezTo>
                    <a:close/>
                  </a:path>
                </a:pathLst>
              </a:custGeom>
              <a:solidFill>
                <a:schemeClr val="accent5"/>
              </a:solidFill>
              <a:ln w="9525" cap="flat">
                <a:noFill/>
                <a:prstDash val="solid"/>
                <a:miter/>
              </a:ln>
            </p:spPr>
            <p:txBody>
              <a:bodyPr rtlCol="0" anchor="ctr"/>
              <a:lstStyle/>
              <a:p>
                <a:endParaRPr lang="en-US"/>
              </a:p>
            </p:txBody>
          </p:sp>
          <p:sp>
            <p:nvSpPr>
              <p:cNvPr id="79" name="Freeform: Shape 78">
                <a:extLst>
                  <a:ext uri="{FF2B5EF4-FFF2-40B4-BE49-F238E27FC236}">
                    <a16:creationId xmlns:a16="http://schemas.microsoft.com/office/drawing/2014/main" id="{AE3AA5B0-AEFC-47FB-936B-FA08B0DEFE49}"/>
                  </a:ext>
                </a:extLst>
              </p:cNvPr>
              <p:cNvSpPr/>
              <p:nvPr/>
            </p:nvSpPr>
            <p:spPr>
              <a:xfrm>
                <a:off x="7770268" y="3443274"/>
                <a:ext cx="123825" cy="114300"/>
              </a:xfrm>
              <a:custGeom>
                <a:avLst/>
                <a:gdLst>
                  <a:gd name="connsiteX0" fmla="*/ 0 w 123825"/>
                  <a:gd name="connsiteY0" fmla="*/ 123349 h 114300"/>
                  <a:gd name="connsiteX1" fmla="*/ 123825 w 123825"/>
                  <a:gd name="connsiteY1" fmla="*/ 123349 h 114300"/>
                  <a:gd name="connsiteX2" fmla="*/ 0 w 123825"/>
                  <a:gd name="connsiteY2" fmla="*/ 0 h 114300"/>
                </a:gdLst>
                <a:ahLst/>
                <a:cxnLst>
                  <a:cxn ang="0">
                    <a:pos x="connsiteX0" y="connsiteY0"/>
                  </a:cxn>
                  <a:cxn ang="0">
                    <a:pos x="connsiteX1" y="connsiteY1"/>
                  </a:cxn>
                  <a:cxn ang="0">
                    <a:pos x="connsiteX2" y="connsiteY2"/>
                  </a:cxn>
                </a:cxnLst>
                <a:rect l="l" t="t" r="r" b="b"/>
                <a:pathLst>
                  <a:path w="123825" h="114300">
                    <a:moveTo>
                      <a:pt x="0" y="123349"/>
                    </a:moveTo>
                    <a:lnTo>
                      <a:pt x="123825" y="123349"/>
                    </a:lnTo>
                    <a:cubicBezTo>
                      <a:pt x="119003" y="57144"/>
                      <a:pt x="66223" y="4566"/>
                      <a:pt x="0" y="0"/>
                    </a:cubicBezTo>
                    <a:close/>
                  </a:path>
                </a:pathLst>
              </a:custGeom>
              <a:solidFill>
                <a:schemeClr val="accent5">
                  <a:lumMod val="20000"/>
                  <a:lumOff val="80000"/>
                </a:schemeClr>
              </a:solidFill>
              <a:ln w="9525" cap="flat">
                <a:noFill/>
                <a:prstDash val="solid"/>
                <a:miter/>
              </a:ln>
            </p:spPr>
            <p:txBody>
              <a:bodyPr rtlCol="0" anchor="ctr"/>
              <a:lstStyle/>
              <a:p>
                <a:endParaRPr lang="en-US"/>
              </a:p>
            </p:txBody>
          </p:sp>
          <p:sp>
            <p:nvSpPr>
              <p:cNvPr id="80" name="Freeform: Shape 79">
                <a:extLst>
                  <a:ext uri="{FF2B5EF4-FFF2-40B4-BE49-F238E27FC236}">
                    <a16:creationId xmlns:a16="http://schemas.microsoft.com/office/drawing/2014/main" id="{86FB6709-8F92-43A8-9319-7D5B6A092993}"/>
                  </a:ext>
                </a:extLst>
              </p:cNvPr>
              <p:cNvSpPr/>
              <p:nvPr/>
            </p:nvSpPr>
            <p:spPr>
              <a:xfrm>
                <a:off x="7398793" y="3299923"/>
                <a:ext cx="723900" cy="714375"/>
              </a:xfrm>
              <a:custGeom>
                <a:avLst/>
                <a:gdLst>
                  <a:gd name="connsiteX0" fmla="*/ 628650 w 723900"/>
                  <a:gd name="connsiteY0" fmla="*/ 104775 h 714375"/>
                  <a:gd name="connsiteX1" fmla="*/ 628650 w 723900"/>
                  <a:gd name="connsiteY1" fmla="*/ 447675 h 714375"/>
                  <a:gd name="connsiteX2" fmla="*/ 95250 w 723900"/>
                  <a:gd name="connsiteY2" fmla="*/ 447675 h 714375"/>
                  <a:gd name="connsiteX3" fmla="*/ 95250 w 723900"/>
                  <a:gd name="connsiteY3" fmla="*/ 104775 h 714375"/>
                  <a:gd name="connsiteX4" fmla="*/ 704850 w 723900"/>
                  <a:gd name="connsiteY4" fmla="*/ 466725 h 714375"/>
                  <a:gd name="connsiteX5" fmla="*/ 685800 w 723900"/>
                  <a:gd name="connsiteY5" fmla="*/ 466725 h 714375"/>
                  <a:gd name="connsiteX6" fmla="*/ 685800 w 723900"/>
                  <a:gd name="connsiteY6" fmla="*/ 76200 h 714375"/>
                  <a:gd name="connsiteX7" fmla="*/ 704850 w 723900"/>
                  <a:gd name="connsiteY7" fmla="*/ 76200 h 714375"/>
                  <a:gd name="connsiteX8" fmla="*/ 723900 w 723900"/>
                  <a:gd name="connsiteY8" fmla="*/ 57150 h 714375"/>
                  <a:gd name="connsiteX9" fmla="*/ 704850 w 723900"/>
                  <a:gd name="connsiteY9" fmla="*/ 38100 h 714375"/>
                  <a:gd name="connsiteX10" fmla="*/ 381000 w 723900"/>
                  <a:gd name="connsiteY10" fmla="*/ 38100 h 714375"/>
                  <a:gd name="connsiteX11" fmla="*/ 381000 w 723900"/>
                  <a:gd name="connsiteY11" fmla="*/ 19050 h 714375"/>
                  <a:gd name="connsiteX12" fmla="*/ 361950 w 723900"/>
                  <a:gd name="connsiteY12" fmla="*/ 0 h 714375"/>
                  <a:gd name="connsiteX13" fmla="*/ 342900 w 723900"/>
                  <a:gd name="connsiteY13" fmla="*/ 19050 h 714375"/>
                  <a:gd name="connsiteX14" fmla="*/ 342900 w 723900"/>
                  <a:gd name="connsiteY14" fmla="*/ 38100 h 714375"/>
                  <a:gd name="connsiteX15" fmla="*/ 19050 w 723900"/>
                  <a:gd name="connsiteY15" fmla="*/ 38100 h 714375"/>
                  <a:gd name="connsiteX16" fmla="*/ 0 w 723900"/>
                  <a:gd name="connsiteY16" fmla="*/ 57150 h 714375"/>
                  <a:gd name="connsiteX17" fmla="*/ 19050 w 723900"/>
                  <a:gd name="connsiteY17" fmla="*/ 76200 h 714375"/>
                  <a:gd name="connsiteX18" fmla="*/ 38100 w 723900"/>
                  <a:gd name="connsiteY18" fmla="*/ 76200 h 714375"/>
                  <a:gd name="connsiteX19" fmla="*/ 38100 w 723900"/>
                  <a:gd name="connsiteY19" fmla="*/ 466725 h 714375"/>
                  <a:gd name="connsiteX20" fmla="*/ 19050 w 723900"/>
                  <a:gd name="connsiteY20" fmla="*/ 466725 h 714375"/>
                  <a:gd name="connsiteX21" fmla="*/ 0 w 723900"/>
                  <a:gd name="connsiteY21" fmla="*/ 485775 h 714375"/>
                  <a:gd name="connsiteX22" fmla="*/ 19050 w 723900"/>
                  <a:gd name="connsiteY22" fmla="*/ 504825 h 714375"/>
                  <a:gd name="connsiteX23" fmla="*/ 309944 w 723900"/>
                  <a:gd name="connsiteY23" fmla="*/ 504825 h 714375"/>
                  <a:gd name="connsiteX24" fmla="*/ 163259 w 723900"/>
                  <a:gd name="connsiteY24" fmla="*/ 651510 h 714375"/>
                  <a:gd name="connsiteX25" fmla="*/ 163401 w 723900"/>
                  <a:gd name="connsiteY25" fmla="*/ 678609 h 714375"/>
                  <a:gd name="connsiteX26" fmla="*/ 190500 w 723900"/>
                  <a:gd name="connsiteY26" fmla="*/ 678466 h 714375"/>
                  <a:gd name="connsiteX27" fmla="*/ 342900 w 723900"/>
                  <a:gd name="connsiteY27" fmla="*/ 526066 h 714375"/>
                  <a:gd name="connsiteX28" fmla="*/ 342900 w 723900"/>
                  <a:gd name="connsiteY28" fmla="*/ 695325 h 714375"/>
                  <a:gd name="connsiteX29" fmla="*/ 361950 w 723900"/>
                  <a:gd name="connsiteY29" fmla="*/ 714375 h 714375"/>
                  <a:gd name="connsiteX30" fmla="*/ 381000 w 723900"/>
                  <a:gd name="connsiteY30" fmla="*/ 695325 h 714375"/>
                  <a:gd name="connsiteX31" fmla="*/ 381000 w 723900"/>
                  <a:gd name="connsiteY31" fmla="*/ 525780 h 714375"/>
                  <a:gd name="connsiteX32" fmla="*/ 533400 w 723900"/>
                  <a:gd name="connsiteY32" fmla="*/ 678180 h 714375"/>
                  <a:gd name="connsiteX33" fmla="*/ 560356 w 723900"/>
                  <a:gd name="connsiteY33" fmla="*/ 678180 h 714375"/>
                  <a:gd name="connsiteX34" fmla="*/ 560356 w 723900"/>
                  <a:gd name="connsiteY34" fmla="*/ 651224 h 714375"/>
                  <a:gd name="connsiteX35" fmla="*/ 413957 w 723900"/>
                  <a:gd name="connsiteY35" fmla="*/ 504825 h 714375"/>
                  <a:gd name="connsiteX36" fmla="*/ 704850 w 723900"/>
                  <a:gd name="connsiteY36" fmla="*/ 504825 h 714375"/>
                  <a:gd name="connsiteX37" fmla="*/ 723900 w 723900"/>
                  <a:gd name="connsiteY37" fmla="*/ 485775 h 714375"/>
                  <a:gd name="connsiteX38" fmla="*/ 704850 w 723900"/>
                  <a:gd name="connsiteY38" fmla="*/ 466725 h 714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723900" h="714375">
                    <a:moveTo>
                      <a:pt x="628650" y="104775"/>
                    </a:moveTo>
                    <a:lnTo>
                      <a:pt x="628650" y="447675"/>
                    </a:lnTo>
                    <a:lnTo>
                      <a:pt x="95250" y="447675"/>
                    </a:lnTo>
                    <a:lnTo>
                      <a:pt x="95250" y="104775"/>
                    </a:lnTo>
                    <a:close/>
                    <a:moveTo>
                      <a:pt x="704850" y="466725"/>
                    </a:moveTo>
                    <a:lnTo>
                      <a:pt x="685800" y="466725"/>
                    </a:lnTo>
                    <a:lnTo>
                      <a:pt x="685800" y="76200"/>
                    </a:lnTo>
                    <a:lnTo>
                      <a:pt x="704850" y="76200"/>
                    </a:lnTo>
                    <a:cubicBezTo>
                      <a:pt x="715371" y="76200"/>
                      <a:pt x="723900" y="67671"/>
                      <a:pt x="723900" y="57150"/>
                    </a:cubicBezTo>
                    <a:cubicBezTo>
                      <a:pt x="723900" y="46629"/>
                      <a:pt x="715371" y="38100"/>
                      <a:pt x="704850" y="38100"/>
                    </a:cubicBezTo>
                    <a:lnTo>
                      <a:pt x="381000" y="38100"/>
                    </a:lnTo>
                    <a:lnTo>
                      <a:pt x="381000" y="19050"/>
                    </a:lnTo>
                    <a:cubicBezTo>
                      <a:pt x="381000" y="8529"/>
                      <a:pt x="372471" y="0"/>
                      <a:pt x="361950" y="0"/>
                    </a:cubicBezTo>
                    <a:cubicBezTo>
                      <a:pt x="351429" y="0"/>
                      <a:pt x="342900" y="8529"/>
                      <a:pt x="342900" y="19050"/>
                    </a:cubicBezTo>
                    <a:lnTo>
                      <a:pt x="342900" y="38100"/>
                    </a:lnTo>
                    <a:lnTo>
                      <a:pt x="19050" y="38100"/>
                    </a:lnTo>
                    <a:cubicBezTo>
                      <a:pt x="8529" y="38100"/>
                      <a:pt x="0" y="46629"/>
                      <a:pt x="0" y="57150"/>
                    </a:cubicBezTo>
                    <a:cubicBezTo>
                      <a:pt x="0" y="67671"/>
                      <a:pt x="8529" y="76200"/>
                      <a:pt x="19050" y="76200"/>
                    </a:cubicBezTo>
                    <a:lnTo>
                      <a:pt x="38100" y="76200"/>
                    </a:lnTo>
                    <a:lnTo>
                      <a:pt x="38100" y="466725"/>
                    </a:lnTo>
                    <a:lnTo>
                      <a:pt x="19050" y="466725"/>
                    </a:lnTo>
                    <a:cubicBezTo>
                      <a:pt x="8529" y="466725"/>
                      <a:pt x="0" y="475254"/>
                      <a:pt x="0" y="485775"/>
                    </a:cubicBezTo>
                    <a:cubicBezTo>
                      <a:pt x="0" y="496296"/>
                      <a:pt x="8529" y="504825"/>
                      <a:pt x="19050" y="504825"/>
                    </a:cubicBezTo>
                    <a:lnTo>
                      <a:pt x="309944" y="504825"/>
                    </a:lnTo>
                    <a:lnTo>
                      <a:pt x="163259" y="651510"/>
                    </a:lnTo>
                    <a:cubicBezTo>
                      <a:pt x="155815" y="659033"/>
                      <a:pt x="155879" y="671165"/>
                      <a:pt x="163401" y="678609"/>
                    </a:cubicBezTo>
                    <a:cubicBezTo>
                      <a:pt x="170924" y="686052"/>
                      <a:pt x="183056" y="685989"/>
                      <a:pt x="190500" y="678466"/>
                    </a:cubicBezTo>
                    <a:lnTo>
                      <a:pt x="342900" y="526066"/>
                    </a:lnTo>
                    <a:lnTo>
                      <a:pt x="342900" y="695325"/>
                    </a:lnTo>
                    <a:cubicBezTo>
                      <a:pt x="342900" y="705846"/>
                      <a:pt x="351429" y="714375"/>
                      <a:pt x="361950" y="714375"/>
                    </a:cubicBezTo>
                    <a:cubicBezTo>
                      <a:pt x="372471" y="714375"/>
                      <a:pt x="381000" y="705846"/>
                      <a:pt x="381000" y="695325"/>
                    </a:cubicBezTo>
                    <a:lnTo>
                      <a:pt x="381000" y="525780"/>
                    </a:lnTo>
                    <a:lnTo>
                      <a:pt x="533400" y="678180"/>
                    </a:lnTo>
                    <a:cubicBezTo>
                      <a:pt x="540844" y="685624"/>
                      <a:pt x="552912" y="685624"/>
                      <a:pt x="560356" y="678180"/>
                    </a:cubicBezTo>
                    <a:cubicBezTo>
                      <a:pt x="567800" y="670736"/>
                      <a:pt x="567800" y="658668"/>
                      <a:pt x="560356" y="651224"/>
                    </a:cubicBezTo>
                    <a:lnTo>
                      <a:pt x="413957" y="504825"/>
                    </a:lnTo>
                    <a:lnTo>
                      <a:pt x="704850" y="504825"/>
                    </a:lnTo>
                    <a:cubicBezTo>
                      <a:pt x="715371" y="504825"/>
                      <a:pt x="723900" y="496296"/>
                      <a:pt x="723900" y="485775"/>
                    </a:cubicBezTo>
                    <a:cubicBezTo>
                      <a:pt x="723900" y="475254"/>
                      <a:pt x="715371" y="466725"/>
                      <a:pt x="704850" y="466725"/>
                    </a:cubicBezTo>
                    <a:close/>
                  </a:path>
                </a:pathLst>
              </a:custGeom>
              <a:solidFill>
                <a:schemeClr val="accent5"/>
              </a:solidFill>
              <a:ln w="9525" cap="flat">
                <a:noFill/>
                <a:prstDash val="solid"/>
                <a:miter/>
              </a:ln>
            </p:spPr>
            <p:txBody>
              <a:bodyPr rtlCol="0" anchor="ctr"/>
              <a:lstStyle/>
              <a:p>
                <a:endParaRPr lang="en-US"/>
              </a:p>
            </p:txBody>
          </p:sp>
        </p:grpSp>
        <p:sp>
          <p:nvSpPr>
            <p:cNvPr id="85" name="TextBox 84">
              <a:extLst>
                <a:ext uri="{FF2B5EF4-FFF2-40B4-BE49-F238E27FC236}">
                  <a16:creationId xmlns:a16="http://schemas.microsoft.com/office/drawing/2014/main" id="{992C5C10-EB59-4B7F-866E-7413A8695C8D}"/>
                </a:ext>
              </a:extLst>
            </p:cNvPr>
            <p:cNvSpPr txBox="1"/>
            <p:nvPr/>
          </p:nvSpPr>
          <p:spPr>
            <a:xfrm>
              <a:off x="8359589" y="5202027"/>
              <a:ext cx="1698811" cy="536222"/>
            </a:xfrm>
            <a:prstGeom prst="rect">
              <a:avLst/>
            </a:prstGeom>
            <a:noFill/>
          </p:spPr>
          <p:txBody>
            <a:bodyPr wrap="square" lIns="0" tIns="40308" rIns="0" bIns="0" rtlCol="0">
              <a:spAutoFit/>
            </a:bodyPr>
            <a:lstStyle/>
            <a:p>
              <a:pPr algn="ctr" defTabSz="1007669" fontAlgn="auto">
                <a:lnSpc>
                  <a:spcPct val="85000"/>
                </a:lnSpc>
                <a:spcBef>
                  <a:spcPts val="0"/>
                </a:spcBef>
                <a:spcAft>
                  <a:spcPts val="661"/>
                </a:spcAft>
                <a:buClr>
                  <a:srgbClr val="FFE600"/>
                </a:buClr>
                <a:buSzPct val="70000"/>
                <a:defRPr/>
              </a:pPr>
              <a:r>
                <a:rPr lang="en-US" sz="1102" kern="0" dirty="0">
                  <a:solidFill>
                    <a:schemeClr val="bg1"/>
                  </a:solidFill>
                  <a:latin typeface="+mj-lt"/>
                </a:rPr>
                <a:t>Model drift assessment</a:t>
              </a:r>
            </a:p>
            <a:p>
              <a:pPr defTabSz="1007669" fontAlgn="auto">
                <a:lnSpc>
                  <a:spcPct val="85000"/>
                </a:lnSpc>
                <a:spcBef>
                  <a:spcPts val="0"/>
                </a:spcBef>
                <a:spcAft>
                  <a:spcPts val="661"/>
                </a:spcAft>
                <a:buClr>
                  <a:srgbClr val="FFE600"/>
                </a:buClr>
                <a:buSzPct val="70000"/>
                <a:defRPr/>
              </a:pPr>
              <a:r>
                <a:rPr lang="en-US" sz="1000" i="1" kern="0" dirty="0">
                  <a:solidFill>
                    <a:schemeClr val="bg1"/>
                  </a:solidFill>
                </a:rPr>
                <a:t>Population stability, Characteristic stability</a:t>
              </a:r>
            </a:p>
          </p:txBody>
        </p:sp>
      </p:grpSp>
      <p:grpSp>
        <p:nvGrpSpPr>
          <p:cNvPr id="59" name="Group 58">
            <a:extLst>
              <a:ext uri="{FF2B5EF4-FFF2-40B4-BE49-F238E27FC236}">
                <a16:creationId xmlns:a16="http://schemas.microsoft.com/office/drawing/2014/main" id="{CF072CE9-B7B2-4E22-B833-E79232C47607}"/>
              </a:ext>
            </a:extLst>
          </p:cNvPr>
          <p:cNvGrpSpPr/>
          <p:nvPr/>
        </p:nvGrpSpPr>
        <p:grpSpPr>
          <a:xfrm>
            <a:off x="7560777" y="3074219"/>
            <a:ext cx="2118235" cy="648771"/>
            <a:chOff x="7560777" y="3379016"/>
            <a:chExt cx="2118235" cy="648771"/>
          </a:xfrm>
        </p:grpSpPr>
        <p:sp>
          <p:nvSpPr>
            <p:cNvPr id="86" name="TextBox 85">
              <a:extLst>
                <a:ext uri="{FF2B5EF4-FFF2-40B4-BE49-F238E27FC236}">
                  <a16:creationId xmlns:a16="http://schemas.microsoft.com/office/drawing/2014/main" id="{B17013A2-ED4B-4F4C-AAB0-5D222A2EB0F5}"/>
                </a:ext>
              </a:extLst>
            </p:cNvPr>
            <p:cNvSpPr txBox="1"/>
            <p:nvPr/>
          </p:nvSpPr>
          <p:spPr>
            <a:xfrm>
              <a:off x="8184101" y="3427055"/>
              <a:ext cx="1494911" cy="536222"/>
            </a:xfrm>
            <a:prstGeom prst="rect">
              <a:avLst/>
            </a:prstGeom>
            <a:noFill/>
          </p:spPr>
          <p:txBody>
            <a:bodyPr wrap="square" lIns="0" tIns="40308" rIns="0" bIns="0" rtlCol="0">
              <a:spAutoFit/>
            </a:bodyPr>
            <a:lstStyle/>
            <a:p>
              <a:pPr algn="ctr" defTabSz="1007669" fontAlgn="auto">
                <a:lnSpc>
                  <a:spcPct val="85000"/>
                </a:lnSpc>
                <a:spcBef>
                  <a:spcPts val="0"/>
                </a:spcBef>
                <a:spcAft>
                  <a:spcPts val="661"/>
                </a:spcAft>
                <a:buClr>
                  <a:srgbClr val="FFE600"/>
                </a:buClr>
                <a:buSzPct val="70000"/>
                <a:defRPr/>
              </a:pPr>
              <a:r>
                <a:rPr lang="en-US" sz="1102" kern="0" dirty="0">
                  <a:solidFill>
                    <a:schemeClr val="bg1"/>
                  </a:solidFill>
                  <a:latin typeface="+mj-lt"/>
                </a:rPr>
                <a:t>Model results</a:t>
              </a:r>
            </a:p>
            <a:p>
              <a:pPr defTabSz="1007669" fontAlgn="auto">
                <a:lnSpc>
                  <a:spcPct val="85000"/>
                </a:lnSpc>
                <a:spcBef>
                  <a:spcPts val="0"/>
                </a:spcBef>
                <a:spcAft>
                  <a:spcPts val="661"/>
                </a:spcAft>
                <a:buClr>
                  <a:srgbClr val="FFE600"/>
                </a:buClr>
                <a:buSzPct val="70000"/>
                <a:defRPr/>
              </a:pPr>
              <a:r>
                <a:rPr lang="en-US" sz="1000" i="1" kern="0" dirty="0">
                  <a:solidFill>
                    <a:schemeClr val="bg1"/>
                  </a:solidFill>
                </a:rPr>
                <a:t>Model interpretation, Feature importance</a:t>
              </a:r>
            </a:p>
          </p:txBody>
        </p:sp>
        <p:pic>
          <p:nvPicPr>
            <p:cNvPr id="103" name="Graphic 102" descr="Checklist RTL">
              <a:extLst>
                <a:ext uri="{FF2B5EF4-FFF2-40B4-BE49-F238E27FC236}">
                  <a16:creationId xmlns:a16="http://schemas.microsoft.com/office/drawing/2014/main" id="{15781C1B-0EE4-494D-BB62-6C472E9F9B9E}"/>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560777" y="3379016"/>
              <a:ext cx="648771" cy="648771"/>
            </a:xfrm>
            <a:prstGeom prst="rect">
              <a:avLst/>
            </a:prstGeom>
          </p:spPr>
        </p:pic>
      </p:grpSp>
      <p:sp>
        <p:nvSpPr>
          <p:cNvPr id="104" name="Rectangle 103">
            <a:extLst>
              <a:ext uri="{FF2B5EF4-FFF2-40B4-BE49-F238E27FC236}">
                <a16:creationId xmlns:a16="http://schemas.microsoft.com/office/drawing/2014/main" id="{F60CE76C-8F35-4846-A586-8FA2E9BB490D}"/>
              </a:ext>
            </a:extLst>
          </p:cNvPr>
          <p:cNvSpPr/>
          <p:nvPr/>
        </p:nvSpPr>
        <p:spPr>
          <a:xfrm>
            <a:off x="10495940" y="4429585"/>
            <a:ext cx="2393608" cy="415547"/>
          </a:xfrm>
          <a:prstGeom prst="rect">
            <a:avLst/>
          </a:prstGeom>
          <a:solidFill>
            <a:srgbClr val="646464">
              <a:lumMod val="60000"/>
              <a:lumOff val="40000"/>
            </a:srgbClr>
          </a:solidFill>
          <a:ln w="12700" cap="flat" cmpd="sng" algn="ctr">
            <a:noFill/>
            <a:prstDash val="sysDot"/>
          </a:ln>
          <a:effectLst/>
        </p:spPr>
        <p:txBody>
          <a:bodyPr rtlCol="0" anchor="ctr" anchorCtr="0"/>
          <a:lstStyle/>
          <a:p>
            <a:pPr algn="ctr" defTabSz="1007669" fontAlgn="auto">
              <a:spcBef>
                <a:spcPts val="0"/>
              </a:spcBef>
              <a:spcAft>
                <a:spcPts val="0"/>
              </a:spcAft>
              <a:buClrTx/>
              <a:buSzTx/>
              <a:defRPr/>
            </a:pPr>
            <a:r>
              <a:rPr lang="en-US" sz="1157" kern="0" dirty="0">
                <a:solidFill>
                  <a:srgbClr val="FFFFFF"/>
                </a:solidFill>
                <a:latin typeface="+mj-lt"/>
              </a:rPr>
              <a:t>Documentation &amp; delivery</a:t>
            </a:r>
          </a:p>
        </p:txBody>
      </p:sp>
      <p:sp>
        <p:nvSpPr>
          <p:cNvPr id="62" name="Arrow: Circular 61">
            <a:extLst>
              <a:ext uri="{FF2B5EF4-FFF2-40B4-BE49-F238E27FC236}">
                <a16:creationId xmlns:a16="http://schemas.microsoft.com/office/drawing/2014/main" id="{8837FE24-685C-46AF-A0C6-F5FA860DECA3}"/>
              </a:ext>
            </a:extLst>
          </p:cNvPr>
          <p:cNvSpPr/>
          <p:nvPr/>
        </p:nvSpPr>
        <p:spPr>
          <a:xfrm rot="20847014">
            <a:off x="6135355" y="1480928"/>
            <a:ext cx="1871217" cy="1587191"/>
          </a:xfrm>
          <a:prstGeom prst="circularArrow">
            <a:avLst>
              <a:gd name="adj1" fmla="val 7415"/>
              <a:gd name="adj2" fmla="val 1142319"/>
              <a:gd name="adj3" fmla="val 20549372"/>
              <a:gd name="adj4" fmla="val 12445586"/>
              <a:gd name="adj5" fmla="val 14095"/>
            </a:avLst>
          </a:prstGeom>
          <a:solidFill>
            <a:srgbClr val="91278F"/>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a:solidFill>
                <a:schemeClr val="tx1"/>
              </a:solidFill>
            </a:endParaRPr>
          </a:p>
        </p:txBody>
      </p:sp>
      <p:sp>
        <p:nvSpPr>
          <p:cNvPr id="107" name="Arrow: Circular 106">
            <a:extLst>
              <a:ext uri="{FF2B5EF4-FFF2-40B4-BE49-F238E27FC236}">
                <a16:creationId xmlns:a16="http://schemas.microsoft.com/office/drawing/2014/main" id="{7AA305EE-AF52-4E71-85F9-A84FC25EDA1D}"/>
              </a:ext>
            </a:extLst>
          </p:cNvPr>
          <p:cNvSpPr/>
          <p:nvPr/>
        </p:nvSpPr>
        <p:spPr>
          <a:xfrm rot="20482413" flipH="1" flipV="1">
            <a:off x="6209245" y="5001324"/>
            <a:ext cx="1871217" cy="1587191"/>
          </a:xfrm>
          <a:prstGeom prst="circularArrow">
            <a:avLst>
              <a:gd name="adj1" fmla="val 7415"/>
              <a:gd name="adj2" fmla="val 1142319"/>
              <a:gd name="adj3" fmla="val 20549372"/>
              <a:gd name="adj4" fmla="val 12445586"/>
              <a:gd name="adj5" fmla="val 14095"/>
            </a:avLst>
          </a:prstGeom>
          <a:solidFill>
            <a:srgbClr val="91278F"/>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a:solidFill>
                <a:schemeClr val="tx1"/>
              </a:solidFill>
            </a:endParaRPr>
          </a:p>
        </p:txBody>
      </p:sp>
      <p:sp>
        <p:nvSpPr>
          <p:cNvPr id="113" name="TextBox 112">
            <a:extLst>
              <a:ext uri="{FF2B5EF4-FFF2-40B4-BE49-F238E27FC236}">
                <a16:creationId xmlns:a16="http://schemas.microsoft.com/office/drawing/2014/main" id="{04012CA0-7B8D-46A6-9407-E23D98181E73}"/>
              </a:ext>
            </a:extLst>
          </p:cNvPr>
          <p:cNvSpPr txBox="1"/>
          <p:nvPr/>
        </p:nvSpPr>
        <p:spPr>
          <a:xfrm>
            <a:off x="6398470" y="6492779"/>
            <a:ext cx="1700678" cy="180819"/>
          </a:xfrm>
          <a:prstGeom prst="rect">
            <a:avLst/>
          </a:prstGeom>
          <a:noFill/>
        </p:spPr>
        <p:txBody>
          <a:bodyPr wrap="square" lIns="0" tIns="36576" rIns="0" bIns="0" rtlCol="0" anchor="ctr">
            <a:spAutoFit/>
          </a:bodyPr>
          <a:lstStyle/>
          <a:p>
            <a:pPr marL="0" marR="0" lvl="0" indent="0" algn="ctr" defTabSz="914400" rtl="0" eaLnBrk="1" fontAlgn="base" latinLnBrk="0" hangingPunct="1">
              <a:lnSpc>
                <a:spcPct val="85000"/>
              </a:lnSpc>
              <a:spcBef>
                <a:spcPct val="0"/>
              </a:spcBef>
              <a:spcAft>
                <a:spcPts val="0"/>
              </a:spcAft>
              <a:buClr>
                <a:srgbClr val="FFE600"/>
              </a:buClr>
              <a:buSzPct val="70000"/>
              <a:buFont typeface="Arial" charset="0"/>
              <a:buNone/>
              <a:tabLst/>
              <a:defRPr/>
            </a:pPr>
            <a:r>
              <a:rPr lang="en-GB" sz="1100" b="1" i="1">
                <a:solidFill>
                  <a:schemeClr val="tx1">
                    <a:lumMod val="50000"/>
                    <a:lumOff val="50000"/>
                  </a:schemeClr>
                </a:solidFill>
                <a:latin typeface="EYInterstate" panose="02000503020000020004" pitchFamily="2" charset="0"/>
              </a:rPr>
              <a:t>2 -3 iterations per model</a:t>
            </a:r>
            <a:endParaRPr kumimoji="0" lang="en-GB" sz="1100" b="1" i="1" u="none" strike="noStrike" kern="1200" cap="none" spc="0" normalizeH="0" baseline="0" noProof="0">
              <a:ln>
                <a:noFill/>
              </a:ln>
              <a:solidFill>
                <a:schemeClr val="tx1">
                  <a:lumMod val="50000"/>
                  <a:lumOff val="50000"/>
                </a:schemeClr>
              </a:solidFill>
              <a:effectLst/>
              <a:uLnTx/>
              <a:uFillTx/>
              <a:latin typeface="EYInterstate" panose="02000503020000020004" pitchFamily="2" charset="0"/>
            </a:endParaRPr>
          </a:p>
        </p:txBody>
      </p:sp>
    </p:spTree>
    <p:extLst>
      <p:ext uri="{BB962C8B-B14F-4D97-AF65-F5344CB8AC3E}">
        <p14:creationId xmlns:p14="http://schemas.microsoft.com/office/powerpoint/2010/main" val="176124163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SP_AGENDA" val="SectionNumber SlideNumber"/>
  <p:tag name="THINKCELLPRESENTATIONDONOTDELETE" val="&lt;?xml version=&quot;1.0&quot; encoding=&quot;UTF-16&quot; standalone=&quot;yes&quot;?&gt;&lt;root reqver=&quot;25060&quot;&gt;&lt;version val=&quot;2820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1&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bNumberIsYear val=&quot;0&quot;/&gt;&lt;m_strFormatTime&gt;%Y&lt;/m_strFormatTime&gt;&lt;m_yearfmt&gt;&lt;begin val=&quot;0&quot;/&gt;&lt;end val=&quot;0&quot;/&gt;&lt;/m_yearfmt&gt;&lt;/m_precDefaultYear&gt;&lt;m_precDefaultQuarter&gt;&lt;m_bNumberIsYear val=&quot;0&quot;/&gt;&lt;m_strFormatTime&gt;Q%5&lt;/m_strFormatTime&gt;&lt;m_yearfmt&gt;&lt;begin val=&quot;0&quot;/&gt;&lt;end val=&quot;4&quot;/&gt;&lt;/m_yearfmt&gt;&lt;/m_precDefaultQuarter&gt;&lt;m_precDefaultMonth&gt;&lt;m_bNumberIsYear val=&quot;0&quot;/&gt;&lt;m_strFormatTime&gt;%1&lt;/m_strFormatTime&gt;&lt;m_yearfmt&gt;&lt;begin val=&quot;0&quot;/&gt;&lt;end val=&quot;4&quot;/&gt;&lt;/m_yearfmt&gt;&lt;/m_precDefaultMonth&gt;&lt;m_precDefaultWeek&gt;&lt;m_bNumberIsYear val=&quot;0&quot;/&gt;&lt;m_strFormatTime&gt;%d.&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10&quot;&gt;&lt;elem m_fUsage=&quot;1.81086971427932530432E+00&quot;&gt;&lt;m_msothmcolidx val=&quot;0&quot;/&gt;&lt;m_rgb r=&quot;FF&quot; g=&quot;26&quot; b=&quot;00&quot;/&gt;&lt;m_nBrightness endver=&quot;26206&quot; val=&quot;0&quot;/&gt;&lt;/elem&gt;&lt;elem m_fUsage=&quot;1.73264075023245234242E+00&quot;&gt;&lt;m_msothmcolidx val=&quot;0&quot;/&gt;&lt;m_rgb r=&quot;FF&quot; g=&quot;F5&quot; b=&quot;99&quot;/&gt;&lt;m_nBrightness endver=&quot;26206&quot; val=&quot;0&quot;/&gt;&lt;/elem&gt;&lt;elem m_fUsage=&quot;1.70999999999999996447E+00&quot;&gt;&lt;m_msothmcolidx val=&quot;0&quot;/&gt;&lt;m_rgb r=&quot;0E&quot; g=&quot;A4&quot; b=&quot;AB&quot;/&gt;&lt;m_nBrightness endver=&quot;26206&quot; val=&quot;0&quot;/&gt;&lt;/elem&gt;&lt;elem m_fUsage=&quot;1.40260049651166718299E+00&quot;&gt;&lt;m_msothmcolidx val=&quot;0&quot;/&gt;&lt;m_rgb r=&quot;FF&quot; g=&quot;E6&quot; b=&quot;00&quot;/&gt;&lt;m_nBrightness endver=&quot;26206&quot; val=&quot;0&quot;/&gt;&lt;/elem&gt;&lt;elem m_fUsage=&quot;8.44676582832900257891E-01&quot;&gt;&lt;m_msothmcolidx val=&quot;0&quot;/&gt;&lt;m_rgb r=&quot;FF&quot; g=&quot;93&quot; b=&quot;00&quot;/&gt;&lt;m_nBrightness endver=&quot;26206&quot; val=&quot;0&quot;/&gt;&lt;/elem&gt;&lt;elem m_fUsage=&quot;8.24728310296525046752E-01&quot;&gt;&lt;m_msothmcolidx val=&quot;0&quot;/&gt;&lt;m_rgb r=&quot;FF&quot; g=&quot;FA&quot; b=&quot;CC&quot;/&gt;&lt;m_nBrightness endver=&quot;26206&quot; val=&quot;0&quot;/&gt;&lt;/elem&gt;&lt;elem m_fUsage=&quot;6.56100000000000127542E-01&quot;&gt;&lt;m_msothmcolidx val=&quot;0&quot;/&gt;&lt;m_rgb r=&quot;F0&quot; g=&quot;96&quot; b=&quot;0F&quot;/&gt;&lt;m_nBrightness endver=&quot;26206&quot; val=&quot;0&quot;/&gt;&lt;/elem&gt;&lt;elem m_fUsage=&quot;2.05891132094649098594E-01&quot;&gt;&lt;m_msothmcolidx val=&quot;0&quot;/&gt;&lt;m_rgb r=&quot;EB&quot; g=&quot;EB&quot; b=&quot;EB&quot;/&gt;&lt;m_nBrightness endver=&quot;26206&quot; val=&quot;0&quot;/&gt;&lt;/elem&gt;&lt;elem m_fUsage=&quot;1.21576654590569363523E-01&quot;&gt;&lt;m_msothmcolidx val=&quot;0&quot;/&gt;&lt;m_rgb r=&quot;76&quot; g=&quot;D6&quot; b=&quot;FF&quot;/&gt;&lt;m_nBrightness endver=&quot;26206&quot; val=&quot;0&quot;/&gt;&lt;/elem&gt;&lt;elem m_fUsage=&quot;1.09418989131512434110E-01&quot;&gt;&lt;m_msothmcolidx val=&quot;0&quot;/&gt;&lt;m_rgb r=&quot;00&quot; g=&quot;90&quot; b=&quot;51&quot;/&gt;&lt;m_nBrightness endver=&quot;26206&quot; val=&quot;0&quot;/&gt;&lt;/elem&gt;&lt;/m_vecMRU&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03iZDhqRQEWfcllVZk325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qSkxR9lUTG6y7DhZaqmhY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qSkxR9lUTG6y7DhZaqmhY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qSkxR9lUTG6y7DhZaqmhY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qSkxR9lUTG6y7DhZaqmhY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qSkxR9lUTG6y7DhZaqmhY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OMx4aXyDS66bCw6uSGG_Vg"/>
</p:tagLst>
</file>

<file path=ppt/tags/tag34.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757d167b-22f0-4ecf-94a7-5eabd54d56b3&quot; IsConsolidated=&quot;False&quot; IsTopLevel=&quot;False&quot; Layer=&quot;Harvey 8&quot; Source=&quot;Harvey 8&quot; /&gt;"/>
</p:tagLst>
</file>

<file path=ppt/tags/tag35.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757d167b-22f0-4ecf-94a7-5eabd54d56b3&quot; IsConsolidated=&quot;False&quot; IsTopLevel=&quot;False&quot; Layer=&quot;Harvey 0/8 [0]&quot; Source=&quot;Harvey 8&quot; /&gt;"/>
</p:tagLst>
</file>

<file path=ppt/tags/tag36.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757d167b-22f0-4ecf-94a7-5eabd54d56b3&quot; IsConsolidated=&quot;False&quot; IsTopLevel=&quot;False&quot; Layer=&quot;Harvey 1/8 [1]&quot; Source=&quot;Harvey 8&quot; /&gt;"/>
</p:tagLst>
</file>

<file path=ppt/tags/tag37.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757d167b-22f0-4ecf-94a7-5eabd54d56b3&quot; IsConsolidated=&quot;False&quot; IsTopLevel=&quot;False&quot; Layer=&quot;Harvey 2/8 [2]&quot; Source=&quot;Harvey 8&quot; /&gt;"/>
</p:tagLst>
</file>

<file path=ppt/tags/tag38.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757d167b-22f0-4ecf-94a7-5eabd54d56b3&quot; IsConsolidated=&quot;False&quot; IsTopLevel=&quot;False&quot; Layer=&quot;Harvey 3/8 [3]&quot; Source=&quot;Harvey 8&quot; /&gt;"/>
</p:tagLst>
</file>

<file path=ppt/tags/tag39.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757d167b-22f0-4ecf-94a7-5eabd54d56b3&quot; IsConsolidated=&quot;False&quot; IsTopLevel=&quot;False&quot; Layer=&quot;Harvey 4/8 [4]&quot; Source=&quot;Harvey 8&quot; /&gt;"/>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757d167b-22f0-4ecf-94a7-5eabd54d56b3&quot; IsConsolidated=&quot;False&quot; IsTopLevel=&quot;False&quot; Layer=&quot;Harvey 5/8 [5]&quot; Source=&quot;Harvey 8&quot; /&gt;"/>
</p:tagLst>
</file>

<file path=ppt/tags/tag41.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757d167b-22f0-4ecf-94a7-5eabd54d56b3&quot; IsConsolidated=&quot;False&quot; IsTopLevel=&quot;False&quot; Layer=&quot;Harvey 6/8 [6]&quot; Source=&quot;Harvey 8&quot; /&gt;"/>
</p:tagLst>
</file>

<file path=ppt/tags/tag42.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757d167b-22f0-4ecf-94a7-5eabd54d56b3&quot; IsConsolidated=&quot;False&quot; IsTopLevel=&quot;False&quot; Layer=&quot;Harvey 7/8 [7]&quot; Source=&quot;Harvey 8&quot; /&gt;"/>
</p:tagLst>
</file>

<file path=ppt/tags/tag43.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757d167b-22f0-4ecf-94a7-5eabd54d56b3&quot; IsConsolidated=&quot;False&quot; IsTopLevel=&quot;False&quot; Layer=&quot;Harvey 8/8 [8]&quot; Source=&quot;Harvey 8&quot; /&gt;"/>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CY6_ND1YQYy16M4q4NNqn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PQoAXiHljj0F7bXTTt.EU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qSkxR9lUTG6y7DhZaqmhY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03iZDhqRQEWfcllVZk325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qSkxR9lUTG6y7DhZaqmhY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03iZDhqRQEWfcllVZk325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qSkxR9lUTG6y7DhZaqmhY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03iZDhqRQEWfcllVZk325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OGDbYRDyO8wV1Rlf2y_Rc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qSkxR9lUTG6y7DhZaqmhYw"/>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flSp0CnbDBJXzJA6UFnt4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OGDbYRDyO8wV1Rlf2y_Rc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xpe..4J6xfV9Ca.ZLC6z_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OGDbYRDyO8wV1Rlf2y_Rc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OGDbYRDyO8wV1Rlf2y_Rc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OGDbYRDyO8wV1Rlf2y_Rc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OGDbYRDyO8wV1Rlf2y_Rc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OGDbYRDyO8wV1Rlf2y_RcQ"/>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OGDbYRDyO8wV1Rlf2y_Rc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EY widescreen presentation 2015 v1">
  <a:themeElements>
    <a:clrScheme name="Custom 2">
      <a:dk1>
        <a:srgbClr val="000000"/>
      </a:dk1>
      <a:lt1>
        <a:srgbClr val="646464"/>
      </a:lt1>
      <a:dk2>
        <a:srgbClr val="FFFFFF"/>
      </a:dk2>
      <a:lt2>
        <a:srgbClr val="646464"/>
      </a:lt2>
      <a:accent1>
        <a:srgbClr val="808080"/>
      </a:accent1>
      <a:accent2>
        <a:srgbClr val="FFE600"/>
      </a:accent2>
      <a:accent3>
        <a:srgbClr val="999999"/>
      </a:accent3>
      <a:accent4>
        <a:srgbClr val="F0F0F0"/>
      </a:accent4>
      <a:accent5>
        <a:srgbClr val="00A3AE"/>
      </a:accent5>
      <a:accent6>
        <a:srgbClr val="C0C0C0"/>
      </a:accent6>
      <a:hlink>
        <a:srgbClr val="336699"/>
      </a:hlink>
      <a:folHlink>
        <a:srgbClr val="91278F"/>
      </a:folHlink>
    </a:clrScheme>
    <a:fontScheme name="Custom 2">
      <a:majorFont>
        <a:latin typeface="EYInterstate"/>
        <a:ea typeface=""/>
        <a:cs typeface=""/>
      </a:majorFont>
      <a:minorFont>
        <a:latin typeface="EYInterstate"/>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algn="l">
          <a:lnSpc>
            <a:spcPct val="85000"/>
          </a:lnSpc>
          <a:spcAft>
            <a:spcPts val="600"/>
          </a:spcAft>
          <a:buClr>
            <a:schemeClr val="accent2"/>
          </a:buClr>
          <a:buSzPct val="70000"/>
          <a:defRPr sz="1400" dirty="0" smtClean="0">
            <a:solidFill>
              <a:schemeClr val="bg1"/>
            </a:solidFill>
            <a:latin typeface="EYInterstate" panose="02000503020000020004" pitchFamily="2" charset="0"/>
          </a:defRPr>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theme>
</file>

<file path=ppt/theme/theme10.xml><?xml version="1.0" encoding="utf-8"?>
<a:theme xmlns:a="http://schemas.openxmlformats.org/drawingml/2006/main" name="10_160426_Advisory Quality_Standard Proposal Template_v5.0">
  <a:themeElements>
    <a:clrScheme name="EY 2019">
      <a:dk1>
        <a:srgbClr val="2E2E38"/>
      </a:dk1>
      <a:lt1>
        <a:srgbClr val="F6F6FA"/>
      </a:lt1>
      <a:dk2>
        <a:srgbClr val="747480"/>
      </a:dk2>
      <a:lt2>
        <a:srgbClr val="C4C4CD"/>
      </a:lt2>
      <a:accent1>
        <a:srgbClr val="FFE600"/>
      </a:accent1>
      <a:accent2>
        <a:srgbClr val="750E5C"/>
      </a:accent2>
      <a:accent3>
        <a:srgbClr val="FF0000"/>
      </a:accent3>
      <a:accent4>
        <a:srgbClr val="FF6D00"/>
      </a:accent4>
      <a:accent5>
        <a:srgbClr val="2DB757"/>
      </a:accent5>
      <a:accent6>
        <a:srgbClr val="27ACAA"/>
      </a:accent6>
      <a:hlink>
        <a:srgbClr val="188CE5"/>
      </a:hlink>
      <a:folHlink>
        <a:srgbClr val="3D108A"/>
      </a:folHlink>
    </a:clrScheme>
    <a:fontScheme name="Custom 1">
      <a:majorFont>
        <a:latin typeface="EYInterstate Light"/>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tx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36576" rIns="0" bIns="0" rtlCol="0">
        <a:spAutoFit/>
      </a:bodyPr>
      <a:lstStyle>
        <a:defPPr marL="285750" indent="-285750">
          <a:lnSpc>
            <a:spcPct val="85000"/>
          </a:lnSpc>
          <a:spcAft>
            <a:spcPts val="600"/>
          </a:spcAft>
          <a:buClr>
            <a:schemeClr val="accent2"/>
          </a:buClr>
          <a:buSzPct val="70000"/>
          <a:buFont typeface="Arial" pitchFamily="34" charset="0"/>
          <a:buChar char="►"/>
          <a:defRPr sz="1200" dirty="0" smtClean="0"/>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extLst>
    <a:ext uri="{05A4C25C-085E-4340-85A3-A5531E510DB2}">
      <thm15:themeFamily xmlns:thm15="http://schemas.microsoft.com/office/thememl/2012/main" name="160701_Advisory Quality_Standard Proposal Template_v6.0.potx" id="{B65523EB-34D7-4AB0-8179-7DB9444CBC9A}" vid="{408D1D5F-476C-44BF-A9DB-06BADA6A41A0}"/>
    </a:ext>
  </a:extLst>
</a:theme>
</file>

<file path=ppt/theme/theme11.xml><?xml version="1.0" encoding="utf-8"?>
<a:theme xmlns:a="http://schemas.openxmlformats.org/drawingml/2006/main" name="3_EY widescreen presentation 2015 v1">
  <a:themeElements>
    <a:clrScheme name="Custom 2">
      <a:dk1>
        <a:srgbClr val="000000"/>
      </a:dk1>
      <a:lt1>
        <a:srgbClr val="646464"/>
      </a:lt1>
      <a:dk2>
        <a:srgbClr val="FFFFFF"/>
      </a:dk2>
      <a:lt2>
        <a:srgbClr val="646464"/>
      </a:lt2>
      <a:accent1>
        <a:srgbClr val="808080"/>
      </a:accent1>
      <a:accent2>
        <a:srgbClr val="FFE600"/>
      </a:accent2>
      <a:accent3>
        <a:srgbClr val="999999"/>
      </a:accent3>
      <a:accent4>
        <a:srgbClr val="F0F0F0"/>
      </a:accent4>
      <a:accent5>
        <a:srgbClr val="00A3AE"/>
      </a:accent5>
      <a:accent6>
        <a:srgbClr val="C0C0C0"/>
      </a:accent6>
      <a:hlink>
        <a:srgbClr val="336699"/>
      </a:hlink>
      <a:folHlink>
        <a:srgbClr val="91278F"/>
      </a:folHlink>
    </a:clrScheme>
    <a:fontScheme name="EY_Hando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theme>
</file>

<file path=ppt/theme/theme12.xml><?xml version="1.0" encoding="utf-8"?>
<a:theme xmlns:a="http://schemas.openxmlformats.org/drawingml/2006/main" name="EY dark background">
  <a:themeElements>
    <a:clrScheme name="EY Color">
      <a:dk1>
        <a:srgbClr val="2E2E38"/>
      </a:dk1>
      <a:lt1>
        <a:sysClr val="window" lastClr="FFFFFF"/>
      </a:lt1>
      <a:dk2>
        <a:srgbClr val="FFE600"/>
      </a:dk2>
      <a:lt2>
        <a:srgbClr val="000000"/>
      </a:lt2>
      <a:accent1>
        <a:srgbClr val="2DB757"/>
      </a:accent1>
      <a:accent2>
        <a:srgbClr val="27ACAA"/>
      </a:accent2>
      <a:accent3>
        <a:srgbClr val="188CE5"/>
      </a:accent3>
      <a:accent4>
        <a:srgbClr val="3D108A"/>
      </a:accent4>
      <a:accent5>
        <a:srgbClr val="FF4136"/>
      </a:accent5>
      <a:accent6>
        <a:srgbClr val="FF6D00"/>
      </a:accent6>
      <a:hlink>
        <a:srgbClr val="0000FF"/>
      </a:hlink>
      <a:folHlink>
        <a:srgbClr val="800080"/>
      </a:folHlink>
    </a:clrScheme>
    <a:fontScheme name="Custom 1">
      <a:majorFont>
        <a:latin typeface="EYInterstate Light"/>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extLst>
    <a:ext uri="{05A4C25C-085E-4340-85A3-A5531E510DB2}">
      <thm15:themeFamily xmlns:thm15="http://schemas.microsoft.com/office/thememl/2012/main" name="Presentation1" id="{9D42F0ED-38B3-49C5-8E3E-3D20229932F1}" vid="{58D1112F-36CD-43C8-A11B-86EB03647C86}"/>
    </a:ext>
  </a:extLst>
</a:theme>
</file>

<file path=ppt/theme/theme13.xml><?xml version="1.0" encoding="utf-8"?>
<a:theme xmlns:a="http://schemas.openxmlformats.org/drawingml/2006/main" name="2_EY light background">
  <a:themeElements>
    <a:clrScheme name="Custom 8">
      <a:dk1>
        <a:srgbClr val="FFFFFF"/>
      </a:dk1>
      <a:lt1>
        <a:srgbClr val="2E2E38"/>
      </a:lt1>
      <a:dk2>
        <a:srgbClr val="FFE600"/>
      </a:dk2>
      <a:lt2>
        <a:srgbClr val="000000"/>
      </a:lt2>
      <a:accent1>
        <a:srgbClr val="2DB757"/>
      </a:accent1>
      <a:accent2>
        <a:srgbClr val="27ACAA"/>
      </a:accent2>
      <a:accent3>
        <a:srgbClr val="188CE5"/>
      </a:accent3>
      <a:accent4>
        <a:srgbClr val="3D108A"/>
      </a:accent4>
      <a:accent5>
        <a:srgbClr val="FF4136"/>
      </a:accent5>
      <a:accent6>
        <a:srgbClr val="FF6D00"/>
      </a:accent6>
      <a:hlink>
        <a:srgbClr val="0000FF"/>
      </a:hlink>
      <a:folHlink>
        <a:srgbClr val="800080"/>
      </a:folHlink>
    </a:clrScheme>
    <a:fontScheme name="Custom 1">
      <a:majorFont>
        <a:latin typeface="EYInterstate Light"/>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extLst>
    <a:ext uri="{05A4C25C-085E-4340-85A3-A5531E510DB2}">
      <thm15:themeFamily xmlns:thm15="http://schemas.microsoft.com/office/thememl/2012/main" name="Global_EY_widescreen_presentation_2019_v1.4.pptx" id="{669A4694-7F8C-40EA-92E1-8E6D75010CAB}" vid="{C1504121-3530-4207-81A7-E4CD6CD6B810}"/>
    </a:ext>
  </a:extLst>
</a:theme>
</file>

<file path=ppt/theme/theme14.xml><?xml version="1.0" encoding="utf-8"?>
<a:theme xmlns:a="http://schemas.openxmlformats.org/drawingml/2006/main" name="8_EY widescreen presentation 2015 v1">
  <a:themeElements>
    <a:clrScheme name="Custom 2">
      <a:dk1>
        <a:srgbClr val="000000"/>
      </a:dk1>
      <a:lt1>
        <a:srgbClr val="646464"/>
      </a:lt1>
      <a:dk2>
        <a:srgbClr val="FFFFFF"/>
      </a:dk2>
      <a:lt2>
        <a:srgbClr val="646464"/>
      </a:lt2>
      <a:accent1>
        <a:srgbClr val="808080"/>
      </a:accent1>
      <a:accent2>
        <a:srgbClr val="FFE600"/>
      </a:accent2>
      <a:accent3>
        <a:srgbClr val="999999"/>
      </a:accent3>
      <a:accent4>
        <a:srgbClr val="F0F0F0"/>
      </a:accent4>
      <a:accent5>
        <a:srgbClr val="00A3AE"/>
      </a:accent5>
      <a:accent6>
        <a:srgbClr val="C0C0C0"/>
      </a:accent6>
      <a:hlink>
        <a:srgbClr val="336699"/>
      </a:hlink>
      <a:folHlink>
        <a:srgbClr val="91278F"/>
      </a:folHlink>
    </a:clrScheme>
    <a:fontScheme name="Custom 2">
      <a:majorFont>
        <a:latin typeface="EYInterstate"/>
        <a:ea typeface=""/>
        <a:cs typeface=""/>
      </a:majorFont>
      <a:minorFont>
        <a:latin typeface="EYInterstate"/>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algn="l">
          <a:lnSpc>
            <a:spcPct val="85000"/>
          </a:lnSpc>
          <a:spcAft>
            <a:spcPts val="600"/>
          </a:spcAft>
          <a:buClr>
            <a:schemeClr val="accent2"/>
          </a:buClr>
          <a:buSzPct val="70000"/>
          <a:defRPr sz="1400" dirty="0" smtClean="0">
            <a:solidFill>
              <a:schemeClr val="bg1"/>
            </a:solidFill>
            <a:latin typeface="EYInterstate" panose="02000503020000020004" pitchFamily="2" charset="0"/>
          </a:defRPr>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theme>
</file>

<file path=ppt/theme/theme15.xml><?xml version="1.0" encoding="utf-8"?>
<a:theme xmlns:a="http://schemas.openxmlformats.org/drawingml/2006/main" name="9_EY widescreen presentation 2015 v1">
  <a:themeElements>
    <a:clrScheme name="Custom 2">
      <a:dk1>
        <a:srgbClr val="000000"/>
      </a:dk1>
      <a:lt1>
        <a:srgbClr val="646464"/>
      </a:lt1>
      <a:dk2>
        <a:srgbClr val="FFFFFF"/>
      </a:dk2>
      <a:lt2>
        <a:srgbClr val="646464"/>
      </a:lt2>
      <a:accent1>
        <a:srgbClr val="808080"/>
      </a:accent1>
      <a:accent2>
        <a:srgbClr val="FFE600"/>
      </a:accent2>
      <a:accent3>
        <a:srgbClr val="999999"/>
      </a:accent3>
      <a:accent4>
        <a:srgbClr val="F0F0F0"/>
      </a:accent4>
      <a:accent5>
        <a:srgbClr val="00A3AE"/>
      </a:accent5>
      <a:accent6>
        <a:srgbClr val="C0C0C0"/>
      </a:accent6>
      <a:hlink>
        <a:srgbClr val="336699"/>
      </a:hlink>
      <a:folHlink>
        <a:srgbClr val="91278F"/>
      </a:folHlink>
    </a:clrScheme>
    <a:fontScheme name="Custom 2">
      <a:majorFont>
        <a:latin typeface="EYInterstate"/>
        <a:ea typeface=""/>
        <a:cs typeface=""/>
      </a:majorFont>
      <a:minorFont>
        <a:latin typeface="EYInterstate"/>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algn="l">
          <a:lnSpc>
            <a:spcPct val="85000"/>
          </a:lnSpc>
          <a:spcAft>
            <a:spcPts val="600"/>
          </a:spcAft>
          <a:buClr>
            <a:schemeClr val="accent2"/>
          </a:buClr>
          <a:buSzPct val="70000"/>
          <a:defRPr sz="1400" dirty="0" smtClean="0">
            <a:solidFill>
              <a:schemeClr val="bg1"/>
            </a:solidFill>
            <a:latin typeface="EYInterstate" panose="02000503020000020004" pitchFamily="2" charset="0"/>
          </a:defRPr>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theme>
</file>

<file path=ppt/theme/theme16.xml><?xml version="1.0" encoding="utf-8"?>
<a:theme xmlns:a="http://schemas.openxmlformats.org/drawingml/2006/main" name="10_EY widescreen presentation 2015 v1">
  <a:themeElements>
    <a:clrScheme name="Custom 2">
      <a:dk1>
        <a:srgbClr val="000000"/>
      </a:dk1>
      <a:lt1>
        <a:srgbClr val="646464"/>
      </a:lt1>
      <a:dk2>
        <a:srgbClr val="FFFFFF"/>
      </a:dk2>
      <a:lt2>
        <a:srgbClr val="646464"/>
      </a:lt2>
      <a:accent1>
        <a:srgbClr val="808080"/>
      </a:accent1>
      <a:accent2>
        <a:srgbClr val="FFE600"/>
      </a:accent2>
      <a:accent3>
        <a:srgbClr val="999999"/>
      </a:accent3>
      <a:accent4>
        <a:srgbClr val="F0F0F0"/>
      </a:accent4>
      <a:accent5>
        <a:srgbClr val="00A3AE"/>
      </a:accent5>
      <a:accent6>
        <a:srgbClr val="C0C0C0"/>
      </a:accent6>
      <a:hlink>
        <a:srgbClr val="336699"/>
      </a:hlink>
      <a:folHlink>
        <a:srgbClr val="91278F"/>
      </a:folHlink>
    </a:clrScheme>
    <a:fontScheme name="Custom 2">
      <a:majorFont>
        <a:latin typeface="EYInterstate"/>
        <a:ea typeface=""/>
        <a:cs typeface=""/>
      </a:majorFont>
      <a:minorFont>
        <a:latin typeface="EYInterstate"/>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algn="l">
          <a:lnSpc>
            <a:spcPct val="85000"/>
          </a:lnSpc>
          <a:spcAft>
            <a:spcPts val="600"/>
          </a:spcAft>
          <a:buClr>
            <a:schemeClr val="accent2"/>
          </a:buClr>
          <a:buSzPct val="70000"/>
          <a:defRPr sz="1400" dirty="0" smtClean="0">
            <a:solidFill>
              <a:schemeClr val="bg1"/>
            </a:solidFill>
            <a:latin typeface="EYInterstate" panose="02000503020000020004" pitchFamily="2" charset="0"/>
          </a:defRPr>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theme>
</file>

<file path=ppt/theme/theme17.xml><?xml version="1.0" encoding="utf-8"?>
<a:theme xmlns:a="http://schemas.openxmlformats.org/drawingml/2006/main" name="Office Theme">
  <a:themeElements>
    <a:clrScheme name="">
      <a:dk1>
        <a:srgbClr val="000000"/>
      </a:dk1>
      <a:lt1>
        <a:srgbClr val="FFFFFF"/>
      </a:lt1>
      <a:dk2>
        <a:srgbClr val="FDC204"/>
      </a:dk2>
      <a:lt2>
        <a:srgbClr val="FFFFFF"/>
      </a:lt2>
      <a:accent1>
        <a:srgbClr val="F00000"/>
      </a:accent1>
      <a:accent2>
        <a:srgbClr val="00B511"/>
      </a:accent2>
      <a:accent3>
        <a:srgbClr val="FFFFFF"/>
      </a:accent3>
      <a:accent4>
        <a:srgbClr val="000000"/>
      </a:accent4>
      <a:accent5>
        <a:srgbClr val="F6AAAA"/>
      </a:accent5>
      <a:accent6>
        <a:srgbClr val="00A40E"/>
      </a:accent6>
      <a:hlink>
        <a:srgbClr val="F66708"/>
      </a:hlink>
      <a:folHlink>
        <a:srgbClr val="0097ED"/>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8.xml><?xml version="1.0" encoding="utf-8"?>
<a:theme xmlns:a="http://schemas.openxmlformats.org/drawingml/2006/main" name="Office Theme">
  <a:themeElements>
    <a:clrScheme name="">
      <a:dk1>
        <a:srgbClr val="000000"/>
      </a:dk1>
      <a:lt1>
        <a:srgbClr val="FFFFFF"/>
      </a:lt1>
      <a:dk2>
        <a:srgbClr val="000000"/>
      </a:dk2>
      <a:lt2>
        <a:srgbClr val="FFFFFF"/>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EY widescreen presentation 2015 v1">
  <a:themeElements>
    <a:clrScheme name="Custom 2">
      <a:dk1>
        <a:srgbClr val="000000"/>
      </a:dk1>
      <a:lt1>
        <a:srgbClr val="646464"/>
      </a:lt1>
      <a:dk2>
        <a:srgbClr val="FFFFFF"/>
      </a:dk2>
      <a:lt2>
        <a:srgbClr val="646464"/>
      </a:lt2>
      <a:accent1>
        <a:srgbClr val="808080"/>
      </a:accent1>
      <a:accent2>
        <a:srgbClr val="FFE600"/>
      </a:accent2>
      <a:accent3>
        <a:srgbClr val="999999"/>
      </a:accent3>
      <a:accent4>
        <a:srgbClr val="F0F0F0"/>
      </a:accent4>
      <a:accent5>
        <a:srgbClr val="00A3AE"/>
      </a:accent5>
      <a:accent6>
        <a:srgbClr val="C0C0C0"/>
      </a:accent6>
      <a:hlink>
        <a:srgbClr val="336699"/>
      </a:hlink>
      <a:folHlink>
        <a:srgbClr val="91278F"/>
      </a:folHlink>
    </a:clrScheme>
    <a:fontScheme name="Custom 2">
      <a:majorFont>
        <a:latin typeface="EYInterstate"/>
        <a:ea typeface=""/>
        <a:cs typeface=""/>
      </a:majorFont>
      <a:minorFont>
        <a:latin typeface="EYInterstate"/>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algn="l">
          <a:lnSpc>
            <a:spcPct val="85000"/>
          </a:lnSpc>
          <a:spcAft>
            <a:spcPts val="600"/>
          </a:spcAft>
          <a:buClr>
            <a:schemeClr val="accent2"/>
          </a:buClr>
          <a:buSzPct val="70000"/>
          <a:defRPr sz="1400" dirty="0" smtClean="0">
            <a:solidFill>
              <a:schemeClr val="bg1"/>
            </a:solidFill>
            <a:latin typeface="EYInterstate" panose="02000503020000020004" pitchFamily="2" charset="0"/>
          </a:defRPr>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theme>
</file>

<file path=ppt/theme/theme3.xml><?xml version="1.0" encoding="utf-8"?>
<a:theme xmlns:a="http://schemas.openxmlformats.org/drawingml/2006/main" name="COVER">
  <a:themeElements>
    <a:clrScheme name="Custom 2">
      <a:dk1>
        <a:srgbClr val="000000"/>
      </a:dk1>
      <a:lt1>
        <a:srgbClr val="646464"/>
      </a:lt1>
      <a:dk2>
        <a:srgbClr val="FFFFFF"/>
      </a:dk2>
      <a:lt2>
        <a:srgbClr val="646464"/>
      </a:lt2>
      <a:accent1>
        <a:srgbClr val="808080"/>
      </a:accent1>
      <a:accent2>
        <a:srgbClr val="FFE600"/>
      </a:accent2>
      <a:accent3>
        <a:srgbClr val="999999"/>
      </a:accent3>
      <a:accent4>
        <a:srgbClr val="F0F0F0"/>
      </a:accent4>
      <a:accent5>
        <a:srgbClr val="00A3AE"/>
      </a:accent5>
      <a:accent6>
        <a:srgbClr val="C0C0C0"/>
      </a:accent6>
      <a:hlink>
        <a:srgbClr val="336699"/>
      </a:hlink>
      <a:folHlink>
        <a:srgbClr val="91278F"/>
      </a:folHlink>
    </a:clrScheme>
    <a:fontScheme name="EY_Hando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theme>
</file>

<file path=ppt/theme/theme4.xml><?xml version="1.0" encoding="utf-8"?>
<a:theme xmlns:a="http://schemas.openxmlformats.org/drawingml/2006/main" name="1_COVER">
  <a:themeElements>
    <a:clrScheme name="Custom 2">
      <a:dk1>
        <a:srgbClr val="000000"/>
      </a:dk1>
      <a:lt1>
        <a:srgbClr val="646464"/>
      </a:lt1>
      <a:dk2>
        <a:srgbClr val="FFFFFF"/>
      </a:dk2>
      <a:lt2>
        <a:srgbClr val="646464"/>
      </a:lt2>
      <a:accent1>
        <a:srgbClr val="808080"/>
      </a:accent1>
      <a:accent2>
        <a:srgbClr val="FFE600"/>
      </a:accent2>
      <a:accent3>
        <a:srgbClr val="999999"/>
      </a:accent3>
      <a:accent4>
        <a:srgbClr val="F0F0F0"/>
      </a:accent4>
      <a:accent5>
        <a:srgbClr val="00A3AE"/>
      </a:accent5>
      <a:accent6>
        <a:srgbClr val="C0C0C0"/>
      </a:accent6>
      <a:hlink>
        <a:srgbClr val="336699"/>
      </a:hlink>
      <a:folHlink>
        <a:srgbClr val="91278F"/>
      </a:folHlink>
    </a:clrScheme>
    <a:fontScheme name="EY_Hando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theme>
</file>

<file path=ppt/theme/theme5.xml><?xml version="1.0" encoding="utf-8"?>
<a:theme xmlns:a="http://schemas.openxmlformats.org/drawingml/2006/main" name="2_EY widescreen presentation 2015 v1">
  <a:themeElements>
    <a:clrScheme name="EY dark print-ready">
      <a:dk1>
        <a:srgbClr val="FFFFFF"/>
      </a:dk1>
      <a:lt1>
        <a:srgbClr val="FFFFFF"/>
      </a:lt1>
      <a:dk2>
        <a:srgbClr val="333333"/>
      </a:dk2>
      <a:lt2>
        <a:srgbClr val="FFE600"/>
      </a:lt2>
      <a:accent1>
        <a:srgbClr val="808080"/>
      </a:accent1>
      <a:accent2>
        <a:srgbClr val="FFE600"/>
      </a:accent2>
      <a:accent3>
        <a:srgbClr val="999999"/>
      </a:accent3>
      <a:accent4>
        <a:srgbClr val="F0F0F0"/>
      </a:accent4>
      <a:accent5>
        <a:srgbClr val="00A3AE"/>
      </a:accent5>
      <a:accent6>
        <a:srgbClr val="7FD1D6"/>
      </a:accent6>
      <a:hlink>
        <a:srgbClr val="336699"/>
      </a:hlink>
      <a:folHlink>
        <a:srgbClr val="91278F"/>
      </a:folHlink>
    </a:clrScheme>
    <a:fontScheme name="EY_Hando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extLst>
    <a:ext uri="{05A4C25C-085E-4340-85A3-A5531E510DB2}">
      <thm15:themeFamily xmlns:thm15="http://schemas.microsoft.com/office/thememl/2012/main" name="Proposal Response Draft v0.1-MASTER.potx" id="{08E4FC79-1444-490B-839A-DF00E59DADD6}" vid="{21A37D0A-8092-48F0-B154-74F60329F404}"/>
    </a:ext>
  </a:extLst>
</a:theme>
</file>

<file path=ppt/theme/theme6.xml><?xml version="1.0" encoding="utf-8"?>
<a:theme xmlns:a="http://schemas.openxmlformats.org/drawingml/2006/main" name="4_EY widescreen presentation 2015 v1">
  <a:themeElements>
    <a:clrScheme name="Custom 2">
      <a:dk1>
        <a:srgbClr val="000000"/>
      </a:dk1>
      <a:lt1>
        <a:srgbClr val="646464"/>
      </a:lt1>
      <a:dk2>
        <a:srgbClr val="FFFFFF"/>
      </a:dk2>
      <a:lt2>
        <a:srgbClr val="646464"/>
      </a:lt2>
      <a:accent1>
        <a:srgbClr val="808080"/>
      </a:accent1>
      <a:accent2>
        <a:srgbClr val="FFE600"/>
      </a:accent2>
      <a:accent3>
        <a:srgbClr val="999999"/>
      </a:accent3>
      <a:accent4>
        <a:srgbClr val="F0F0F0"/>
      </a:accent4>
      <a:accent5>
        <a:srgbClr val="00A3AE"/>
      </a:accent5>
      <a:accent6>
        <a:srgbClr val="C0C0C0"/>
      </a:accent6>
      <a:hlink>
        <a:srgbClr val="336699"/>
      </a:hlink>
      <a:folHlink>
        <a:srgbClr val="91278F"/>
      </a:folHlink>
    </a:clrScheme>
    <a:fontScheme name="Custom 2">
      <a:majorFont>
        <a:latin typeface="EYInterstate"/>
        <a:ea typeface=""/>
        <a:cs typeface=""/>
      </a:majorFont>
      <a:minorFont>
        <a:latin typeface="EYInterstate"/>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algn="l">
          <a:lnSpc>
            <a:spcPct val="85000"/>
          </a:lnSpc>
          <a:spcAft>
            <a:spcPts val="600"/>
          </a:spcAft>
          <a:buClr>
            <a:schemeClr val="accent2"/>
          </a:buClr>
          <a:buSzPct val="70000"/>
          <a:defRPr sz="1400" dirty="0" smtClean="0">
            <a:solidFill>
              <a:schemeClr val="bg1"/>
            </a:solidFill>
            <a:latin typeface="EYInterstate" panose="02000503020000020004" pitchFamily="2" charset="0"/>
          </a:defRPr>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theme>
</file>

<file path=ppt/theme/theme7.xml><?xml version="1.0" encoding="utf-8"?>
<a:theme xmlns:a="http://schemas.openxmlformats.org/drawingml/2006/main" name="5_EY widescreen presentation 2015 v1">
  <a:themeElements>
    <a:clrScheme name="Custom 2">
      <a:dk1>
        <a:srgbClr val="000000"/>
      </a:dk1>
      <a:lt1>
        <a:srgbClr val="646464"/>
      </a:lt1>
      <a:dk2>
        <a:srgbClr val="FFFFFF"/>
      </a:dk2>
      <a:lt2>
        <a:srgbClr val="646464"/>
      </a:lt2>
      <a:accent1>
        <a:srgbClr val="808080"/>
      </a:accent1>
      <a:accent2>
        <a:srgbClr val="FFE600"/>
      </a:accent2>
      <a:accent3>
        <a:srgbClr val="999999"/>
      </a:accent3>
      <a:accent4>
        <a:srgbClr val="F0F0F0"/>
      </a:accent4>
      <a:accent5>
        <a:srgbClr val="00A3AE"/>
      </a:accent5>
      <a:accent6>
        <a:srgbClr val="C0C0C0"/>
      </a:accent6>
      <a:hlink>
        <a:srgbClr val="336699"/>
      </a:hlink>
      <a:folHlink>
        <a:srgbClr val="91278F"/>
      </a:folHlink>
    </a:clrScheme>
    <a:fontScheme name="Custom 2">
      <a:majorFont>
        <a:latin typeface="EYInterstate"/>
        <a:ea typeface=""/>
        <a:cs typeface=""/>
      </a:majorFont>
      <a:minorFont>
        <a:latin typeface="EYInterstate"/>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algn="l">
          <a:lnSpc>
            <a:spcPct val="85000"/>
          </a:lnSpc>
          <a:spcAft>
            <a:spcPts val="600"/>
          </a:spcAft>
          <a:buClr>
            <a:schemeClr val="accent2"/>
          </a:buClr>
          <a:buSzPct val="70000"/>
          <a:defRPr sz="1400" dirty="0" smtClean="0">
            <a:solidFill>
              <a:schemeClr val="bg1"/>
            </a:solidFill>
            <a:latin typeface="EYInterstate" panose="02000503020000020004" pitchFamily="2" charset="0"/>
          </a:defRPr>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theme>
</file>

<file path=ppt/theme/theme8.xml><?xml version="1.0" encoding="utf-8"?>
<a:theme xmlns:a="http://schemas.openxmlformats.org/drawingml/2006/main" name="6_EY widescreen presentation 2015 v1">
  <a:themeElements>
    <a:clrScheme name="Custom 2">
      <a:dk1>
        <a:srgbClr val="000000"/>
      </a:dk1>
      <a:lt1>
        <a:srgbClr val="646464"/>
      </a:lt1>
      <a:dk2>
        <a:srgbClr val="FFFFFF"/>
      </a:dk2>
      <a:lt2>
        <a:srgbClr val="646464"/>
      </a:lt2>
      <a:accent1>
        <a:srgbClr val="808080"/>
      </a:accent1>
      <a:accent2>
        <a:srgbClr val="FFE600"/>
      </a:accent2>
      <a:accent3>
        <a:srgbClr val="999999"/>
      </a:accent3>
      <a:accent4>
        <a:srgbClr val="F0F0F0"/>
      </a:accent4>
      <a:accent5>
        <a:srgbClr val="00A3AE"/>
      </a:accent5>
      <a:accent6>
        <a:srgbClr val="C0C0C0"/>
      </a:accent6>
      <a:hlink>
        <a:srgbClr val="336699"/>
      </a:hlink>
      <a:folHlink>
        <a:srgbClr val="91278F"/>
      </a:folHlink>
    </a:clrScheme>
    <a:fontScheme name="Custom 2">
      <a:majorFont>
        <a:latin typeface="EYInterstate"/>
        <a:ea typeface=""/>
        <a:cs typeface=""/>
      </a:majorFont>
      <a:minorFont>
        <a:latin typeface="EYInterstate"/>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algn="l">
          <a:lnSpc>
            <a:spcPct val="85000"/>
          </a:lnSpc>
          <a:spcAft>
            <a:spcPts val="600"/>
          </a:spcAft>
          <a:buClr>
            <a:schemeClr val="accent2"/>
          </a:buClr>
          <a:buSzPct val="70000"/>
          <a:defRPr sz="1400" dirty="0" smtClean="0">
            <a:solidFill>
              <a:schemeClr val="bg1"/>
            </a:solidFill>
            <a:latin typeface="EYInterstate" panose="02000503020000020004" pitchFamily="2" charset="0"/>
          </a:defRPr>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theme>
</file>

<file path=ppt/theme/theme9.xml><?xml version="1.0" encoding="utf-8"?>
<a:theme xmlns:a="http://schemas.openxmlformats.org/drawingml/2006/main" name="7_EY widescreen presentation 2015 v1">
  <a:themeElements>
    <a:clrScheme name="Custom 2">
      <a:dk1>
        <a:srgbClr val="000000"/>
      </a:dk1>
      <a:lt1>
        <a:srgbClr val="646464"/>
      </a:lt1>
      <a:dk2>
        <a:srgbClr val="FFFFFF"/>
      </a:dk2>
      <a:lt2>
        <a:srgbClr val="646464"/>
      </a:lt2>
      <a:accent1>
        <a:srgbClr val="808080"/>
      </a:accent1>
      <a:accent2>
        <a:srgbClr val="FFE600"/>
      </a:accent2>
      <a:accent3>
        <a:srgbClr val="999999"/>
      </a:accent3>
      <a:accent4>
        <a:srgbClr val="F0F0F0"/>
      </a:accent4>
      <a:accent5>
        <a:srgbClr val="00A3AE"/>
      </a:accent5>
      <a:accent6>
        <a:srgbClr val="C0C0C0"/>
      </a:accent6>
      <a:hlink>
        <a:srgbClr val="336699"/>
      </a:hlink>
      <a:folHlink>
        <a:srgbClr val="91278F"/>
      </a:folHlink>
    </a:clrScheme>
    <a:fontScheme name="Custom 2">
      <a:majorFont>
        <a:latin typeface="EYInterstate"/>
        <a:ea typeface=""/>
        <a:cs typeface=""/>
      </a:majorFont>
      <a:minorFont>
        <a:latin typeface="EYInterstate"/>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algn="l">
          <a:lnSpc>
            <a:spcPct val="85000"/>
          </a:lnSpc>
          <a:spcAft>
            <a:spcPts val="600"/>
          </a:spcAft>
          <a:buClr>
            <a:schemeClr val="accent2"/>
          </a:buClr>
          <a:buSzPct val="70000"/>
          <a:defRPr sz="1400" dirty="0" smtClean="0">
            <a:solidFill>
              <a:schemeClr val="bg1"/>
            </a:solidFill>
            <a:latin typeface="EYInterstate" panose="02000503020000020004" pitchFamily="2" charset="0"/>
          </a:defRPr>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CB035FFC3FB0C84EB6C405646D18D4A9" ma:contentTypeVersion="2" ma:contentTypeDescription="Create a new document." ma:contentTypeScope="" ma:versionID="9aa6e657f367e8aa2fddfab14f56242f">
  <xsd:schema xmlns:xsd="http://www.w3.org/2001/XMLSchema" xmlns:xs="http://www.w3.org/2001/XMLSchema" xmlns:p="http://schemas.microsoft.com/office/2006/metadata/properties" xmlns:ns2="20be065d-0ec5-4da8-9dfa-b551edf19442" targetNamespace="http://schemas.microsoft.com/office/2006/metadata/properties" ma:root="true" ma:fieldsID="07e4778718293ec82fc502234164667b" ns2:_="">
    <xsd:import namespace="20be065d-0ec5-4da8-9dfa-b551edf19442"/>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0be065d-0ec5-4da8-9dfa-b551edf1944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BF598007-8D10-43C4-8AA5-7623275E6C46}">
  <ds:schemaRefs>
    <ds:schemaRef ds:uri="http://schemas.microsoft.com/sharepoint/v3/contenttype/forms"/>
  </ds:schemaRefs>
</ds:datastoreItem>
</file>

<file path=customXml/itemProps2.xml><?xml version="1.0" encoding="utf-8"?>
<ds:datastoreItem xmlns:ds="http://schemas.openxmlformats.org/officeDocument/2006/customXml" ds:itemID="{0FC99C30-8DC4-411D-90FD-EB1AEB685C6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0be065d-0ec5-4da8-9dfa-b551edf1944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CDA224B7-4CF9-491F-8E5D-CAD51811FC49}">
  <ds:schemaRefs>
    <ds:schemaRef ds:uri="http://purl.org/dc/terms/"/>
    <ds:schemaRef ds:uri="20be065d-0ec5-4da8-9dfa-b551edf19442"/>
    <ds:schemaRef ds:uri="http://schemas.microsoft.com/office/2006/documentManagement/types"/>
    <ds:schemaRef ds:uri="http://schemas.microsoft.com/office/infopath/2007/PartnerControls"/>
    <ds:schemaRef ds:uri="http://purl.org/dc/elements/1.1/"/>
    <ds:schemaRef ds:uri="http://schemas.microsoft.com/office/2006/metadata/properties"/>
    <ds:schemaRef ds:uri="http://schemas.openxmlformats.org/package/2006/metadata/core-propertie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
  <TotalTime>0</TotalTime>
  <Words>7025</Words>
  <Application>Microsoft Office PowerPoint</Application>
  <PresentationFormat>Custom</PresentationFormat>
  <Paragraphs>778</Paragraphs>
  <Slides>29</Slides>
  <Notes>17</Notes>
  <HiddenSlides>0</HiddenSlides>
  <MMClips>0</MMClips>
  <ScaleCrop>false</ScaleCrop>
  <HeadingPairs>
    <vt:vector size="8" baseType="variant">
      <vt:variant>
        <vt:lpstr>Fonts Used</vt:lpstr>
      </vt:variant>
      <vt:variant>
        <vt:i4>11</vt:i4>
      </vt:variant>
      <vt:variant>
        <vt:lpstr>Theme</vt:lpstr>
      </vt:variant>
      <vt:variant>
        <vt:i4>16</vt:i4>
      </vt:variant>
      <vt:variant>
        <vt:lpstr>Embedded OLE Servers</vt:lpstr>
      </vt:variant>
      <vt:variant>
        <vt:i4>1</vt:i4>
      </vt:variant>
      <vt:variant>
        <vt:lpstr>Slide Titles</vt:lpstr>
      </vt:variant>
      <vt:variant>
        <vt:i4>29</vt:i4>
      </vt:variant>
    </vt:vector>
  </HeadingPairs>
  <TitlesOfParts>
    <vt:vector size="57" baseType="lpstr">
      <vt:lpstr>Arial</vt:lpstr>
      <vt:lpstr>Calibri</vt:lpstr>
      <vt:lpstr>Courier New</vt:lpstr>
      <vt:lpstr>EYInterstate</vt:lpstr>
      <vt:lpstr>EYInterstate Bold</vt:lpstr>
      <vt:lpstr>EYInterstate Light</vt:lpstr>
      <vt:lpstr>EYInterstate Regular</vt:lpstr>
      <vt:lpstr>EYInterstate-Light</vt:lpstr>
      <vt:lpstr>EYInterstate-LightBold</vt:lpstr>
      <vt:lpstr>Wingdings</vt:lpstr>
      <vt:lpstr>Wingdings 3</vt:lpstr>
      <vt:lpstr>EY widescreen presentation 2015 v1</vt:lpstr>
      <vt:lpstr>1_EY widescreen presentation 2015 v1</vt:lpstr>
      <vt:lpstr>COVER</vt:lpstr>
      <vt:lpstr>1_COVER</vt:lpstr>
      <vt:lpstr>2_EY widescreen presentation 2015 v1</vt:lpstr>
      <vt:lpstr>4_EY widescreen presentation 2015 v1</vt:lpstr>
      <vt:lpstr>5_EY widescreen presentation 2015 v1</vt:lpstr>
      <vt:lpstr>6_EY widescreen presentation 2015 v1</vt:lpstr>
      <vt:lpstr>7_EY widescreen presentation 2015 v1</vt:lpstr>
      <vt:lpstr>10_160426_Advisory Quality_Standard Proposal Template_v5.0</vt:lpstr>
      <vt:lpstr>3_EY widescreen presentation 2015 v1</vt:lpstr>
      <vt:lpstr>EY dark background</vt:lpstr>
      <vt:lpstr>2_EY light background</vt:lpstr>
      <vt:lpstr>8_EY widescreen presentation 2015 v1</vt:lpstr>
      <vt:lpstr>9_EY widescreen presentation 2015 v1</vt:lpstr>
      <vt:lpstr>10_EY widescreen presentation 2015 v1</vt:lpstr>
      <vt:lpstr>think-cell Slide</vt:lpstr>
      <vt:lpstr>PowerPoint Presentation</vt:lpstr>
      <vt:lpstr>PowerPoint Presentation</vt:lpstr>
      <vt:lpstr>Table of Contents</vt:lpstr>
      <vt:lpstr>Our understanding of your needs</vt:lpstr>
      <vt:lpstr>Table of Contents</vt:lpstr>
      <vt:lpstr>EY has a strong D&amp;A team in APAC with 1500+ experienced people who deliver business-need led analytics through assets &amp; accelerators</vt:lpstr>
      <vt:lpstr>With our diverse existing engagements with GE, we believe that we are best positioned to deliver accelerated and optimized outcome for the current ask</vt:lpstr>
      <vt:lpstr>Table of Contents</vt:lpstr>
      <vt:lpstr>We will build the Propensity-to-buy models through an iterative approach and ensure that the features selected by the models are diverse and make logical business sense</vt:lpstr>
      <vt:lpstr>We will enable the development of Propensity-to-buy models through a 2-stage approach ensuring quality and performance</vt:lpstr>
      <vt:lpstr>We will engineer the complete 360° customer view in our feature universe to identify meaningful causality relationships</vt:lpstr>
      <vt:lpstr>We are tool-agnostic for SAS Viya or open-source software to be used for data aggregation, quality assessment, model development and testing</vt:lpstr>
      <vt:lpstr>Table of Contents</vt:lpstr>
      <vt:lpstr>Project timeline</vt:lpstr>
      <vt:lpstr>Key assumptions</vt:lpstr>
      <vt:lpstr>Table of Contents</vt:lpstr>
      <vt:lpstr>Our A+ team comprising of members with significant experience of working with GE </vt:lpstr>
      <vt:lpstr>Our leadership team</vt:lpstr>
      <vt:lpstr>Our leadership team</vt:lpstr>
      <vt:lpstr>Our data science and data management team</vt:lpstr>
      <vt:lpstr>Our data science and data management team</vt:lpstr>
      <vt:lpstr>Our data science and data management team</vt:lpstr>
      <vt:lpstr>Table of Contents</vt:lpstr>
      <vt:lpstr>Our Credentials</vt:lpstr>
      <vt:lpstr>Our Credentials</vt:lpstr>
      <vt:lpstr>Table of Contents</vt:lpstr>
      <vt:lpstr>Pricing &amp; Charges</vt:lpstr>
      <vt:lpstr>Table of Contents</vt:lpstr>
      <vt:lpstr>PowerPoint Presentation</vt:lpstr>
    </vt:vector>
  </TitlesOfParts>
  <Company>Ernst &amp; Young</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emplate Landscape English</dc:title>
  <dc:subject>template; proposal; english; A4; landscape</dc:subject>
  <dc:creator>GSA_Pursuits</dc:creator>
  <cp:keywords>template; proposal; english; A4; landscape</cp:keywords>
  <dc:description>A template for a A4 landscape proposal</dc:description>
  <cp:lastModifiedBy>Sourav Bose</cp:lastModifiedBy>
  <cp:revision>1</cp:revision>
  <cp:lastPrinted>2019-12-13T11:14:01Z</cp:lastPrinted>
  <dcterms:created xsi:type="dcterms:W3CDTF">2013-12-04T09:06:32Z</dcterms:created>
  <dcterms:modified xsi:type="dcterms:W3CDTF">2020-07-03T08:36:20Z</dcterms:modified>
  <cp:category>template;proposal;english;A4;landscape</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dlc_DocIdItemGuid">
    <vt:lpwstr>73e37b0e-8c50-4839-8542-ac1d3db5e1ef</vt:lpwstr>
  </property>
  <property fmtid="{D5CDD505-2E9C-101B-9397-08002B2CF9AE}" pid="3" name="ContentTypeId">
    <vt:lpwstr>0x010100CB035FFC3FB0C84EB6C405646D18D4A9</vt:lpwstr>
  </property>
  <property fmtid="{D5CDD505-2E9C-101B-9397-08002B2CF9AE}" pid="4" name="IsMyDocuments">
    <vt:bool>true</vt:bool>
  </property>
  <property fmtid="{D5CDD505-2E9C-101B-9397-08002B2CF9AE}" pid="5" name="WppReportDate">
    <vt:lpwstr/>
  </property>
  <property fmtid="{D5CDD505-2E9C-101B-9397-08002B2CF9AE}" pid="6" name="WppReportVersion">
    <vt:lpwstr>Version 1.0</vt:lpwstr>
  </property>
  <property fmtid="{D5CDD505-2E9C-101B-9397-08002B2CF9AE}" pid="7" name="WppReportDraft">
    <vt:lpwstr>(Draft)</vt:lpwstr>
  </property>
  <property fmtid="{D5CDD505-2E9C-101B-9397-08002B2CF9AE}" pid="8" name="WppReportCurrencySymbol">
    <vt:lpwstr>$</vt:lpwstr>
  </property>
  <property fmtid="{D5CDD505-2E9C-101B-9397-08002B2CF9AE}" pid="9" name="WppReportDashboardTitleText">
    <vt:lpwstr>Dashboard</vt:lpwstr>
  </property>
  <property fmtid="{D5CDD505-2E9C-101B-9397-08002B2CF9AE}" pid="10" name="WppReportShortPageNumberFormat">
    <vt:lpwstr>Page &lt;#&gt;</vt:lpwstr>
  </property>
  <property fmtid="{D5CDD505-2E9C-101B-9397-08002B2CF9AE}" pid="11" name="WppReportLongPageNumberFormat">
    <vt:lpwstr>Page &lt;#&gt; of &lt;PageCount&gt;</vt:lpwstr>
  </property>
  <property fmtid="{D5CDD505-2E9C-101B-9397-08002B2CF9AE}" pid="12" name="WppReportTocTitleText">
    <vt:lpwstr>Table of contents</vt:lpwstr>
  </property>
  <property fmtid="{D5CDD505-2E9C-101B-9397-08002B2CF9AE}" pid="13" name="WppReportIsTocUpdateRecommended">
    <vt:bool>true</vt:bool>
  </property>
  <property fmtid="{D5CDD505-2E9C-101B-9397-08002B2CF9AE}" pid="14" name="WppReportPropertiesLastWrittenToDocument">
    <vt:filetime>2019-05-05T22:47:17Z</vt:filetime>
  </property>
</Properties>
</file>